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8.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9.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1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4.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5.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6" r:id="rId1"/>
    <p:sldMasterId id="2147483708" r:id="rId2"/>
    <p:sldMasterId id="2147483680" r:id="rId3"/>
    <p:sldMasterId id="2147483694" r:id="rId4"/>
    <p:sldMasterId id="2147483921" r:id="rId5"/>
    <p:sldMasterId id="2147483940" r:id="rId6"/>
    <p:sldMasterId id="2147483957" r:id="rId7"/>
    <p:sldMasterId id="2147484021" r:id="rId8"/>
    <p:sldMasterId id="2147484043" r:id="rId9"/>
    <p:sldMasterId id="2147484079" r:id="rId10"/>
  </p:sldMasterIdLst>
  <p:notesMasterIdLst>
    <p:notesMasterId r:id="rId66"/>
  </p:notesMasterIdLst>
  <p:handoutMasterIdLst>
    <p:handoutMasterId r:id="rId67"/>
  </p:handoutMasterIdLst>
  <p:sldIdLst>
    <p:sldId id="331" r:id="rId11"/>
    <p:sldId id="403" r:id="rId12"/>
    <p:sldId id="398" r:id="rId13"/>
    <p:sldId id="345" r:id="rId14"/>
    <p:sldId id="470" r:id="rId15"/>
    <p:sldId id="336" r:id="rId16"/>
    <p:sldId id="451" r:id="rId17"/>
    <p:sldId id="453" r:id="rId18"/>
    <p:sldId id="455" r:id="rId19"/>
    <p:sldId id="456" r:id="rId20"/>
    <p:sldId id="399" r:id="rId21"/>
    <p:sldId id="405" r:id="rId22"/>
    <p:sldId id="452" r:id="rId23"/>
    <p:sldId id="471" r:id="rId24"/>
    <p:sldId id="472" r:id="rId25"/>
    <p:sldId id="473" r:id="rId26"/>
    <p:sldId id="474" r:id="rId27"/>
    <p:sldId id="475" r:id="rId28"/>
    <p:sldId id="476" r:id="rId29"/>
    <p:sldId id="477" r:id="rId30"/>
    <p:sldId id="478" r:id="rId31"/>
    <p:sldId id="479" r:id="rId32"/>
    <p:sldId id="480" r:id="rId33"/>
    <p:sldId id="513" r:id="rId34"/>
    <p:sldId id="482" r:id="rId35"/>
    <p:sldId id="483" r:id="rId36"/>
    <p:sldId id="514" r:id="rId37"/>
    <p:sldId id="485" r:id="rId38"/>
    <p:sldId id="486" r:id="rId39"/>
    <p:sldId id="487" r:id="rId40"/>
    <p:sldId id="515" r:id="rId41"/>
    <p:sldId id="489" r:id="rId42"/>
    <p:sldId id="490" r:id="rId43"/>
    <p:sldId id="491" r:id="rId44"/>
    <p:sldId id="492" r:id="rId45"/>
    <p:sldId id="493" r:id="rId46"/>
    <p:sldId id="494" r:id="rId47"/>
    <p:sldId id="495" r:id="rId48"/>
    <p:sldId id="496" r:id="rId49"/>
    <p:sldId id="497" r:id="rId50"/>
    <p:sldId id="498" r:id="rId51"/>
    <p:sldId id="499" r:id="rId52"/>
    <p:sldId id="500" r:id="rId53"/>
    <p:sldId id="501" r:id="rId54"/>
    <p:sldId id="502" r:id="rId55"/>
    <p:sldId id="503" r:id="rId56"/>
    <p:sldId id="504" r:id="rId57"/>
    <p:sldId id="505" r:id="rId58"/>
    <p:sldId id="506" r:id="rId59"/>
    <p:sldId id="507" r:id="rId60"/>
    <p:sldId id="508" r:id="rId61"/>
    <p:sldId id="509" r:id="rId62"/>
    <p:sldId id="510" r:id="rId63"/>
    <p:sldId id="511" r:id="rId64"/>
    <p:sldId id="512" r:id="rId65"/>
  </p:sldIdLst>
  <p:sldSz cx="12198350" cy="6858000"/>
  <p:notesSz cx="7010400" cy="92964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663" userDrawn="1">
          <p15:clr>
            <a:srgbClr val="A4A3A4"/>
          </p15:clr>
        </p15:guide>
        <p15:guide id="7" orient="horz" pos="436" userDrawn="1">
          <p15:clr>
            <a:srgbClr val="A4A3A4"/>
          </p15:clr>
        </p15:guide>
        <p15:guide id="8" orient="horz" pos="4201" userDrawn="1">
          <p15:clr>
            <a:srgbClr val="A4A3A4"/>
          </p15:clr>
        </p15:guide>
        <p15:guide id="9" orient="horz" pos="4110" userDrawn="1">
          <p15:clr>
            <a:srgbClr val="A4A3A4"/>
          </p15:clr>
        </p15:guide>
        <p15:guide id="11" pos="384">
          <p15:clr>
            <a:srgbClr val="A4A3A4"/>
          </p15:clr>
        </p15:guide>
        <p15:guide id="12" pos="7312"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B72"/>
    <a:srgbClr val="F0F0F0"/>
    <a:srgbClr val="E60F2D"/>
    <a:srgbClr val="FFFFFF"/>
    <a:srgbClr val="4B4B4B"/>
    <a:srgbClr val="008750"/>
    <a:srgbClr val="FAD714"/>
    <a:srgbClr val="005A9B"/>
    <a:srgbClr val="969696"/>
    <a:srgbClr val="EDCC0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218" autoAdjust="0"/>
    <p:restoredTop sz="85551" autoAdjust="0"/>
  </p:normalViewPr>
  <p:slideViewPr>
    <p:cSldViewPr snapToGrid="0" snapToObjects="1" showGuides="1">
      <p:cViewPr varScale="1">
        <p:scale>
          <a:sx n="70" d="100"/>
          <a:sy n="70" d="100"/>
        </p:scale>
        <p:origin x="432" y="53"/>
      </p:cViewPr>
      <p:guideLst>
        <p:guide orient="horz" pos="663"/>
        <p:guide orient="horz" pos="436"/>
        <p:guide orient="horz" pos="4201"/>
        <p:guide orient="horz" pos="4110"/>
        <p:guide pos="384"/>
        <p:guide pos="731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80" d="100"/>
          <a:sy n="80" d="100"/>
        </p:scale>
        <p:origin x="-3024" y="-11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handoutMaster" Target="handoutMasters/handoutMaster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021974410767599"/>
          <c:y val="0.108773168215326"/>
          <c:w val="0.54136368110236199"/>
          <c:h val="0.812045471699959"/>
        </c:manualLayout>
      </c:layout>
      <c:doughnutChart>
        <c:varyColors val="1"/>
        <c:ser>
          <c:idx val="0"/>
          <c:order val="0"/>
          <c:tx>
            <c:strRef>
              <c:f>Sheet1!$B$1</c:f>
              <c:strCache>
                <c:ptCount val="1"/>
                <c:pt idx="0">
                  <c:v>Sales</c:v>
                </c:pt>
              </c:strCache>
            </c:strRef>
          </c:tx>
          <c:spPr>
            <a:solidFill>
              <a:srgbClr val="DCDCDC"/>
            </a:solidFill>
            <a:ln>
              <a:solidFill>
                <a:srgbClr val="FFFFFF"/>
              </a:solidFill>
            </a:ln>
            <a:effectLst/>
          </c:spPr>
          <c:explosion val="2"/>
          <c:dPt>
            <c:idx val="0"/>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1-2C8A-4E93-BDAC-68C676AECEFA}"/>
              </c:ext>
            </c:extLst>
          </c:dPt>
          <c:dPt>
            <c:idx val="1"/>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3-2C8A-4E93-BDAC-68C676AECEFA}"/>
              </c:ext>
            </c:extLst>
          </c:dPt>
          <c:dPt>
            <c:idx val="2"/>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5-2C8A-4E93-BDAC-68C676AECEFA}"/>
              </c:ext>
            </c:extLst>
          </c:dPt>
          <c:dPt>
            <c:idx val="3"/>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7-2C8A-4E93-BDAC-68C676AECEFA}"/>
              </c:ext>
            </c:extLst>
          </c:dPt>
          <c:dPt>
            <c:idx val="4"/>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9-2C8A-4E93-BDAC-68C676AECEFA}"/>
              </c:ext>
            </c:extLst>
          </c:dPt>
          <c:dPt>
            <c:idx val="5"/>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B-2C8A-4E93-BDAC-68C676AECEFA}"/>
              </c:ext>
            </c:extLst>
          </c:dPt>
          <c:dPt>
            <c:idx val="6"/>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D-2C8A-4E93-BDAC-68C676AECEFA}"/>
              </c:ext>
            </c:extLst>
          </c:dPt>
          <c:dPt>
            <c:idx val="7"/>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F-2C8A-4E93-BDAC-68C676AECEFA}"/>
              </c:ext>
            </c:extLst>
          </c:dPt>
          <c:dPt>
            <c:idx val="8"/>
            <c:bubble3D val="0"/>
            <c:spPr>
              <a:solidFill>
                <a:srgbClr val="969696"/>
              </a:solidFill>
              <a:ln w="19050">
                <a:solidFill>
                  <a:srgbClr val="FFFFFF"/>
                </a:solidFill>
              </a:ln>
              <a:effectLst/>
            </c:spPr>
            <c:extLst xmlns:c16r2="http://schemas.microsoft.com/office/drawing/2015/06/chart">
              <c:ext xmlns:c16="http://schemas.microsoft.com/office/drawing/2014/chart" uri="{C3380CC4-5D6E-409C-BE32-E72D297353CC}">
                <c16:uniqueId val="{00000011-2C8A-4E93-BDAC-68C676AECEFA}"/>
              </c:ext>
            </c:extLst>
          </c:dPt>
          <c:dLbls>
            <c:dLbl>
              <c:idx val="0"/>
              <c:tx>
                <c:rich>
                  <a:bodyPr/>
                  <a:lstStyle/>
                  <a:p>
                    <a:r>
                      <a:rPr lang="en-US" sz="800" noProof="0" dirty="0">
                        <a:solidFill>
                          <a:schemeClr val="tx1"/>
                        </a:solidFill>
                      </a:rPr>
                      <a:t> Utilisateurs finaux</a:t>
                    </a:r>
                  </a:p>
                </c:rich>
              </c:tx>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01-2C8A-4E93-BDAC-68C676AECEFA}"/>
                </c:ext>
                <c:ext xmlns:c15="http://schemas.microsoft.com/office/drawing/2012/chart" uri="{CE6537A1-D6FC-4f65-9D91-7224C49458BB}"/>
              </c:extLst>
            </c:dLbl>
            <c:dLbl>
              <c:idx val="1"/>
              <c:tx>
                <c:rich>
                  <a:bodyPr/>
                  <a:lstStyle/>
                  <a:p>
                    <a:r>
                      <a:rPr lang="en-US" noProof="0" dirty="0"/>
                      <a:t>Ministères gouvernementaux</a:t>
                    </a:r>
                  </a:p>
                </c:rich>
              </c:tx>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03-2C8A-4E93-BDAC-68C676AECEFA}"/>
                </c:ext>
                <c:ext xmlns:c15="http://schemas.microsoft.com/office/drawing/2012/chart" uri="{CE6537A1-D6FC-4f65-9D91-7224C49458BB}"/>
              </c:extLst>
            </c:dLbl>
            <c:dLbl>
              <c:idx val="2"/>
              <c:tx>
                <c:rich>
                  <a:bodyPr/>
                  <a:lstStyle/>
                  <a:p>
                    <a:r>
                      <a:rPr lang="en-US" dirty="0"/>
                      <a:t>CT</a:t>
                    </a:r>
                  </a:p>
                </c:rich>
              </c:tx>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05-2C8A-4E93-BDAC-68C676AECEFA}"/>
                </c:ext>
                <c:ext xmlns:c15="http://schemas.microsoft.com/office/drawing/2012/chart" uri="{CE6537A1-D6FC-4f65-9D91-7224C49458BB}"/>
              </c:extLst>
            </c:dLbl>
            <c:dLbl>
              <c:idx val="3"/>
              <c:tx>
                <c:rich>
                  <a:bodyPr/>
                  <a:lstStyle/>
                  <a:p>
                    <a:r>
                      <a:rPr lang="en-US" dirty="0"/>
                      <a:t>DPRH</a:t>
                    </a:r>
                  </a:p>
                </c:rich>
              </c:tx>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07-2C8A-4E93-BDAC-68C676AECEFA}"/>
                </c:ext>
                <c:ext xmlns:c15="http://schemas.microsoft.com/office/drawing/2012/chart" uri="{CE6537A1-D6FC-4f65-9D91-7224C49458BB}"/>
              </c:extLst>
            </c:dLbl>
            <c:dLbl>
              <c:idx val="4"/>
              <c:tx>
                <c:rich>
                  <a:bodyPr/>
                  <a:lstStyle/>
                  <a:p>
                    <a:r>
                      <a:rPr lang="en-US" dirty="0"/>
                      <a:t>GC IOB</a:t>
                    </a:r>
                  </a:p>
                </c:rich>
              </c:tx>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09-2C8A-4E93-BDAC-68C676AECEFA}"/>
                </c:ext>
                <c:ext xmlns:c15="http://schemas.microsoft.com/office/drawing/2012/chart" uri="{CE6537A1-D6FC-4f65-9D91-7224C49458BB}"/>
              </c:extLst>
            </c:dLbl>
            <c:dLbl>
              <c:idx val="5"/>
              <c:tx>
                <c:rich>
                  <a:bodyPr/>
                  <a:lstStyle/>
                  <a:p>
                    <a:r>
                      <a:rPr lang="en-US" dirty="0"/>
                      <a:t>SPAC</a:t>
                    </a:r>
                  </a:p>
                </c:rich>
              </c:tx>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0B-2C8A-4E93-BDAC-68C676AECEFA}"/>
                </c:ext>
                <c:ext xmlns:c15="http://schemas.microsoft.com/office/drawing/2012/chart" uri="{CE6537A1-D6FC-4f65-9D91-7224C49458BB}"/>
              </c:extLst>
            </c:dLbl>
            <c:dLbl>
              <c:idx val="6"/>
              <c:tx>
                <c:rich>
                  <a:bodyPr/>
                  <a:lstStyle/>
                  <a:p>
                    <a:r>
                      <a:rPr lang="en-US" noProof="0" dirty="0"/>
                      <a:t>Syndicats</a:t>
                    </a:r>
                  </a:p>
                </c:rich>
              </c:tx>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0D-2C8A-4E93-BDAC-68C676AECEFA}"/>
                </c:ext>
                <c:ext xmlns:c15="http://schemas.microsoft.com/office/drawing/2012/chart" uri="{CE6537A1-D6FC-4f65-9D91-7224C49458BB}"/>
              </c:extLst>
            </c:dLbl>
            <c:dLbl>
              <c:idx val="7"/>
              <c:layout>
                <c:manualLayout>
                  <c:x val="-1.17119564330721E-2"/>
                  <c:y val="-1.0524637218944301E-3"/>
                </c:manualLayout>
              </c:layout>
              <c:tx>
                <c:rich>
                  <a:bodyPr/>
                  <a:lstStyle/>
                  <a:p>
                    <a:r>
                      <a:rPr lang="fr-FR" noProof="0" dirty="0"/>
                      <a:t>Utilisateurs (RH/ service de la paie Employés)</a:t>
                    </a:r>
                  </a:p>
                </c:rich>
              </c:tx>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0F-2C8A-4E93-BDAC-68C676AECEFA}"/>
                </c:ext>
                <c:ext xmlns:c15="http://schemas.microsoft.com/office/drawing/2012/chart" uri="{CE6537A1-D6FC-4f65-9D91-7224C49458BB}">
                  <c15:layout>
                    <c:manualLayout>
                      <c:w val="0.15111462422219393"/>
                      <c:h val="0.18480416691007323"/>
                    </c:manualLayout>
                  </c15:layout>
                </c:ext>
              </c:extLst>
            </c:dLbl>
            <c:dLbl>
              <c:idx val="8"/>
              <c:layout>
                <c:manualLayout>
                  <c:x val="0"/>
                  <c:y val="1.20308634275961E-2"/>
                </c:manualLayout>
              </c:layout>
              <c:tx>
                <c:rich>
                  <a:bodyPr rot="0" vert="horz"/>
                  <a:lstStyle/>
                  <a:p>
                    <a:pPr>
                      <a:defRPr sz="800" b="1">
                        <a:solidFill>
                          <a:schemeClr val="tx2"/>
                        </a:solidFill>
                        <a:latin typeface="EYInterstate" panose="02000503020000020004" pitchFamily="2" charset="0"/>
                      </a:defRPr>
                    </a:pPr>
                    <a:r>
                      <a:rPr lang="en-US" sz="800" b="1" noProof="0" dirty="0">
                        <a:solidFill>
                          <a:schemeClr val="tx2"/>
                        </a:solidFill>
                        <a:latin typeface="EYInterstate" panose="02000503020000020004" pitchFamily="2" charset="0"/>
                      </a:rPr>
                      <a:t>[NOM DE LA CATÉGORIE]</a:t>
                    </a:r>
                    <a:endParaRPr lang="en-US" noProof="0" dirty="0"/>
                  </a:p>
                </c:rich>
              </c:tx>
              <c:spPr>
                <a:noFill/>
                <a:ln>
                  <a:noFill/>
                </a:ln>
                <a:effectLst/>
              </c:spPr>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11-2C8A-4E93-BDAC-68C676AECEFA}"/>
                </c:ext>
                <c:ext xmlns:c15="http://schemas.microsoft.com/office/drawing/2012/chart" uri="{CE6537A1-D6FC-4f65-9D91-7224C49458BB}"/>
              </c:extLst>
            </c:dLbl>
            <c:spPr>
              <a:noFill/>
              <a:ln>
                <a:noFill/>
              </a:ln>
              <a:effectLst/>
            </c:spPr>
            <c:txPr>
              <a:bodyPr rot="0" vert="horz"/>
              <a:lstStyle/>
              <a:p>
                <a:pPr>
                  <a:defRPr sz="800">
                    <a:solidFill>
                      <a:schemeClr val="tx1"/>
                    </a:solidFill>
                  </a:defRPr>
                </a:pPr>
                <a:endParaRPr lang="en-US"/>
              </a:p>
            </c:txPr>
            <c:showLegendKey val="0"/>
            <c:showVal val="0"/>
            <c:showCatName val="1"/>
            <c:showSerName val="0"/>
            <c:showPercent val="0"/>
            <c:showBubbleSize val="0"/>
            <c:showLeaderLines val="0"/>
            <c:extLst xmlns:c16r2="http://schemas.microsoft.com/office/drawing/2015/06/chart">
              <c:ext xmlns:c15="http://schemas.microsoft.com/office/drawing/2012/chart" uri="{CE6537A1-D6FC-4f65-9D91-7224C49458BB}"/>
            </c:extLst>
          </c:dLbls>
          <c:cat>
            <c:strRef>
              <c:f>Sheet1!$A$2:$A$10</c:f>
              <c:strCache>
                <c:ptCount val="9"/>
                <c:pt idx="0">
                  <c:v>Users (system and process)</c:v>
                </c:pt>
                <c:pt idx="1">
                  <c:v>Government departments</c:v>
                </c:pt>
                <c:pt idx="2">
                  <c:v>TB</c:v>
                </c:pt>
                <c:pt idx="3">
                  <c:v>CHRO</c:v>
                </c:pt>
                <c:pt idx="4">
                  <c:v>GCIOB</c:v>
                </c:pt>
                <c:pt idx="5">
                  <c:v>PSPC</c:v>
                </c:pt>
                <c:pt idx="6">
                  <c:v>Unions</c:v>
                </c:pt>
                <c:pt idx="7">
                  <c:v>Users (HR/ Pay service- Employees)</c:v>
                </c:pt>
                <c:pt idx="8">
                  <c:v>ENTERPRISE</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20</c:v>
                </c:pt>
              </c:numCache>
            </c:numRef>
          </c:val>
          <c:extLst xmlns:c16r2="http://schemas.microsoft.com/office/drawing/2015/06/chart">
            <c:ext xmlns:c16="http://schemas.microsoft.com/office/drawing/2014/chart" uri="{C3380CC4-5D6E-409C-BE32-E72D297353CC}">
              <c16:uniqueId val="{00000012-2C8A-4E93-BDAC-68C676AECEFA}"/>
            </c:ext>
          </c:extLst>
        </c:ser>
        <c:dLbls>
          <c:showLegendKey val="0"/>
          <c:showVal val="0"/>
          <c:showCatName val="0"/>
          <c:showSerName val="0"/>
          <c:showPercent val="0"/>
          <c:showBubbleSize val="0"/>
          <c:showLeaderLines val="0"/>
        </c:dLbls>
        <c:firstSliceAng val="38"/>
        <c:holeSize val="41"/>
      </c:doughnutChart>
      <c:spPr>
        <a:noFill/>
        <a:ln w="25400">
          <a:noFill/>
        </a:ln>
        <a:effectLst/>
      </c:spPr>
    </c:plotArea>
    <c:plotVisOnly val="1"/>
    <c:dispBlanksAs val="gap"/>
    <c:showDLblsOverMax val="0"/>
  </c:chart>
  <c:spPr>
    <a:noFill/>
    <a:ln>
      <a:noFill/>
    </a:ln>
    <a:effectLst/>
  </c:spPr>
  <c:txPr>
    <a:bodyPr/>
    <a:lstStyle/>
    <a:p>
      <a:pPr>
        <a:defRPr sz="900">
          <a:latin typeface="EYInterstate Light" panose="02000506000000020004" pitchFamily="2" charset="0"/>
        </a:defRPr>
      </a:pPr>
      <a:endParaRPr lang="en-US"/>
    </a:p>
  </c:txPr>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drawing1.xml><?xml version="1.0" encoding="utf-8"?>
<c:userShapes xmlns:c="http://schemas.openxmlformats.org/drawingml/2006/chart">
  <cdr:relSizeAnchor xmlns:cdr="http://schemas.openxmlformats.org/drawingml/2006/chartDrawing">
    <cdr:from>
      <cdr:x>0.5238</cdr:x>
      <cdr:y>0.42408</cdr:y>
    </cdr:from>
    <cdr:to>
      <cdr:x>0.71031</cdr:x>
      <cdr:y>0.48677</cdr:y>
    </cdr:to>
    <cdr:sp macro="" textlink="">
      <cdr:nvSpPr>
        <cdr:cNvPr id="2" name="TextBox 1"/>
        <cdr:cNvSpPr txBox="1"/>
      </cdr:nvSpPr>
      <cdr:spPr>
        <a:xfrm xmlns:a="http://schemas.openxmlformats.org/drawingml/2006/main">
          <a:off x="2568472" y="1343000"/>
          <a:ext cx="914559" cy="198516"/>
        </a:xfrm>
        <a:prstGeom xmlns:a="http://schemas.openxmlformats.org/drawingml/2006/main" prst="rect">
          <a:avLst/>
        </a:prstGeom>
        <a:noFill xmlns:a="http://schemas.openxmlformats.org/drawingml/2006/main"/>
      </cdr:spPr>
      <cdr:txBody>
        <a:bodyPr xmlns:a="http://schemas.openxmlformats.org/drawingml/2006/main" vertOverflow="clip" wrap="square" lIns="0" tIns="36576" rIns="0" bIns="0" rtlCol="0">
          <a:spAutoFit/>
        </a:bodyPr>
        <a:lstStyle xmlns:a="http://schemas.openxmlformats.org/drawingml/2006/main"/>
        <a:p xmlns:a="http://schemas.openxmlformats.org/drawingml/2006/main">
          <a:pPr>
            <a:lnSpc>
              <a:spcPct val="85000"/>
            </a:lnSpc>
            <a:spcAft>
              <a:spcPts val="600"/>
            </a:spcAft>
            <a:buClr>
              <a:schemeClr val="accent2"/>
            </a:buClr>
            <a:buSzPct val="70000"/>
          </a:pPr>
          <a:endParaRPr lang="en-CA" sz="1200" b="1" dirty="0">
            <a:solidFill>
              <a:schemeClr val="bg1"/>
            </a:solidFill>
            <a:latin typeface="EYInterstate Light" panose="02000506000000020004" pitchFamily="2"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3" tIns="46587" rIns="93173" bIns="46587"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970939" y="0"/>
            <a:ext cx="3037840" cy="464820"/>
          </a:xfrm>
          <a:prstGeom prst="rect">
            <a:avLst/>
          </a:prstGeom>
        </p:spPr>
        <p:txBody>
          <a:bodyPr vert="horz" lIns="93173" tIns="46587" rIns="93173" bIns="46587" rtlCol="0"/>
          <a:lstStyle>
            <a:lvl1pPr algn="r">
              <a:defRPr sz="1300"/>
            </a:lvl1pPr>
          </a:lstStyle>
          <a:p>
            <a:fld id="{75A85089-C692-4DEA-AC49-04CF34D4FE14}" type="datetimeFigureOut">
              <a:rPr lang="en-GB" smtClean="0">
                <a:latin typeface="Arial" pitchFamily="34" charset="0"/>
              </a:rPr>
              <a:pPr/>
              <a:t>26/10/2018</a:t>
            </a:fld>
            <a:endParaRPr lang="en-GB" dirty="0">
              <a:latin typeface="Arial" pitchFamily="34" charset="0"/>
            </a:endParaRPr>
          </a:p>
        </p:txBody>
      </p:sp>
      <p:sp>
        <p:nvSpPr>
          <p:cNvPr id="4" name="Footer Placeholder 3"/>
          <p:cNvSpPr>
            <a:spLocks noGrp="1"/>
          </p:cNvSpPr>
          <p:nvPr>
            <p:ph type="ftr" sz="quarter" idx="2"/>
          </p:nvPr>
        </p:nvSpPr>
        <p:spPr>
          <a:xfrm>
            <a:off x="0" y="8829966"/>
            <a:ext cx="3037840" cy="464820"/>
          </a:xfrm>
          <a:prstGeom prst="rect">
            <a:avLst/>
          </a:prstGeom>
        </p:spPr>
        <p:txBody>
          <a:bodyPr vert="horz" lIns="93173" tIns="46587" rIns="93173" bIns="46587"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70939" y="8829966"/>
            <a:ext cx="3037840" cy="464820"/>
          </a:xfrm>
          <a:prstGeom prst="rect">
            <a:avLst/>
          </a:prstGeom>
        </p:spPr>
        <p:txBody>
          <a:bodyPr vert="horz" lIns="93173" tIns="46587" rIns="93173" bIns="46587"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3" tIns="46587" rIns="93173" bIns="46587"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970939" y="0"/>
            <a:ext cx="3037840" cy="464820"/>
          </a:xfrm>
          <a:prstGeom prst="rect">
            <a:avLst/>
          </a:prstGeom>
        </p:spPr>
        <p:txBody>
          <a:bodyPr vert="horz" lIns="93173" tIns="46587" rIns="93173" bIns="46587" rtlCol="0"/>
          <a:lstStyle>
            <a:lvl1pPr algn="r">
              <a:defRPr sz="1300">
                <a:latin typeface="Arial" pitchFamily="34" charset="0"/>
              </a:defRPr>
            </a:lvl1pPr>
          </a:lstStyle>
          <a:p>
            <a:fld id="{8045EBA9-A28D-4849-BFEA-AA04F6A21B63}" type="datetimeFigureOut">
              <a:rPr lang="en-GB" smtClean="0"/>
              <a:pPr/>
              <a:t>26/10/2018</a:t>
            </a:fld>
            <a:endParaRPr lang="en-GB" dirty="0"/>
          </a:p>
        </p:txBody>
      </p:sp>
      <p:sp>
        <p:nvSpPr>
          <p:cNvPr id="4" name="Slide Image Placeholder 3"/>
          <p:cNvSpPr>
            <a:spLocks noGrp="1" noRot="1" noChangeAspect="1"/>
          </p:cNvSpPr>
          <p:nvPr>
            <p:ph type="sldImg" idx="2"/>
          </p:nvPr>
        </p:nvSpPr>
        <p:spPr>
          <a:xfrm>
            <a:off x="404813" y="696913"/>
            <a:ext cx="6200775" cy="3486150"/>
          </a:xfrm>
          <a:prstGeom prst="rect">
            <a:avLst/>
          </a:prstGeom>
          <a:noFill/>
          <a:ln w="12700">
            <a:solidFill>
              <a:prstClr val="black"/>
            </a:solidFill>
          </a:ln>
        </p:spPr>
        <p:txBody>
          <a:bodyPr vert="horz" lIns="93173" tIns="46587" rIns="93173" bIns="46587" rtlCol="0" anchor="ctr"/>
          <a:lstStyle/>
          <a:p>
            <a:endParaRPr lang="en-GB" dirty="0"/>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3173" tIns="46587" rIns="93173" bIns="4658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29966"/>
            <a:ext cx="3037840" cy="464820"/>
          </a:xfrm>
          <a:prstGeom prst="rect">
            <a:avLst/>
          </a:prstGeom>
        </p:spPr>
        <p:txBody>
          <a:bodyPr vert="horz" lIns="93173" tIns="46587" rIns="93173" bIns="46587"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970939" y="8829966"/>
            <a:ext cx="3037840" cy="464820"/>
          </a:xfrm>
          <a:prstGeom prst="rect">
            <a:avLst/>
          </a:prstGeom>
        </p:spPr>
        <p:txBody>
          <a:bodyPr vert="horz" lIns="93173" tIns="46587" rIns="93173" bIns="46587"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31379284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37915211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26087416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13</a:t>
            </a:fld>
            <a:endParaRPr lang="en-GB" dirty="0"/>
          </a:p>
        </p:txBody>
      </p:sp>
    </p:spTree>
    <p:extLst>
      <p:ext uri="{BB962C8B-B14F-4D97-AF65-F5344CB8AC3E}">
        <p14:creationId xmlns:p14="http://schemas.microsoft.com/office/powerpoint/2010/main" val="42411530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0348" indent="-220348">
              <a:lnSpc>
                <a:spcPct val="85000"/>
              </a:lnSpc>
              <a:spcAft>
                <a:spcPts val="578"/>
              </a:spcAft>
              <a:buClr>
                <a:schemeClr val="accent2"/>
              </a:buClr>
              <a:buSzPct val="70000"/>
              <a:buFont typeface="Arial" panose="020B0604020202020204" pitchFamily="34" charset="0"/>
              <a:buChar char="•"/>
            </a:pPr>
            <a:r>
              <a:rPr lang="en-CA" dirty="0">
                <a:solidFill>
                  <a:srgbClr val="336699"/>
                </a:solidFill>
                <a:latin typeface="EYInterstate Light" panose="02000506000000020004" pitchFamily="2" charset="0"/>
              </a:rPr>
              <a:t>Focus on the candidate experience </a:t>
            </a:r>
            <a:r>
              <a:rPr lang="en-CA" b="1" dirty="0">
                <a:solidFill>
                  <a:srgbClr val="336699"/>
                </a:solidFill>
                <a:latin typeface="EYInterstate Light" panose="02000506000000020004" pitchFamily="2" charset="0"/>
              </a:rPr>
              <a:t>(enter the data once)</a:t>
            </a:r>
            <a:endParaRPr lang="en-CA" sz="1000" b="1" dirty="0">
              <a:solidFill>
                <a:srgbClr val="336699"/>
              </a:solidFill>
              <a:latin typeface="EYInterstate Light" panose="02000506000000020004" pitchFamily="2" charset="0"/>
            </a:endParaRPr>
          </a:p>
          <a:p>
            <a:pPr marL="220348" indent="-220348">
              <a:lnSpc>
                <a:spcPct val="85000"/>
              </a:lnSpc>
              <a:spcAft>
                <a:spcPts val="578"/>
              </a:spcAft>
              <a:buClr>
                <a:schemeClr val="accent2"/>
              </a:buClr>
              <a:buSzPct val="70000"/>
              <a:buFont typeface="Arial" panose="020B0604020202020204" pitchFamily="34" charset="0"/>
              <a:buChar char="•"/>
            </a:pPr>
            <a:r>
              <a:rPr lang="en-CA" dirty="0">
                <a:latin typeface="EYInterstate Light" panose="02000506000000020004" pitchFamily="2" charset="0"/>
              </a:rPr>
              <a:t>Recruiting great talent is everybody’s job </a:t>
            </a:r>
            <a:endParaRPr lang="en-CA" sz="1000" dirty="0">
              <a:latin typeface="EYInterstate Light" panose="02000506000000020004" pitchFamily="2" charset="0"/>
            </a:endParaRPr>
          </a:p>
          <a:p>
            <a:pPr marL="220348" indent="-220348">
              <a:lnSpc>
                <a:spcPct val="85000"/>
              </a:lnSpc>
              <a:spcAft>
                <a:spcPts val="578"/>
              </a:spcAft>
              <a:buClr>
                <a:schemeClr val="accent2"/>
              </a:buClr>
              <a:buSzPct val="70000"/>
              <a:buFont typeface="Arial" panose="020B0604020202020204" pitchFamily="34" charset="0"/>
              <a:buChar char="•"/>
            </a:pPr>
            <a:r>
              <a:rPr lang="en-CA" dirty="0">
                <a:latin typeface="EYInterstate Light" panose="02000506000000020004" pitchFamily="2" charset="0"/>
              </a:rPr>
              <a:t>Think high touch recruiting </a:t>
            </a:r>
            <a:endParaRPr lang="en-CA" sz="1000" dirty="0">
              <a:latin typeface="EYInterstate Light" panose="02000506000000020004" pitchFamily="2" charset="0"/>
            </a:endParaRPr>
          </a:p>
          <a:p>
            <a:pPr marL="220348" indent="-220348">
              <a:lnSpc>
                <a:spcPct val="85000"/>
              </a:lnSpc>
              <a:spcAft>
                <a:spcPts val="578"/>
              </a:spcAft>
              <a:buClr>
                <a:schemeClr val="accent2"/>
              </a:buClr>
              <a:buSzPct val="70000"/>
              <a:buFont typeface="Arial" panose="020B0604020202020204" pitchFamily="34" charset="0"/>
              <a:buChar char="•"/>
            </a:pPr>
            <a:r>
              <a:rPr lang="en-CA" dirty="0">
                <a:latin typeface="EYInterstate Light" panose="02000506000000020004" pitchFamily="2" charset="0"/>
              </a:rPr>
              <a:t>Data and analytics are priorities from the start</a:t>
            </a:r>
            <a:endParaRPr lang="en-CA" sz="1000" dirty="0">
              <a:latin typeface="EYInterstate Light" panose="02000506000000020004" pitchFamily="2" charset="0"/>
            </a:endParaRPr>
          </a:p>
          <a:p>
            <a:pPr marL="220348" indent="-220348">
              <a:lnSpc>
                <a:spcPct val="85000"/>
              </a:lnSpc>
              <a:spcAft>
                <a:spcPts val="578"/>
              </a:spcAft>
              <a:buClr>
                <a:schemeClr val="accent2"/>
              </a:buClr>
              <a:buSzPct val="70000"/>
              <a:buFont typeface="Arial" panose="020B0604020202020204" pitchFamily="34" charset="0"/>
              <a:buChar char="•"/>
            </a:pPr>
            <a:r>
              <a:rPr lang="en-CA" dirty="0">
                <a:solidFill>
                  <a:srgbClr val="336699"/>
                </a:solidFill>
                <a:latin typeface="EYInterstate Light" panose="02000506000000020004" pitchFamily="2" charset="0"/>
              </a:rPr>
              <a:t>Be active on social media</a:t>
            </a:r>
            <a:endParaRPr lang="en-CA" sz="1000" dirty="0">
              <a:solidFill>
                <a:srgbClr val="336699"/>
              </a:solidFill>
              <a:latin typeface="EYInterstate Light" panose="02000506000000020004" pitchFamily="2" charset="0"/>
            </a:endParaRPr>
          </a:p>
          <a:p>
            <a:pPr marL="220348" indent="-220348">
              <a:lnSpc>
                <a:spcPct val="85000"/>
              </a:lnSpc>
              <a:spcAft>
                <a:spcPts val="578"/>
              </a:spcAft>
              <a:buClr>
                <a:schemeClr val="accent2"/>
              </a:buClr>
              <a:buSzPct val="70000"/>
              <a:buFont typeface="Arial" panose="020B0604020202020204" pitchFamily="34" charset="0"/>
              <a:buChar char="•"/>
            </a:pPr>
            <a:r>
              <a:rPr lang="en-CA" dirty="0">
                <a:solidFill>
                  <a:srgbClr val="336699"/>
                </a:solidFill>
                <a:latin typeface="EYInterstate Light" panose="02000506000000020004" pitchFamily="2" charset="0"/>
              </a:rPr>
              <a:t>Entice and source passive candidates</a:t>
            </a:r>
            <a:endParaRPr lang="en-CA" sz="1000" dirty="0">
              <a:solidFill>
                <a:srgbClr val="336699"/>
              </a:solidFill>
              <a:latin typeface="EYInterstate Light" panose="02000506000000020004" pitchFamily="2" charset="0"/>
            </a:endParaRPr>
          </a:p>
          <a:p>
            <a:pPr marL="220348" indent="-220348">
              <a:lnSpc>
                <a:spcPct val="85000"/>
              </a:lnSpc>
              <a:spcAft>
                <a:spcPts val="578"/>
              </a:spcAft>
              <a:buClr>
                <a:schemeClr val="accent2"/>
              </a:buClr>
              <a:buSzPct val="70000"/>
              <a:buFont typeface="Arial" panose="020B0604020202020204" pitchFamily="34" charset="0"/>
              <a:buChar char="•"/>
            </a:pPr>
            <a:r>
              <a:rPr lang="en-CA" b="1" dirty="0">
                <a:solidFill>
                  <a:srgbClr val="336699"/>
                </a:solidFill>
                <a:latin typeface="EYInterstate Light" panose="02000506000000020004" pitchFamily="2" charset="0"/>
              </a:rPr>
              <a:t>Create a strong employer brand which takes care of sourcing (recruitment marketing – leveraging tech) </a:t>
            </a:r>
            <a:endParaRPr lang="en-CA" sz="1000" b="1" dirty="0">
              <a:solidFill>
                <a:srgbClr val="336699"/>
              </a:solidFill>
              <a:latin typeface="EYInterstate Light" panose="02000506000000020004" pitchFamily="2" charset="0"/>
            </a:endParaRPr>
          </a:p>
          <a:p>
            <a:pPr marL="220348" indent="-220348">
              <a:lnSpc>
                <a:spcPct val="85000"/>
              </a:lnSpc>
              <a:spcAft>
                <a:spcPts val="578"/>
              </a:spcAft>
              <a:buClr>
                <a:schemeClr val="accent2"/>
              </a:buClr>
              <a:buSzPct val="70000"/>
              <a:buFont typeface="Arial" panose="020B0604020202020204" pitchFamily="34" charset="0"/>
              <a:buChar char="•"/>
            </a:pPr>
            <a:r>
              <a:rPr lang="en-CA" dirty="0">
                <a:solidFill>
                  <a:srgbClr val="336699"/>
                </a:solidFill>
                <a:latin typeface="EYInterstate Light" panose="02000506000000020004" pitchFamily="2" charset="0"/>
              </a:rPr>
              <a:t>Define the mission and story of the GC</a:t>
            </a:r>
          </a:p>
          <a:p>
            <a:pPr marL="220348" indent="-220348">
              <a:lnSpc>
                <a:spcPct val="85000"/>
              </a:lnSpc>
              <a:spcAft>
                <a:spcPts val="578"/>
              </a:spcAft>
              <a:buClr>
                <a:schemeClr val="accent2"/>
              </a:buClr>
              <a:buSzPct val="70000"/>
              <a:buFont typeface="Arial" panose="020B0604020202020204" pitchFamily="34" charset="0"/>
              <a:buChar char="•"/>
            </a:pPr>
            <a:r>
              <a:rPr lang="en-CA" dirty="0">
                <a:solidFill>
                  <a:srgbClr val="336699"/>
                </a:solidFill>
                <a:latin typeface="EYInterstate Light" panose="02000506000000020004" pitchFamily="2" charset="0"/>
              </a:rPr>
              <a:t>Define a clear employee value proposition</a:t>
            </a:r>
            <a:endParaRPr lang="en-CA" sz="1000" dirty="0">
              <a:solidFill>
                <a:srgbClr val="336699"/>
              </a:solidFill>
              <a:latin typeface="EYInterstate Light" panose="02000506000000020004" pitchFamily="2" charset="0"/>
            </a:endParaRPr>
          </a:p>
          <a:p>
            <a:pPr marL="220348" indent="-220348">
              <a:lnSpc>
                <a:spcPct val="85000"/>
              </a:lnSpc>
              <a:spcAft>
                <a:spcPts val="578"/>
              </a:spcAft>
              <a:buClr>
                <a:schemeClr val="accent2"/>
              </a:buClr>
              <a:buSzPct val="70000"/>
              <a:buFont typeface="Arial" panose="020B0604020202020204" pitchFamily="34" charset="0"/>
              <a:buChar char="•"/>
            </a:pPr>
            <a:r>
              <a:rPr lang="en-CA" dirty="0">
                <a:latin typeface="EYInterstate Light" panose="02000506000000020004" pitchFamily="2" charset="0"/>
              </a:rPr>
              <a:t>Communicate clearly on what the position will entail  </a:t>
            </a:r>
            <a:endParaRPr lang="en-CA" sz="1000" dirty="0">
              <a:latin typeface="EYInterstate Light" panose="02000506000000020004" pitchFamily="2" charset="0"/>
            </a:endParaRPr>
          </a:p>
          <a:p>
            <a:pPr marL="220348" indent="-220348">
              <a:lnSpc>
                <a:spcPct val="85000"/>
              </a:lnSpc>
              <a:spcAft>
                <a:spcPts val="578"/>
              </a:spcAft>
              <a:buClr>
                <a:schemeClr val="accent2"/>
              </a:buClr>
              <a:buSzPct val="70000"/>
              <a:buFont typeface="Arial" panose="020B0604020202020204" pitchFamily="34" charset="0"/>
              <a:buChar char="•"/>
            </a:pPr>
            <a:r>
              <a:rPr lang="en-CA" dirty="0">
                <a:solidFill>
                  <a:srgbClr val="336699"/>
                </a:solidFill>
                <a:latin typeface="EYInterstate Light" panose="02000506000000020004" pitchFamily="2" charset="0"/>
              </a:rPr>
              <a:t>Leverage referrals from current employees</a:t>
            </a:r>
          </a:p>
          <a:p>
            <a:pPr marL="220348" indent="-220348">
              <a:lnSpc>
                <a:spcPct val="85000"/>
              </a:lnSpc>
              <a:spcAft>
                <a:spcPts val="578"/>
              </a:spcAft>
              <a:buClr>
                <a:schemeClr val="accent2"/>
              </a:buClr>
              <a:buSzPct val="70000"/>
              <a:buFont typeface="Arial" panose="020B0604020202020204" pitchFamily="34" charset="0"/>
              <a:buChar char="•"/>
            </a:pPr>
            <a:r>
              <a:rPr lang="en-CA" dirty="0">
                <a:latin typeface="EYInterstate Light" panose="02000506000000020004" pitchFamily="2" charset="0"/>
              </a:rPr>
              <a:t>Seamless, digital, document management </a:t>
            </a:r>
          </a:p>
          <a:p>
            <a:pPr marL="220348" indent="-220348">
              <a:lnSpc>
                <a:spcPct val="85000"/>
              </a:lnSpc>
              <a:spcAft>
                <a:spcPts val="578"/>
              </a:spcAft>
              <a:buClr>
                <a:schemeClr val="accent2"/>
              </a:buClr>
              <a:buSzPct val="70000"/>
              <a:buFont typeface="Arial" panose="020B0604020202020204" pitchFamily="34" charset="0"/>
              <a:buChar char="•"/>
            </a:pPr>
            <a:r>
              <a:rPr lang="en-CA" dirty="0">
                <a:latin typeface="EYInterstate Light" panose="02000506000000020004" pitchFamily="2" charset="0"/>
              </a:rPr>
              <a:t>Visibility, traceability</a:t>
            </a:r>
          </a:p>
          <a:p>
            <a:pPr marL="220348" indent="-220348">
              <a:lnSpc>
                <a:spcPct val="85000"/>
              </a:lnSpc>
              <a:spcAft>
                <a:spcPts val="578"/>
              </a:spcAft>
              <a:buClr>
                <a:schemeClr val="accent2"/>
              </a:buClr>
              <a:buSzPct val="70000"/>
              <a:buFont typeface="Arial" panose="020B0604020202020204" pitchFamily="34" charset="0"/>
              <a:buChar char="•"/>
            </a:pPr>
            <a:r>
              <a:rPr lang="en-CA" dirty="0">
                <a:latin typeface="EYInterstate Light" panose="02000506000000020004" pitchFamily="2" charset="0"/>
              </a:rPr>
              <a:t>Enterprise view </a:t>
            </a:r>
          </a:p>
          <a:p>
            <a:endParaRPr lang="en-CA"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4</a:t>
            </a:fld>
            <a:endParaRPr lang="en-GB" dirty="0"/>
          </a:p>
        </p:txBody>
      </p:sp>
    </p:spTree>
    <p:extLst>
      <p:ext uri="{BB962C8B-B14F-4D97-AF65-F5344CB8AC3E}">
        <p14:creationId xmlns:p14="http://schemas.microsoft.com/office/powerpoint/2010/main" val="33811126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7</a:t>
            </a:fld>
            <a:endParaRPr lang="en-GB" dirty="0"/>
          </a:p>
        </p:txBody>
      </p:sp>
    </p:spTree>
    <p:extLst>
      <p:ext uri="{BB962C8B-B14F-4D97-AF65-F5344CB8AC3E}">
        <p14:creationId xmlns:p14="http://schemas.microsoft.com/office/powerpoint/2010/main" val="33996902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1</a:t>
            </a:fld>
            <a:endParaRPr lang="en-GB" dirty="0"/>
          </a:p>
        </p:txBody>
      </p:sp>
    </p:spTree>
    <p:extLst>
      <p:ext uri="{BB962C8B-B14F-4D97-AF65-F5344CB8AC3E}">
        <p14:creationId xmlns:p14="http://schemas.microsoft.com/office/powerpoint/2010/main" val="1254573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237202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67048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774820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210283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1939114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610294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18382901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28469017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wmf"/><Relationship Id="rId1" Type="http://schemas.openxmlformats.org/officeDocument/2006/relationships/slideMaster" Target="../slideMasters/slideMaster2.xml"/><Relationship Id="rId4" Type="http://schemas.openxmlformats.org/officeDocument/2006/relationships/image" Target="../media/image10.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wmf"/><Relationship Id="rId1" Type="http://schemas.openxmlformats.org/officeDocument/2006/relationships/slideMaster" Target="../slideMasters/slideMaster2.xml"/><Relationship Id="rId4" Type="http://schemas.openxmlformats.org/officeDocument/2006/relationships/image" Target="../media/image10.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wmf"/><Relationship Id="rId1" Type="http://schemas.openxmlformats.org/officeDocument/2006/relationships/slideMaster" Target="../slideMasters/slideMaster3.xml"/><Relationship Id="rId4" Type="http://schemas.openxmlformats.org/officeDocument/2006/relationships/image" Target="../media/image15.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emf"/><Relationship Id="rId1" Type="http://schemas.openxmlformats.org/officeDocument/2006/relationships/slideMaster" Target="../slideMasters/slideMaster3.xml"/><Relationship Id="rId4" Type="http://schemas.openxmlformats.org/officeDocument/2006/relationships/image" Target="../media/image15.w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22.wmf"/><Relationship Id="rId1" Type="http://schemas.openxmlformats.org/officeDocument/2006/relationships/slideMaster" Target="../slideMasters/slideMaster4.xml"/><Relationship Id="rId4" Type="http://schemas.openxmlformats.org/officeDocument/2006/relationships/image" Target="../media/image23.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image" Target="../media/image13.wmf"/><Relationship Id="rId1" Type="http://schemas.openxmlformats.org/officeDocument/2006/relationships/slideMaster" Target="../slideMasters/slideMaster4.xml"/><Relationship Id="rId4" Type="http://schemas.openxmlformats.org/officeDocument/2006/relationships/image" Target="../media/image2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2.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7.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8.emf"/><Relationship Id="rId4" Type="http://schemas.openxmlformats.org/officeDocument/2006/relationships/oleObject" Target="../embeddings/oleObject4.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dirty="0"/>
              <a:t>1 January 2014</a:t>
            </a: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dirty="0"/>
              <a:t>Presentation title</a:t>
            </a:r>
          </a:p>
        </p:txBody>
      </p:sp>
    </p:spTree>
    <p:extLst>
      <p:ext uri="{BB962C8B-B14F-4D97-AF65-F5344CB8AC3E}">
        <p14:creationId xmlns:p14="http://schemas.microsoft.com/office/powerpoint/2010/main" val="39130112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4"/>
          </p:nvPr>
        </p:nvSpPr>
        <p:spPr/>
        <p:txBody>
          <a:bodyPr/>
          <a:lstStyle/>
          <a:p>
            <a:r>
              <a:rPr lang="en-US" dirty="0">
                <a:solidFill>
                  <a:srgbClr val="646464"/>
                </a:solidFill>
              </a:rPr>
              <a:t>1 January 2014</a:t>
            </a:r>
          </a:p>
        </p:txBody>
      </p:sp>
      <p:sp>
        <p:nvSpPr>
          <p:cNvPr id="7" name="Footer Placeholder 6"/>
          <p:cNvSpPr>
            <a:spLocks noGrp="1"/>
          </p:cNvSpPr>
          <p:nvPr>
            <p:ph type="ftr" sz="quarter" idx="15"/>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26066243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dirty="0">
                <a:solidFill>
                  <a:srgbClr val="646464"/>
                </a:solidFill>
              </a:rPr>
              <a:t>1 January 2014</a:t>
            </a: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22376772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46464"/>
              </a:solidFill>
            </a:endParaRPr>
          </a:p>
        </p:txBody>
      </p:sp>
      <p:sp>
        <p:nvSpPr>
          <p:cNvPr id="2" name="Date Placeholder 1"/>
          <p:cNvSpPr>
            <a:spLocks noGrp="1"/>
          </p:cNvSpPr>
          <p:nvPr>
            <p:ph type="dt" sz="half" idx="10"/>
          </p:nvPr>
        </p:nvSpPr>
        <p:spPr/>
        <p:txBody>
          <a:bodyPr/>
          <a:lstStyle/>
          <a:p>
            <a:r>
              <a:rPr lang="en-US" dirty="0">
                <a:solidFill>
                  <a:srgbClr val="646464"/>
                </a:solidFill>
              </a:rPr>
              <a:t>1 January 2014</a:t>
            </a:r>
          </a:p>
        </p:txBody>
      </p:sp>
      <p:sp>
        <p:nvSpPr>
          <p:cNvPr id="3" name="Footer Placeholder 2"/>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32447563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46464"/>
              </a:solidFill>
            </a:endParaRPr>
          </a:p>
        </p:txBody>
      </p:sp>
      <p:sp>
        <p:nvSpPr>
          <p:cNvPr id="2" name="Date Placeholder 1"/>
          <p:cNvSpPr>
            <a:spLocks noGrp="1"/>
          </p:cNvSpPr>
          <p:nvPr>
            <p:ph type="dt" sz="half" idx="10"/>
          </p:nvPr>
        </p:nvSpPr>
        <p:spPr/>
        <p:txBody>
          <a:bodyPr/>
          <a:lstStyle/>
          <a:p>
            <a:r>
              <a:rPr lang="en-US" dirty="0">
                <a:solidFill>
                  <a:srgbClr val="646464"/>
                </a:solidFill>
              </a:rPr>
              <a:t>1 January 2014</a:t>
            </a:r>
          </a:p>
        </p:txBody>
      </p:sp>
      <p:sp>
        <p:nvSpPr>
          <p:cNvPr id="3" name="Footer Placeholder 2"/>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31043506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 name="Date Placeholder 1"/>
          <p:cNvSpPr>
            <a:spLocks noGrp="1"/>
          </p:cNvSpPr>
          <p:nvPr>
            <p:ph type="dt" sz="half" idx="10"/>
          </p:nvPr>
        </p:nvSpPr>
        <p:spPr/>
        <p:txBody>
          <a:bodyPr/>
          <a:lstStyle/>
          <a:p>
            <a:r>
              <a:rPr lang="en-US" dirty="0">
                <a:solidFill>
                  <a:srgbClr val="646464"/>
                </a:solidFill>
              </a:rPr>
              <a:t>1 January 2014</a:t>
            </a:r>
          </a:p>
        </p:txBody>
      </p:sp>
      <p:sp>
        <p:nvSpPr>
          <p:cNvPr id="3" name="Footer Placeholder 2"/>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30840332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dirty="0">
              <a:solidFill>
                <a:srgbClr val="646464"/>
              </a:solidFill>
            </a:endParaRPr>
          </a:p>
        </p:txBody>
      </p:sp>
      <p:sp>
        <p:nvSpPr>
          <p:cNvPr id="2" name="Date Placeholder 1"/>
          <p:cNvSpPr>
            <a:spLocks noGrp="1"/>
          </p:cNvSpPr>
          <p:nvPr>
            <p:ph type="dt" sz="half" idx="10"/>
          </p:nvPr>
        </p:nvSpPr>
        <p:spPr/>
        <p:txBody>
          <a:bodyPr/>
          <a:lstStyle/>
          <a:p>
            <a:r>
              <a:rPr lang="en-US" dirty="0">
                <a:solidFill>
                  <a:srgbClr val="646464"/>
                </a:solidFill>
              </a:rPr>
              <a:t>1 January 2014</a:t>
            </a:r>
          </a:p>
        </p:txBody>
      </p:sp>
      <p:sp>
        <p:nvSpPr>
          <p:cNvPr id="3" name="Footer Placeholder 2"/>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21442649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777553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16790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8349" cy="6850923"/>
          </a:xfrm>
          <a:prstGeom prst="rect">
            <a:avLst/>
          </a:prstGeom>
        </p:spPr>
      </p:pic>
      <p:sp>
        <p:nvSpPr>
          <p:cNvPr id="8" name="Title 7"/>
          <p:cNvSpPr>
            <a:spLocks noGrp="1"/>
          </p:cNvSpPr>
          <p:nvPr>
            <p:ph type="title"/>
          </p:nvPr>
        </p:nvSpPr>
        <p:spPr/>
        <p:txBody>
          <a:bodyPr lIns="0"/>
          <a:lstStyle>
            <a:lvl1pPr marL="0" algn="l" defTabSz="919263" rtl="0" eaLnBrk="1" latinLnBrk="0" hangingPunct="1">
              <a:lnSpc>
                <a:spcPct val="85000"/>
              </a:lnSpc>
              <a:spcBef>
                <a:spcPct val="0"/>
              </a:spcBef>
              <a:buNone/>
              <a:defRPr lang="en-IN" sz="3148" b="1" kern="0" cap="none" spc="0" dirty="0">
                <a:solidFill>
                  <a:srgbClr val="003C71"/>
                </a:solidFill>
                <a:latin typeface="Arial" panose="020B0604020202020204" pitchFamily="34" charset="0"/>
                <a:ea typeface="+mn-ea"/>
                <a:cs typeface="Arial" pitchFamily="34" charset="0"/>
              </a:defRPr>
            </a:lvl1pPr>
          </a:lstStyle>
          <a:p>
            <a:r>
              <a:rPr lang="en-US" dirty="0"/>
              <a:t>Click to edit</a:t>
            </a:r>
            <a:endParaRPr lang="en-IN" dirty="0"/>
          </a:p>
        </p:txBody>
      </p:sp>
      <p:sp>
        <p:nvSpPr>
          <p:cNvPr id="17" name="object 110"/>
          <p:cNvSpPr/>
          <p:nvPr userDrawn="1"/>
        </p:nvSpPr>
        <p:spPr>
          <a:xfrm>
            <a:off x="10446677" y="108264"/>
            <a:ext cx="0" cy="237279"/>
          </a:xfrm>
          <a:custGeom>
            <a:avLst/>
            <a:gdLst/>
            <a:ahLst/>
            <a:cxnLst/>
            <a:rect l="l" t="t" r="r" b="b"/>
            <a:pathLst>
              <a:path h="349592">
                <a:moveTo>
                  <a:pt x="0" y="0"/>
                </a:moveTo>
                <a:lnTo>
                  <a:pt x="0" y="349592"/>
                </a:lnTo>
              </a:path>
            </a:pathLst>
          </a:custGeom>
          <a:ln w="10795">
            <a:solidFill>
              <a:schemeClr val="tx2"/>
            </a:solidFill>
          </a:ln>
        </p:spPr>
        <p:txBody>
          <a:bodyPr wrap="square" lIns="0" tIns="0" rIns="0" bIns="0" rtlCol="0" anchor="ctr">
            <a:noAutofit/>
          </a:bodyPr>
          <a:lstStyle/>
          <a:p>
            <a:pPr defTabSz="301025"/>
            <a:endParaRPr sz="1277" dirty="0">
              <a:solidFill>
                <a:srgbClr val="646464"/>
              </a:solidFill>
            </a:endParaRPr>
          </a:p>
        </p:txBody>
      </p:sp>
      <p:sp>
        <p:nvSpPr>
          <p:cNvPr id="18" name="object 111"/>
          <p:cNvSpPr/>
          <p:nvPr userDrawn="1"/>
        </p:nvSpPr>
        <p:spPr>
          <a:xfrm>
            <a:off x="10568095" y="207019"/>
            <a:ext cx="0" cy="237279"/>
          </a:xfrm>
          <a:custGeom>
            <a:avLst/>
            <a:gdLst/>
            <a:ahLst/>
            <a:cxnLst/>
            <a:rect l="l" t="t" r="r" b="b"/>
            <a:pathLst>
              <a:path h="349592">
                <a:moveTo>
                  <a:pt x="0" y="0"/>
                </a:moveTo>
                <a:lnTo>
                  <a:pt x="0" y="349592"/>
                </a:lnTo>
              </a:path>
            </a:pathLst>
          </a:custGeom>
          <a:ln w="10795">
            <a:solidFill>
              <a:schemeClr val="accent6"/>
            </a:solidFill>
          </a:ln>
        </p:spPr>
        <p:txBody>
          <a:bodyPr wrap="square" lIns="0" tIns="0" rIns="0" bIns="0" rtlCol="0" anchor="ctr">
            <a:noAutofit/>
          </a:bodyPr>
          <a:lstStyle/>
          <a:p>
            <a:pPr defTabSz="301025"/>
            <a:endParaRPr sz="1277" dirty="0">
              <a:solidFill>
                <a:srgbClr val="646464"/>
              </a:solidFill>
            </a:endParaRPr>
          </a:p>
        </p:txBody>
      </p:sp>
      <p:sp>
        <p:nvSpPr>
          <p:cNvPr id="19" name="Holder 6"/>
          <p:cNvSpPr txBox="1">
            <a:spLocks/>
          </p:cNvSpPr>
          <p:nvPr userDrawn="1"/>
        </p:nvSpPr>
        <p:spPr>
          <a:xfrm>
            <a:off x="10568095" y="259452"/>
            <a:ext cx="271288" cy="107722"/>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6666" algn="ctr"/>
            <a:fld id="{81D60167-4931-47E6-BA6A-407CBD079E47}" type="slidenum">
              <a:rPr lang="en-US" sz="700" smtClean="0">
                <a:solidFill>
                  <a:srgbClr val="646464"/>
                </a:solidFill>
                <a:latin typeface="Arial" panose="020B0604020202020204" pitchFamily="34" charset="0"/>
              </a:rPr>
              <a:pPr marL="16666" algn="ctr"/>
              <a:t>‹#›</a:t>
            </a:fld>
            <a:endParaRPr lang="en-US" sz="700" dirty="0">
              <a:solidFill>
                <a:srgbClr val="646464"/>
              </a:solidFill>
              <a:latin typeface="Arial" panose="020B0604020202020204" pitchFamily="34" charset="0"/>
            </a:endParaRPr>
          </a:p>
        </p:txBody>
      </p:sp>
      <p:pic>
        <p:nvPicPr>
          <p:cNvPr id="28" name="Picture 2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82312" y="125314"/>
            <a:ext cx="284981" cy="269774"/>
          </a:xfrm>
          <a:prstGeom prst="rect">
            <a:avLst/>
          </a:prstGeom>
        </p:spPr>
      </p:pic>
      <p:sp>
        <p:nvSpPr>
          <p:cNvPr id="29" name="object 111"/>
          <p:cNvSpPr/>
          <p:nvPr userDrawn="1"/>
        </p:nvSpPr>
        <p:spPr>
          <a:xfrm>
            <a:off x="10835941" y="207019"/>
            <a:ext cx="0" cy="237279"/>
          </a:xfrm>
          <a:custGeom>
            <a:avLst/>
            <a:gdLst/>
            <a:ahLst/>
            <a:cxnLst/>
            <a:rect l="l" t="t" r="r" b="b"/>
            <a:pathLst>
              <a:path h="349592">
                <a:moveTo>
                  <a:pt x="0" y="0"/>
                </a:moveTo>
                <a:lnTo>
                  <a:pt x="0" y="349592"/>
                </a:lnTo>
              </a:path>
            </a:pathLst>
          </a:custGeom>
          <a:ln w="10795">
            <a:solidFill>
              <a:schemeClr val="accent6"/>
            </a:solidFill>
          </a:ln>
        </p:spPr>
        <p:txBody>
          <a:bodyPr wrap="square" lIns="0" tIns="0" rIns="0" bIns="0" rtlCol="0" anchor="ctr">
            <a:noAutofit/>
          </a:bodyPr>
          <a:lstStyle/>
          <a:p>
            <a:pPr defTabSz="301025"/>
            <a:endParaRPr sz="1277" dirty="0">
              <a:solidFill>
                <a:srgbClr val="646464"/>
              </a:solidFill>
            </a:endParaRPr>
          </a:p>
        </p:txBody>
      </p:sp>
      <p:sp>
        <p:nvSpPr>
          <p:cNvPr id="43" name="Oval 42">
            <a:hlinkClick r:id="" action="ppaction://hlinkshowjump?jump=previousslide"/>
          </p:cNvPr>
          <p:cNvSpPr/>
          <p:nvPr userDrawn="1"/>
        </p:nvSpPr>
        <p:spPr>
          <a:xfrm flipV="1">
            <a:off x="11774264" y="261237"/>
            <a:ext cx="124362" cy="115158"/>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63584"/>
            <a:endParaRPr lang="en-IN" sz="1049" dirty="0">
              <a:solidFill>
                <a:srgbClr val="000000"/>
              </a:solidFill>
            </a:endParaRPr>
          </a:p>
        </p:txBody>
      </p:sp>
      <p:sp>
        <p:nvSpPr>
          <p:cNvPr id="44" name="Chevron 43"/>
          <p:cNvSpPr/>
          <p:nvPr userDrawn="1"/>
        </p:nvSpPr>
        <p:spPr>
          <a:xfrm flipH="1" flipV="1">
            <a:off x="11816612" y="295477"/>
            <a:ext cx="39668" cy="46679"/>
          </a:xfrm>
          <a:prstGeom prst="chevron">
            <a:avLst/>
          </a:prstGeom>
          <a:solidFill>
            <a:srgbClr val="003C7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63584"/>
            <a:endParaRPr lang="en-IN" sz="1049" dirty="0">
              <a:solidFill>
                <a:srgbClr val="000000"/>
              </a:solidFill>
            </a:endParaRPr>
          </a:p>
        </p:txBody>
      </p:sp>
      <p:sp>
        <p:nvSpPr>
          <p:cNvPr id="48" name="Oval 47">
            <a:hlinkClick r:id="" action="ppaction://hlinkshowjump?jump=nextslide"/>
          </p:cNvPr>
          <p:cNvSpPr/>
          <p:nvPr userDrawn="1"/>
        </p:nvSpPr>
        <p:spPr>
          <a:xfrm flipH="1" flipV="1">
            <a:off x="12011904" y="261237"/>
            <a:ext cx="124362" cy="115158"/>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63584"/>
            <a:endParaRPr lang="en-IN" sz="1049" dirty="0">
              <a:solidFill>
                <a:srgbClr val="000000"/>
              </a:solidFill>
            </a:endParaRPr>
          </a:p>
        </p:txBody>
      </p:sp>
      <p:sp>
        <p:nvSpPr>
          <p:cNvPr id="49" name="Chevron 48"/>
          <p:cNvSpPr/>
          <p:nvPr userDrawn="1"/>
        </p:nvSpPr>
        <p:spPr>
          <a:xfrm flipV="1">
            <a:off x="12054251" y="295477"/>
            <a:ext cx="39668" cy="46679"/>
          </a:xfrm>
          <a:prstGeom prst="chevron">
            <a:avLst/>
          </a:prstGeom>
          <a:solidFill>
            <a:srgbClr val="003C7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63584"/>
            <a:endParaRPr lang="en-IN" sz="1049" dirty="0">
              <a:solidFill>
                <a:srgbClr val="000000"/>
              </a:solidFill>
            </a:endParaRPr>
          </a:p>
        </p:txBody>
      </p:sp>
      <p:sp>
        <p:nvSpPr>
          <p:cNvPr id="2" name="TextBox 1"/>
          <p:cNvSpPr txBox="1"/>
          <p:nvPr userDrawn="1"/>
        </p:nvSpPr>
        <p:spPr>
          <a:xfrm>
            <a:off x="10899967" y="254246"/>
            <a:ext cx="931440" cy="112384"/>
          </a:xfrm>
          <a:prstGeom prst="rect">
            <a:avLst/>
          </a:prstGeom>
          <a:noFill/>
        </p:spPr>
        <p:txBody>
          <a:bodyPr wrap="square" lIns="0" tIns="31985" rIns="0" bIns="0" rtlCol="0">
            <a:spAutoFit/>
          </a:bodyPr>
          <a:lstStyle/>
          <a:p>
            <a:pPr defTabSz="863584">
              <a:lnSpc>
                <a:spcPct val="85000"/>
              </a:lnSpc>
              <a:spcAft>
                <a:spcPts val="525"/>
              </a:spcAft>
              <a:buClr>
                <a:srgbClr val="FFE600"/>
              </a:buClr>
              <a:buSzPct val="70000"/>
              <a:buFont typeface="Arial" pitchFamily="34" charset="0"/>
              <a:buNone/>
            </a:pPr>
            <a:r>
              <a:rPr lang="en-IN" sz="612" dirty="0">
                <a:solidFill>
                  <a:srgbClr val="000000"/>
                </a:solidFill>
              </a:rPr>
              <a:t>HEALTH COMPANY A</a:t>
            </a:r>
          </a:p>
        </p:txBody>
      </p:sp>
    </p:spTree>
    <p:extLst>
      <p:ext uri="{BB962C8B-B14F-4D97-AF65-F5344CB8AC3E}">
        <p14:creationId xmlns:p14="http://schemas.microsoft.com/office/powerpoint/2010/main" val="25839321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Executive Summary blank">
    <p:spTree>
      <p:nvGrpSpPr>
        <p:cNvPr id="1" name=""/>
        <p:cNvGrpSpPr/>
        <p:nvPr/>
      </p:nvGrpSpPr>
      <p:grpSpPr>
        <a:xfrm>
          <a:off x="0" y="0"/>
          <a:ext cx="0" cy="0"/>
          <a:chOff x="0" y="0"/>
          <a:chExt cx="0" cy="0"/>
        </a:xfrm>
      </p:grpSpPr>
      <p:sp>
        <p:nvSpPr>
          <p:cNvPr id="8" name="Title 7"/>
          <p:cNvSpPr>
            <a:spLocks noGrp="1"/>
          </p:cNvSpPr>
          <p:nvPr>
            <p:ph type="title"/>
          </p:nvPr>
        </p:nvSpPr>
        <p:spPr>
          <a:xfrm>
            <a:off x="497676" y="460842"/>
            <a:ext cx="11202999" cy="951100"/>
          </a:xfrm>
          <a:prstGeom prst="rect">
            <a:avLst/>
          </a:prstGeom>
        </p:spPr>
        <p:txBody>
          <a:bodyPr lIns="0" rIns="0"/>
          <a:lstStyle>
            <a:lvl1pPr marL="0" algn="l" defTabSz="919263" rtl="0" eaLnBrk="1" latinLnBrk="0" hangingPunct="1">
              <a:lnSpc>
                <a:spcPct val="100000"/>
              </a:lnSpc>
              <a:spcBef>
                <a:spcPct val="0"/>
              </a:spcBef>
              <a:buNone/>
              <a:defRPr lang="en-IN" sz="2448" b="1" kern="0" cap="none" spc="0" dirty="0">
                <a:solidFill>
                  <a:srgbClr val="003C71"/>
                </a:solidFill>
                <a:latin typeface="Arial" panose="020B0604020202020204" pitchFamily="34" charset="0"/>
                <a:ea typeface="+mn-ea"/>
                <a:cs typeface="Arial" pitchFamily="34" charset="0"/>
              </a:defRPr>
            </a:lvl1pPr>
          </a:lstStyle>
          <a:p>
            <a:r>
              <a:rPr lang="en-US" dirty="0"/>
              <a:t>Click to edit</a:t>
            </a:r>
            <a:endParaRPr lang="en-IN" dirty="0"/>
          </a:p>
        </p:txBody>
      </p:sp>
      <p:sp>
        <p:nvSpPr>
          <p:cNvPr id="17" name="object 110"/>
          <p:cNvSpPr/>
          <p:nvPr userDrawn="1"/>
        </p:nvSpPr>
        <p:spPr>
          <a:xfrm>
            <a:off x="10446677" y="108264"/>
            <a:ext cx="0" cy="237279"/>
          </a:xfrm>
          <a:custGeom>
            <a:avLst/>
            <a:gdLst/>
            <a:ahLst/>
            <a:cxnLst/>
            <a:rect l="l" t="t" r="r" b="b"/>
            <a:pathLst>
              <a:path h="349592">
                <a:moveTo>
                  <a:pt x="0" y="0"/>
                </a:moveTo>
                <a:lnTo>
                  <a:pt x="0" y="349592"/>
                </a:lnTo>
              </a:path>
            </a:pathLst>
          </a:custGeom>
          <a:ln w="10795">
            <a:solidFill>
              <a:schemeClr val="tx2"/>
            </a:solidFill>
          </a:ln>
        </p:spPr>
        <p:txBody>
          <a:bodyPr wrap="square" lIns="0" tIns="0" rIns="0" bIns="0" rtlCol="0" anchor="ctr">
            <a:noAutofit/>
          </a:bodyPr>
          <a:lstStyle/>
          <a:p>
            <a:pPr defTabSz="301025"/>
            <a:endParaRPr sz="1277" dirty="0">
              <a:solidFill>
                <a:srgbClr val="646464"/>
              </a:solidFill>
              <a:latin typeface="Arial" panose="020B0604020202020204" pitchFamily="34" charset="0"/>
            </a:endParaRPr>
          </a:p>
        </p:txBody>
      </p:sp>
      <p:sp>
        <p:nvSpPr>
          <p:cNvPr id="18" name="object 111"/>
          <p:cNvSpPr/>
          <p:nvPr userDrawn="1"/>
        </p:nvSpPr>
        <p:spPr>
          <a:xfrm>
            <a:off x="10568095" y="207019"/>
            <a:ext cx="0" cy="237279"/>
          </a:xfrm>
          <a:custGeom>
            <a:avLst/>
            <a:gdLst/>
            <a:ahLst/>
            <a:cxnLst/>
            <a:rect l="l" t="t" r="r" b="b"/>
            <a:pathLst>
              <a:path h="349592">
                <a:moveTo>
                  <a:pt x="0" y="0"/>
                </a:moveTo>
                <a:lnTo>
                  <a:pt x="0" y="349592"/>
                </a:lnTo>
              </a:path>
            </a:pathLst>
          </a:custGeom>
          <a:ln w="10795">
            <a:solidFill>
              <a:schemeClr val="accent6"/>
            </a:solidFill>
          </a:ln>
        </p:spPr>
        <p:txBody>
          <a:bodyPr wrap="square" lIns="0" tIns="0" rIns="0" bIns="0" rtlCol="0" anchor="ctr">
            <a:noAutofit/>
          </a:bodyPr>
          <a:lstStyle/>
          <a:p>
            <a:pPr defTabSz="301025"/>
            <a:endParaRPr sz="1277" dirty="0">
              <a:solidFill>
                <a:srgbClr val="646464"/>
              </a:solidFill>
              <a:latin typeface="Arial" panose="020B0604020202020204" pitchFamily="34" charset="0"/>
            </a:endParaRPr>
          </a:p>
        </p:txBody>
      </p:sp>
      <p:sp>
        <p:nvSpPr>
          <p:cNvPr id="29" name="object 111"/>
          <p:cNvSpPr/>
          <p:nvPr userDrawn="1"/>
        </p:nvSpPr>
        <p:spPr>
          <a:xfrm>
            <a:off x="10835941" y="207019"/>
            <a:ext cx="0" cy="237279"/>
          </a:xfrm>
          <a:custGeom>
            <a:avLst/>
            <a:gdLst/>
            <a:ahLst/>
            <a:cxnLst/>
            <a:rect l="l" t="t" r="r" b="b"/>
            <a:pathLst>
              <a:path h="349592">
                <a:moveTo>
                  <a:pt x="0" y="0"/>
                </a:moveTo>
                <a:lnTo>
                  <a:pt x="0" y="349592"/>
                </a:lnTo>
              </a:path>
            </a:pathLst>
          </a:custGeom>
          <a:ln w="10795">
            <a:solidFill>
              <a:schemeClr val="accent6"/>
            </a:solidFill>
          </a:ln>
        </p:spPr>
        <p:txBody>
          <a:bodyPr wrap="square" lIns="0" tIns="0" rIns="0" bIns="0" rtlCol="0" anchor="ctr">
            <a:noAutofit/>
          </a:bodyPr>
          <a:lstStyle/>
          <a:p>
            <a:pPr defTabSz="301025"/>
            <a:endParaRPr sz="1277" dirty="0">
              <a:solidFill>
                <a:srgbClr val="646464"/>
              </a:solidFill>
              <a:latin typeface="Arial" panose="020B0604020202020204" pitchFamily="34" charset="0"/>
            </a:endParaRPr>
          </a:p>
        </p:txBody>
      </p:sp>
    </p:spTree>
    <p:extLst>
      <p:ext uri="{BB962C8B-B14F-4D97-AF65-F5344CB8AC3E}">
        <p14:creationId xmlns:p14="http://schemas.microsoft.com/office/powerpoint/2010/main" val="15590230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5" y="6349031"/>
            <a:ext cx="908844" cy="495475"/>
          </a:xfrm>
          <a:prstGeom prst="rect">
            <a:avLst/>
          </a:prstGeom>
        </p:spPr>
      </p:pic>
    </p:spTree>
    <p:extLst>
      <p:ext uri="{BB962C8B-B14F-4D97-AF65-F5344CB8AC3E}">
        <p14:creationId xmlns:p14="http://schemas.microsoft.com/office/powerpoint/2010/main" val="199994089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5202" cy="6858000"/>
          </a:xfrm>
          <a:prstGeom prst="rect">
            <a:avLst/>
          </a:prstGeom>
        </p:spPr>
      </p:pic>
      <p:sp>
        <p:nvSpPr>
          <p:cNvPr id="6" name="Rectangle 5"/>
          <p:cNvSpPr>
            <a:spLocks noChangeArrowheads="1"/>
          </p:cNvSpPr>
          <p:nvPr userDrawn="1"/>
        </p:nvSpPr>
        <p:spPr bwMode="auto">
          <a:xfrm>
            <a:off x="9746721" y="6577666"/>
            <a:ext cx="2341748" cy="138681"/>
          </a:xfrm>
          <a:prstGeom prst="rect">
            <a:avLst/>
          </a:prstGeom>
          <a:noFill/>
          <a:ln w="9525">
            <a:noFill/>
            <a:miter lim="800000"/>
            <a:headEnd/>
            <a:tailEnd/>
          </a:ln>
          <a:effectLst/>
        </p:spPr>
        <p:txBody>
          <a:bodyPr lIns="0" tIns="0" rIns="0" bIns="0"/>
          <a:lstStyle/>
          <a:p>
            <a:pPr marL="9925" defTabSz="357326"/>
            <a:r>
              <a:rPr lang="en-US" sz="628" dirty="0">
                <a:solidFill>
                  <a:srgbClr val="4BACC6">
                    <a:lumMod val="40000"/>
                    <a:lumOff val="60000"/>
                  </a:srgbClr>
                </a:solidFill>
                <a:latin typeface="EYInterstate Light"/>
                <a:cs typeface="EYInterstate Light"/>
              </a:rPr>
              <a:t>EY Proprietary Material – Confidential – Not for Distribution</a:t>
            </a:r>
          </a:p>
        </p:txBody>
      </p:sp>
    </p:spTree>
    <p:extLst>
      <p:ext uri="{BB962C8B-B14F-4D97-AF65-F5344CB8AC3E}">
        <p14:creationId xmlns:p14="http://schemas.microsoft.com/office/powerpoint/2010/main" val="15132039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52022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14" name="Holder 2"/>
          <p:cNvSpPr>
            <a:spLocks noGrp="1"/>
          </p:cNvSpPr>
          <p:nvPr>
            <p:ph type="title"/>
          </p:nvPr>
        </p:nvSpPr>
        <p:spPr>
          <a:xfrm>
            <a:off x="801995" y="3202953"/>
            <a:ext cx="5954934" cy="607401"/>
          </a:xfrm>
          <a:prstGeom prst="rect">
            <a:avLst/>
          </a:prstGeom>
          <a:ln>
            <a:noFill/>
          </a:ln>
        </p:spPr>
        <p:txBody>
          <a:bodyPr wrap="square" lIns="0" tIns="0" rIns="0" bIns="0">
            <a:noAutofit/>
          </a:bodyPr>
          <a:lstStyle>
            <a:lvl1pPr>
              <a:defRPr>
                <a:solidFill>
                  <a:srgbClr val="FFFFFF"/>
                </a:solidFill>
              </a:defRPr>
            </a:lvl1pPr>
          </a:lstStyle>
          <a:p>
            <a:endParaRPr dirty="0"/>
          </a:p>
        </p:txBody>
      </p:sp>
    </p:spTree>
    <p:extLst>
      <p:ext uri="{BB962C8B-B14F-4D97-AF65-F5344CB8AC3E}">
        <p14:creationId xmlns:p14="http://schemas.microsoft.com/office/powerpoint/2010/main" val="9365112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6" name="object 2"/>
          <p:cNvSpPr/>
          <p:nvPr userDrawn="1"/>
        </p:nvSpPr>
        <p:spPr>
          <a:xfrm>
            <a:off x="1" y="0"/>
            <a:ext cx="3205057"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8" name="bk object 20"/>
          <p:cNvSpPr/>
          <p:nvPr userDrawn="1"/>
        </p:nvSpPr>
        <p:spPr>
          <a:xfrm>
            <a:off x="6322844" y="3345513"/>
            <a:ext cx="5706086"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dirty="0">
              <a:solidFill>
                <a:prstClr val="black"/>
              </a:solidFill>
            </a:endParaRPr>
          </a:p>
        </p:txBody>
      </p:sp>
      <p:sp>
        <p:nvSpPr>
          <p:cNvPr id="12" name="Title 2"/>
          <p:cNvSpPr>
            <a:spLocks noGrp="1"/>
          </p:cNvSpPr>
          <p:nvPr>
            <p:ph type="title"/>
          </p:nvPr>
        </p:nvSpPr>
        <p:spPr>
          <a:xfrm>
            <a:off x="552840" y="1519138"/>
            <a:ext cx="2162749" cy="3546198"/>
          </a:xfrm>
          <a:prstGeom prst="rect">
            <a:avLst/>
          </a:prstGeom>
        </p:spPr>
        <p:txBody>
          <a:bodyPr vert="horz"/>
          <a:lstStyle>
            <a:lvl1pPr>
              <a:defRPr sz="2119"/>
            </a:lvl1pPr>
          </a:lstStyle>
          <a:p>
            <a:r>
              <a:rPr lang="x-none" dirty="0"/>
              <a:t>Click to edit Master title style</a:t>
            </a:r>
            <a:endParaRPr lang="en-US" dirty="0"/>
          </a:p>
        </p:txBody>
      </p:sp>
      <p:pic>
        <p:nvPicPr>
          <p:cNvPr id="31" name="Picture 3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9592" y="6235978"/>
            <a:ext cx="2998761" cy="529509"/>
          </a:xfrm>
          <a:prstGeom prst="rect">
            <a:avLst/>
          </a:prstGeom>
        </p:spPr>
      </p:pic>
      <p:sp>
        <p:nvSpPr>
          <p:cNvPr id="33" name="object 2"/>
          <p:cNvSpPr/>
          <p:nvPr userDrawn="1"/>
        </p:nvSpPr>
        <p:spPr>
          <a:xfrm>
            <a:off x="0" y="6144044"/>
            <a:ext cx="3118353" cy="713956"/>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21" name="Holder 4"/>
          <p:cNvSpPr>
            <a:spLocks noGrp="1"/>
          </p:cNvSpPr>
          <p:nvPr>
            <p:ph type="ftr" sz="quarter" idx="3"/>
          </p:nvPr>
        </p:nvSpPr>
        <p:spPr>
          <a:xfrm>
            <a:off x="11404218"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l="26917" r="18538"/>
          <a:stretch/>
        </p:blipFill>
        <p:spPr>
          <a:xfrm>
            <a:off x="633724" y="4768296"/>
            <a:ext cx="1780136" cy="2191751"/>
          </a:xfrm>
          <a:prstGeom prst="rect">
            <a:avLst/>
          </a:prstGeom>
        </p:spPr>
      </p:pic>
    </p:spTree>
    <p:extLst>
      <p:ext uri="{BB962C8B-B14F-4D97-AF65-F5344CB8AC3E}">
        <p14:creationId xmlns:p14="http://schemas.microsoft.com/office/powerpoint/2010/main" val="30225140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4" name="object 2"/>
          <p:cNvSpPr/>
          <p:nvPr userDrawn="1"/>
        </p:nvSpPr>
        <p:spPr>
          <a:xfrm>
            <a:off x="6060694" y="0"/>
            <a:ext cx="6144832"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26" name="Holder 2"/>
          <p:cNvSpPr>
            <a:spLocks noGrp="1"/>
          </p:cNvSpPr>
          <p:nvPr>
            <p:ph type="title"/>
          </p:nvPr>
        </p:nvSpPr>
        <p:spPr>
          <a:xfrm>
            <a:off x="379019" y="1808809"/>
            <a:ext cx="5321829" cy="607401"/>
          </a:xfrm>
        </p:spPr>
        <p:txBody>
          <a:bodyPr lIns="0" tIns="0" rIns="0" bIns="0"/>
          <a:lstStyle>
            <a:lvl1pPr>
              <a:defRPr sz="2276" kern="1200">
                <a:solidFill>
                  <a:srgbClr val="6D6E70"/>
                </a:solidFill>
                <a:latin typeface="EYInterstate Light"/>
                <a:ea typeface="+mn-ea"/>
                <a:cs typeface="EYInterstate Light"/>
              </a:defRPr>
            </a:lvl1pPr>
          </a:lstStyle>
          <a:p>
            <a:endParaRPr dirty="0"/>
          </a:p>
        </p:txBody>
      </p:sp>
      <p:grpSp>
        <p:nvGrpSpPr>
          <p:cNvPr id="12" name="Group 11"/>
          <p:cNvGrpSpPr/>
          <p:nvPr userDrawn="1"/>
        </p:nvGrpSpPr>
        <p:grpSpPr>
          <a:xfrm>
            <a:off x="11059382" y="6566385"/>
            <a:ext cx="278471" cy="142043"/>
            <a:chOff x="13523766" y="8227524"/>
            <a:chExt cx="390353" cy="238776"/>
          </a:xfrm>
        </p:grpSpPr>
        <p:sp>
          <p:nvSpPr>
            <p:cNvPr id="13"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sp>
          <p:nvSpPr>
            <p:cNvPr id="15"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grpSp>
      <p:sp>
        <p:nvSpPr>
          <p:cNvPr id="16"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17" name="Holder 4"/>
          <p:cNvSpPr>
            <a:spLocks noGrp="1"/>
          </p:cNvSpPr>
          <p:nvPr>
            <p:ph type="ftr" sz="quarter" idx="3"/>
          </p:nvPr>
        </p:nvSpPr>
        <p:spPr>
          <a:xfrm>
            <a:off x="11404218"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4474769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object 2"/>
          <p:cNvSpPr/>
          <p:nvPr userDrawn="1"/>
        </p:nvSpPr>
        <p:spPr>
          <a:xfrm>
            <a:off x="2" y="0"/>
            <a:ext cx="7959913"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dirty="0">
              <a:solidFill>
                <a:prstClr val="black"/>
              </a:solidFill>
            </a:endParaRPr>
          </a:p>
        </p:txBody>
      </p:sp>
      <p:sp>
        <p:nvSpPr>
          <p:cNvPr id="12" name="Title 2"/>
          <p:cNvSpPr>
            <a:spLocks noGrp="1"/>
          </p:cNvSpPr>
          <p:nvPr>
            <p:ph type="title"/>
          </p:nvPr>
        </p:nvSpPr>
        <p:spPr>
          <a:xfrm>
            <a:off x="552841" y="551354"/>
            <a:ext cx="5333729" cy="607401"/>
          </a:xfrm>
        </p:spPr>
        <p:txBody>
          <a:bodyPr vert="horz"/>
          <a:lstStyle/>
          <a:p>
            <a:r>
              <a:rPr lang="x-none" dirty="0"/>
              <a:t>Click to edit Master title style</a:t>
            </a:r>
            <a:endParaRPr lang="en-US" dirty="0"/>
          </a:p>
        </p:txBody>
      </p:sp>
      <p:sp>
        <p:nvSpPr>
          <p:cNvPr id="15" name="Holder 4"/>
          <p:cNvSpPr>
            <a:spLocks noGrp="1"/>
          </p:cNvSpPr>
          <p:nvPr>
            <p:ph type="ftr" sz="quarter" idx="3"/>
          </p:nvPr>
        </p:nvSpPr>
        <p:spPr>
          <a:xfrm>
            <a:off x="11404218"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13357887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screen">
            <a:extLst>
              <a:ext uri="{28A0092B-C50C-407E-A947-70E740481C1C}">
                <a14:useLocalDpi xmlns:a14="http://schemas.microsoft.com/office/drawing/2010/main"/>
              </a:ext>
            </a:extLst>
          </a:blip>
          <a:srcRect l="9677" t="15505" r="8065" b="15163"/>
          <a:stretch/>
        </p:blipFill>
        <p:spPr>
          <a:xfrm>
            <a:off x="0" y="-10056"/>
            <a:ext cx="6099175" cy="6878112"/>
          </a:xfrm>
          <a:prstGeom prst="rect">
            <a:avLst/>
          </a:prstGeom>
        </p:spPr>
      </p:pic>
      <p:sp>
        <p:nvSpPr>
          <p:cNvPr id="6" name="object 2"/>
          <p:cNvSpPr/>
          <p:nvPr userDrawn="1"/>
        </p:nvSpPr>
        <p:spPr>
          <a:xfrm>
            <a:off x="0" y="0"/>
            <a:ext cx="6099175"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dirty="0">
              <a:solidFill>
                <a:prstClr val="black"/>
              </a:solidFill>
            </a:endParaRPr>
          </a:p>
        </p:txBody>
      </p:sp>
      <p:sp>
        <p:nvSpPr>
          <p:cNvPr id="12" name="Title 2"/>
          <p:cNvSpPr>
            <a:spLocks noGrp="1"/>
          </p:cNvSpPr>
          <p:nvPr>
            <p:ph type="title"/>
          </p:nvPr>
        </p:nvSpPr>
        <p:spPr>
          <a:xfrm>
            <a:off x="552841" y="551354"/>
            <a:ext cx="5333729" cy="607401"/>
          </a:xfrm>
        </p:spPr>
        <p:txBody>
          <a:bodyPr vert="horz"/>
          <a:lstStyle/>
          <a:p>
            <a:r>
              <a:rPr lang="x-none" dirty="0"/>
              <a:t>Click to edit Master title style</a:t>
            </a:r>
            <a:endParaRPr lang="en-US" dirty="0"/>
          </a:p>
        </p:txBody>
      </p:sp>
      <p:sp>
        <p:nvSpPr>
          <p:cNvPr id="7"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2952414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dirty="0">
              <a:solidFill>
                <a:prstClr val="black"/>
              </a:solidFill>
            </a:endParaRPr>
          </a:p>
        </p:txBody>
      </p:sp>
      <p:sp>
        <p:nvSpPr>
          <p:cNvPr id="7"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261063201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6" name="object 2"/>
          <p:cNvSpPr/>
          <p:nvPr userDrawn="1"/>
        </p:nvSpPr>
        <p:spPr>
          <a:xfrm>
            <a:off x="0" y="0"/>
            <a:ext cx="6137656"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dirty="0">
              <a:solidFill>
                <a:prstClr val="black"/>
              </a:solidFill>
            </a:endParaRPr>
          </a:p>
        </p:txBody>
      </p:sp>
      <p:sp>
        <p:nvSpPr>
          <p:cNvPr id="12" name="Title 2"/>
          <p:cNvSpPr>
            <a:spLocks noGrp="1"/>
          </p:cNvSpPr>
          <p:nvPr>
            <p:ph type="title"/>
          </p:nvPr>
        </p:nvSpPr>
        <p:spPr>
          <a:xfrm>
            <a:off x="552841" y="551354"/>
            <a:ext cx="5333729" cy="607401"/>
          </a:xfrm>
        </p:spPr>
        <p:txBody>
          <a:bodyPr vert="horz"/>
          <a:lstStyle/>
          <a:p>
            <a:r>
              <a:rPr lang="x-none" dirty="0"/>
              <a:t>Click to edit Master title style</a:t>
            </a:r>
            <a:endParaRPr lang="en-US" dirty="0"/>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2507" r="-2777"/>
          <a:stretch/>
        </p:blipFill>
        <p:spPr>
          <a:xfrm>
            <a:off x="478367" y="6235978"/>
            <a:ext cx="5022850" cy="529509"/>
          </a:xfrm>
          <a:prstGeom prst="rect">
            <a:avLst/>
          </a:prstGeom>
        </p:spPr>
      </p:pic>
      <p:sp>
        <p:nvSpPr>
          <p:cNvPr id="10" name="object 2"/>
          <p:cNvSpPr/>
          <p:nvPr userDrawn="1"/>
        </p:nvSpPr>
        <p:spPr>
          <a:xfrm>
            <a:off x="0" y="5963041"/>
            <a:ext cx="6137656" cy="894959"/>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11"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240057315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10" name="object 2"/>
          <p:cNvSpPr/>
          <p:nvPr userDrawn="1"/>
        </p:nvSpPr>
        <p:spPr>
          <a:xfrm>
            <a:off x="28" y="-8767"/>
            <a:ext cx="12211817" cy="3015427"/>
          </a:xfrm>
          <a:custGeom>
            <a:avLst/>
            <a:gdLst/>
            <a:ahLst/>
            <a:cxnLst/>
            <a:rect l="l" t="t" r="r" b="b"/>
            <a:pathLst>
              <a:path w="2922257" h="272415">
                <a:moveTo>
                  <a:pt x="0" y="272415"/>
                </a:moveTo>
                <a:lnTo>
                  <a:pt x="2922257" y="272415"/>
                </a:lnTo>
                <a:lnTo>
                  <a:pt x="2922257" y="0"/>
                </a:lnTo>
                <a:lnTo>
                  <a:pt x="0" y="0"/>
                </a:lnTo>
                <a:lnTo>
                  <a:pt x="0" y="272415"/>
                </a:lnTo>
                <a:close/>
              </a:path>
            </a:pathLst>
          </a:custGeom>
          <a:solidFill>
            <a:srgbClr val="FED303"/>
          </a:solidFill>
        </p:spPr>
        <p:txBody>
          <a:bodyPr wrap="square" lIns="0" tIns="0" rIns="0" bIns="0" rtlCol="0">
            <a:noAutofit/>
          </a:bodyPr>
          <a:lstStyle/>
          <a:p>
            <a:pPr defTabSz="357326"/>
            <a:endParaRPr sz="1569" dirty="0">
              <a:solidFill>
                <a:prstClr val="black"/>
              </a:solidFill>
            </a:endParaRPr>
          </a:p>
        </p:txBody>
      </p:sp>
      <p:sp>
        <p:nvSpPr>
          <p:cNvPr id="13" name="object 2"/>
          <p:cNvSpPr/>
          <p:nvPr userDrawn="1"/>
        </p:nvSpPr>
        <p:spPr>
          <a:xfrm>
            <a:off x="-6706" y="0"/>
            <a:ext cx="12205055" cy="300666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l="-2507" r="-2777"/>
          <a:stretch/>
        </p:blipFill>
        <p:spPr>
          <a:xfrm>
            <a:off x="7173985" y="110613"/>
            <a:ext cx="5022850" cy="529509"/>
          </a:xfrm>
          <a:prstGeom prst="rect">
            <a:avLst/>
          </a:prstGeom>
        </p:spPr>
      </p:pic>
      <p:sp>
        <p:nvSpPr>
          <p:cNvPr id="17" name="object 2"/>
          <p:cNvSpPr/>
          <p:nvPr userDrawn="1"/>
        </p:nvSpPr>
        <p:spPr>
          <a:xfrm>
            <a:off x="7160488" y="0"/>
            <a:ext cx="5011509" cy="77429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14" name="Holder 2"/>
          <p:cNvSpPr>
            <a:spLocks noGrp="1"/>
          </p:cNvSpPr>
          <p:nvPr>
            <p:ph type="title"/>
          </p:nvPr>
        </p:nvSpPr>
        <p:spPr>
          <a:xfrm>
            <a:off x="358775" y="889844"/>
            <a:ext cx="9143889" cy="607401"/>
          </a:xfrm>
          <a:prstGeom prst="rect">
            <a:avLst/>
          </a:prstGeom>
        </p:spPr>
        <p:txBody>
          <a:bodyPr wrap="square" lIns="0" tIns="0" rIns="0" bIns="0">
            <a:noAutofit/>
          </a:bodyPr>
          <a:lstStyle>
            <a:lvl1pPr>
              <a:defRPr/>
            </a:lvl1pPr>
          </a:lstStyle>
          <a:p>
            <a:endParaRPr dirty="0"/>
          </a:p>
        </p:txBody>
      </p:sp>
      <p:sp>
        <p:nvSpPr>
          <p:cNvPr id="8"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12271054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2" name="Date Placeholder 1"/>
          <p:cNvSpPr>
            <a:spLocks noGrp="1"/>
          </p:cNvSpPr>
          <p:nvPr>
            <p:ph type="dt" sz="half" idx="10"/>
          </p:nvPr>
        </p:nvSpPr>
        <p:spPr/>
        <p:txBody>
          <a:bodyPr/>
          <a:lstStyle/>
          <a:p>
            <a:r>
              <a:rPr lang="en-US" dirty="0"/>
              <a:t>1 January 2014</a:t>
            </a:r>
          </a:p>
        </p:txBody>
      </p:sp>
      <p:sp>
        <p:nvSpPr>
          <p:cNvPr id="3" name="Footer Placeholder 2"/>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5286478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0" name="object 2"/>
          <p:cNvSpPr/>
          <p:nvPr userDrawn="1"/>
        </p:nvSpPr>
        <p:spPr>
          <a:xfrm>
            <a:off x="28" y="4639"/>
            <a:ext cx="12211817" cy="6866768"/>
          </a:xfrm>
          <a:custGeom>
            <a:avLst/>
            <a:gdLst/>
            <a:ahLst/>
            <a:cxnLst/>
            <a:rect l="l" t="t" r="r" b="b"/>
            <a:pathLst>
              <a:path w="2922257" h="272415">
                <a:moveTo>
                  <a:pt x="0" y="272415"/>
                </a:moveTo>
                <a:lnTo>
                  <a:pt x="2922257" y="272415"/>
                </a:lnTo>
                <a:lnTo>
                  <a:pt x="2922257" y="0"/>
                </a:lnTo>
                <a:lnTo>
                  <a:pt x="0" y="0"/>
                </a:lnTo>
                <a:lnTo>
                  <a:pt x="0" y="272415"/>
                </a:lnTo>
                <a:close/>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14" name="Holder 2"/>
          <p:cNvSpPr>
            <a:spLocks noGrp="1"/>
          </p:cNvSpPr>
          <p:nvPr>
            <p:ph type="title"/>
          </p:nvPr>
        </p:nvSpPr>
        <p:spPr>
          <a:xfrm>
            <a:off x="552859" y="551354"/>
            <a:ext cx="11092669" cy="607401"/>
          </a:xfrm>
          <a:prstGeom prst="rect">
            <a:avLst/>
          </a:prstGeom>
        </p:spPr>
        <p:txBody>
          <a:bodyPr wrap="square" lIns="0" tIns="0" rIns="0" bIns="0">
            <a:noAutofit/>
          </a:bodyPr>
          <a:lstStyle/>
          <a:p>
            <a:endParaRPr dirty="0"/>
          </a:p>
        </p:txBody>
      </p:sp>
      <p:grpSp>
        <p:nvGrpSpPr>
          <p:cNvPr id="20" name="Group 19"/>
          <p:cNvGrpSpPr/>
          <p:nvPr userDrawn="1"/>
        </p:nvGrpSpPr>
        <p:grpSpPr>
          <a:xfrm>
            <a:off x="11063887" y="6566385"/>
            <a:ext cx="253155" cy="142043"/>
            <a:chOff x="13523766" y="8227524"/>
            <a:chExt cx="390353" cy="238776"/>
          </a:xfrm>
        </p:grpSpPr>
        <p:sp>
          <p:nvSpPr>
            <p:cNvPr id="21"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sp>
          <p:nvSpPr>
            <p:cNvPr id="22"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grpSp>
      <p:sp>
        <p:nvSpPr>
          <p:cNvPr id="28"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11" name="Holder 4"/>
          <p:cNvSpPr>
            <a:spLocks noGrp="1"/>
          </p:cNvSpPr>
          <p:nvPr>
            <p:ph type="ftr" sz="quarter" idx="3"/>
          </p:nvPr>
        </p:nvSpPr>
        <p:spPr>
          <a:xfrm>
            <a:off x="11404218" y="6598441"/>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163482439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8" name="object 2"/>
          <p:cNvSpPr/>
          <p:nvPr userDrawn="1"/>
        </p:nvSpPr>
        <p:spPr>
          <a:xfrm>
            <a:off x="6060694" y="0"/>
            <a:ext cx="6137656"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6" name="Holder 2"/>
          <p:cNvSpPr>
            <a:spLocks noGrp="1"/>
          </p:cNvSpPr>
          <p:nvPr>
            <p:ph type="title"/>
          </p:nvPr>
        </p:nvSpPr>
        <p:spPr>
          <a:xfrm>
            <a:off x="951495" y="3206063"/>
            <a:ext cx="3566428" cy="607401"/>
          </a:xfrm>
          <a:prstGeom prst="rect">
            <a:avLst/>
          </a:prstGeom>
        </p:spPr>
        <p:txBody>
          <a:bodyPr wrap="square" lIns="0" tIns="0" rIns="0" bIns="0">
            <a:noAutofit/>
          </a:bodyPr>
          <a:lstStyle/>
          <a:p>
            <a:endParaRPr dirty="0"/>
          </a:p>
        </p:txBody>
      </p:sp>
      <p:sp>
        <p:nvSpPr>
          <p:cNvPr id="7" name="Picture Placeholder 4"/>
          <p:cNvSpPr>
            <a:spLocks noGrp="1"/>
          </p:cNvSpPr>
          <p:nvPr>
            <p:ph type="pic" sz="quarter" idx="10"/>
          </p:nvPr>
        </p:nvSpPr>
        <p:spPr>
          <a:xfrm>
            <a:off x="7707468" y="1031971"/>
            <a:ext cx="1261941" cy="1274562"/>
          </a:xfrm>
          <a:prstGeom prst="rect">
            <a:avLst/>
          </a:prstGeom>
          <a:ln>
            <a:noFill/>
          </a:ln>
        </p:spPr>
        <p:txBody>
          <a:bodyPr vert="horz" lIns="91077" tIns="45538" rIns="91077" bIns="45538"/>
          <a:lstStyle/>
          <a:p>
            <a:endParaRPr lang="en-US" dirty="0"/>
          </a:p>
        </p:txBody>
      </p:sp>
      <p:sp>
        <p:nvSpPr>
          <p:cNvPr id="8" name="Picture Placeholder 4"/>
          <p:cNvSpPr>
            <a:spLocks noGrp="1"/>
          </p:cNvSpPr>
          <p:nvPr>
            <p:ph type="pic" sz="quarter" idx="11"/>
          </p:nvPr>
        </p:nvSpPr>
        <p:spPr>
          <a:xfrm>
            <a:off x="7707472" y="3620478"/>
            <a:ext cx="1261941" cy="1274562"/>
          </a:xfrm>
          <a:prstGeom prst="rect">
            <a:avLst/>
          </a:prstGeom>
          <a:ln>
            <a:noFill/>
          </a:ln>
        </p:spPr>
        <p:txBody>
          <a:bodyPr vert="horz" lIns="91077" tIns="45538" rIns="91077" bIns="45538"/>
          <a:lstStyle/>
          <a:p>
            <a:endParaRPr lang="en-US" dirty="0"/>
          </a:p>
        </p:txBody>
      </p:sp>
      <p:sp>
        <p:nvSpPr>
          <p:cNvPr id="9" name="object 4"/>
          <p:cNvSpPr txBox="1"/>
          <p:nvPr userDrawn="1"/>
        </p:nvSpPr>
        <p:spPr>
          <a:xfrm>
            <a:off x="7707515" y="2406675"/>
            <a:ext cx="3964816" cy="849143"/>
          </a:xfrm>
          <a:prstGeom prst="rect">
            <a:avLst/>
          </a:prstGeom>
        </p:spPr>
        <p:txBody>
          <a:bodyPr vert="horz" wrap="square" lIns="0" tIns="0" rIns="0" bIns="0" rtlCol="0">
            <a:spAutoFit/>
          </a:bodyPr>
          <a:lstStyle/>
          <a:p>
            <a:pPr marL="7398" defTabSz="357326"/>
            <a:r>
              <a:rPr lang="en-US" sz="1569" spc="-64" dirty="0">
                <a:solidFill>
                  <a:srgbClr val="6E6F71"/>
                </a:solidFill>
                <a:latin typeface="EYInterstate Light"/>
                <a:cs typeface="EYInterstate Light"/>
              </a:rPr>
              <a:t>Name</a:t>
            </a:r>
            <a:endParaRPr lang="en-US" sz="1569" dirty="0">
              <a:solidFill>
                <a:prstClr val="black"/>
              </a:solidFill>
              <a:latin typeface="EYInterstate Light"/>
              <a:cs typeface="EYInterstate Light"/>
            </a:endParaRPr>
          </a:p>
          <a:p>
            <a:pPr marL="7398" defTabSz="357326">
              <a:lnSpc>
                <a:spcPct val="130000"/>
              </a:lnSpc>
            </a:pPr>
            <a:r>
              <a:rPr lang="en-US" sz="1177" spc="-19" dirty="0">
                <a:solidFill>
                  <a:srgbClr val="6E6F71"/>
                </a:solidFill>
                <a:latin typeface="EYInterstate Light"/>
                <a:cs typeface="EYInterstate Light"/>
              </a:rPr>
              <a:t>Title | Strategy | Innovation &amp; Digital Enterprise Strategy</a:t>
            </a:r>
          </a:p>
          <a:p>
            <a:pPr marL="7398" marR="2964" indent="-371" defTabSz="357326">
              <a:lnSpc>
                <a:spcPct val="110000"/>
              </a:lnSpc>
            </a:pPr>
            <a:r>
              <a:rPr lang="en-US" sz="1099" spc="-19" dirty="0">
                <a:solidFill>
                  <a:srgbClr val="6E6F71"/>
                </a:solidFill>
                <a:latin typeface="EYInterstate Light"/>
                <a:cs typeface="EYInterstate Light"/>
              </a:rPr>
              <a:t>Email: First.Last@ey.com</a:t>
            </a:r>
          </a:p>
          <a:p>
            <a:pPr marL="7398" marR="2964" indent="-371" defTabSz="357326">
              <a:lnSpc>
                <a:spcPct val="110000"/>
              </a:lnSpc>
            </a:pPr>
            <a:r>
              <a:rPr lang="en-US" sz="1099" spc="-19" dirty="0">
                <a:solidFill>
                  <a:srgbClr val="6E6F71"/>
                </a:solidFill>
                <a:latin typeface="EYInterstate Light"/>
                <a:cs typeface="EYInterstate Light"/>
              </a:rPr>
              <a:t>Mobile: +1 000 000 0000</a:t>
            </a:r>
          </a:p>
        </p:txBody>
      </p:sp>
      <p:sp>
        <p:nvSpPr>
          <p:cNvPr id="10" name="object 4"/>
          <p:cNvSpPr txBox="1"/>
          <p:nvPr userDrawn="1"/>
        </p:nvSpPr>
        <p:spPr>
          <a:xfrm>
            <a:off x="7707515" y="4995181"/>
            <a:ext cx="3964816" cy="849143"/>
          </a:xfrm>
          <a:prstGeom prst="rect">
            <a:avLst/>
          </a:prstGeom>
        </p:spPr>
        <p:txBody>
          <a:bodyPr vert="horz" wrap="square" lIns="0" tIns="0" rIns="0" bIns="0" rtlCol="0">
            <a:spAutoFit/>
          </a:bodyPr>
          <a:lstStyle/>
          <a:p>
            <a:pPr marL="7398" defTabSz="357326"/>
            <a:r>
              <a:rPr lang="en-US" sz="1569" spc="-64" dirty="0">
                <a:solidFill>
                  <a:srgbClr val="6E6F71"/>
                </a:solidFill>
                <a:latin typeface="EYInterstate Light"/>
                <a:cs typeface="EYInterstate Light"/>
              </a:rPr>
              <a:t>Name</a:t>
            </a:r>
            <a:endParaRPr lang="en-US" sz="1569" dirty="0">
              <a:solidFill>
                <a:prstClr val="black"/>
              </a:solidFill>
              <a:latin typeface="EYInterstate Light"/>
              <a:cs typeface="EYInterstate Light"/>
            </a:endParaRPr>
          </a:p>
          <a:p>
            <a:pPr marL="7398" defTabSz="357326">
              <a:lnSpc>
                <a:spcPct val="130000"/>
              </a:lnSpc>
            </a:pPr>
            <a:r>
              <a:rPr lang="en-US" sz="1177" spc="-19" dirty="0">
                <a:solidFill>
                  <a:srgbClr val="6E6F71"/>
                </a:solidFill>
                <a:latin typeface="EYInterstate Light"/>
                <a:cs typeface="EYInterstate Light"/>
              </a:rPr>
              <a:t>Title | Strategy | Innovation &amp; Digital Enterprise Strategy</a:t>
            </a:r>
          </a:p>
          <a:p>
            <a:pPr marL="7398" marR="2964" indent="-371" defTabSz="357326">
              <a:lnSpc>
                <a:spcPct val="110000"/>
              </a:lnSpc>
            </a:pPr>
            <a:r>
              <a:rPr lang="en-US" sz="1099" spc="-19" dirty="0">
                <a:solidFill>
                  <a:srgbClr val="6E6F71"/>
                </a:solidFill>
                <a:latin typeface="EYInterstate Light"/>
                <a:cs typeface="EYInterstate Light"/>
              </a:rPr>
              <a:t>Email: First.Last@ey.com</a:t>
            </a:r>
          </a:p>
          <a:p>
            <a:pPr marL="7398" marR="2964" indent="-371" defTabSz="357326">
              <a:lnSpc>
                <a:spcPct val="110000"/>
              </a:lnSpc>
            </a:pPr>
            <a:r>
              <a:rPr lang="en-US" sz="1099" spc="-19" dirty="0">
                <a:solidFill>
                  <a:srgbClr val="6E6F71"/>
                </a:solidFill>
                <a:latin typeface="EYInterstate Light"/>
                <a:cs typeface="EYInterstate Light"/>
              </a:rPr>
              <a:t>Mobile: +1 000 000 0000</a:t>
            </a:r>
          </a:p>
        </p:txBody>
      </p:sp>
      <p:grpSp>
        <p:nvGrpSpPr>
          <p:cNvPr id="20" name="Group 19"/>
          <p:cNvGrpSpPr/>
          <p:nvPr userDrawn="1"/>
        </p:nvGrpSpPr>
        <p:grpSpPr>
          <a:xfrm>
            <a:off x="11063887" y="6566385"/>
            <a:ext cx="253155" cy="142043"/>
            <a:chOff x="13523766" y="8227524"/>
            <a:chExt cx="390353" cy="238776"/>
          </a:xfrm>
        </p:grpSpPr>
        <p:sp>
          <p:nvSpPr>
            <p:cNvPr id="21"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sp>
          <p:nvSpPr>
            <p:cNvPr id="22"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grpSp>
      <p:sp>
        <p:nvSpPr>
          <p:cNvPr id="23"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24" name="Holder 4"/>
          <p:cNvSpPr>
            <a:spLocks noGrp="1"/>
          </p:cNvSpPr>
          <p:nvPr>
            <p:ph type="ftr" sz="quarter" idx="3"/>
          </p:nvPr>
        </p:nvSpPr>
        <p:spPr>
          <a:xfrm>
            <a:off x="11357011" y="659826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12320194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3" name="object 2"/>
          <p:cNvSpPr/>
          <p:nvPr userDrawn="1"/>
        </p:nvSpPr>
        <p:spPr>
          <a:xfrm>
            <a:off x="4238437" y="0"/>
            <a:ext cx="7959913"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dirty="0">
              <a:solidFill>
                <a:prstClr val="black"/>
              </a:solidFill>
            </a:endParaRPr>
          </a:p>
        </p:txBody>
      </p:sp>
      <p:sp>
        <p:nvSpPr>
          <p:cNvPr id="11" name="Rectangle 10"/>
          <p:cNvSpPr>
            <a:spLocks noChangeArrowheads="1"/>
          </p:cNvSpPr>
          <p:nvPr userDrawn="1"/>
        </p:nvSpPr>
        <p:spPr bwMode="auto">
          <a:xfrm>
            <a:off x="551883" y="6577666"/>
            <a:ext cx="3428554" cy="138681"/>
          </a:xfrm>
          <a:prstGeom prst="rect">
            <a:avLst/>
          </a:prstGeom>
          <a:noFill/>
          <a:ln w="9525">
            <a:noFill/>
            <a:miter lim="800000"/>
            <a:headEnd/>
            <a:tailEnd/>
          </a:ln>
          <a:effectLst/>
        </p:spPr>
        <p:txBody>
          <a:bodyPr lIns="0" tIns="0" rIns="0" bIns="0"/>
          <a:lstStyle/>
          <a:p>
            <a:pPr marL="9925" defTabSz="357326"/>
            <a:r>
              <a:rPr lang="en-US" sz="628" dirty="0">
                <a:solidFill>
                  <a:srgbClr val="A6A6A6"/>
                </a:solidFill>
                <a:latin typeface="EYInterstate Light"/>
                <a:cs typeface="EYInterstate Light"/>
              </a:rPr>
              <a:t>EY Proprietary Material – Confidential – Not for Distribution</a:t>
            </a:r>
          </a:p>
        </p:txBody>
      </p:sp>
      <p:sp>
        <p:nvSpPr>
          <p:cNvPr id="12" name="Title 2"/>
          <p:cNvSpPr>
            <a:spLocks noGrp="1"/>
          </p:cNvSpPr>
          <p:nvPr>
            <p:ph type="title"/>
          </p:nvPr>
        </p:nvSpPr>
        <p:spPr>
          <a:xfrm>
            <a:off x="358775" y="1827581"/>
            <a:ext cx="3072096" cy="3420473"/>
          </a:xfrm>
        </p:spPr>
        <p:txBody>
          <a:bodyPr vert="horz"/>
          <a:lstStyle/>
          <a:p>
            <a:r>
              <a:rPr lang="x-none" dirty="0"/>
              <a:t>Click to edit Master title style</a:t>
            </a:r>
            <a:endParaRPr lang="en-US" dirty="0"/>
          </a:p>
        </p:txBody>
      </p:sp>
      <p:grpSp>
        <p:nvGrpSpPr>
          <p:cNvPr id="14" name="Group 3"/>
          <p:cNvGrpSpPr/>
          <p:nvPr userDrawn="1"/>
        </p:nvGrpSpPr>
        <p:grpSpPr>
          <a:xfrm>
            <a:off x="358775" y="698336"/>
            <a:ext cx="1065292" cy="999820"/>
            <a:chOff x="672355" y="7000553"/>
            <a:chExt cx="1671285" cy="1554570"/>
          </a:xfrm>
        </p:grpSpPr>
        <p:grpSp>
          <p:nvGrpSpPr>
            <p:cNvPr id="15" name="Group 16"/>
            <p:cNvGrpSpPr/>
            <p:nvPr userDrawn="1"/>
          </p:nvGrpSpPr>
          <p:grpSpPr>
            <a:xfrm>
              <a:off x="672355" y="7553678"/>
              <a:ext cx="1671285" cy="1001445"/>
              <a:chOff x="672355" y="7010930"/>
              <a:chExt cx="1671285" cy="1001445"/>
            </a:xfrm>
          </p:grpSpPr>
          <p:grpSp>
            <p:nvGrpSpPr>
              <p:cNvPr id="17" name="Group 17"/>
              <p:cNvGrpSpPr/>
              <p:nvPr userDrawn="1"/>
            </p:nvGrpSpPr>
            <p:grpSpPr>
              <a:xfrm>
                <a:off x="772153" y="7010930"/>
                <a:ext cx="742186" cy="447188"/>
                <a:chOff x="641657" y="5850407"/>
                <a:chExt cx="742186" cy="447188"/>
              </a:xfrm>
            </p:grpSpPr>
            <p:sp>
              <p:nvSpPr>
                <p:cNvPr id="19" name="object 7"/>
                <p:cNvSpPr/>
                <p:nvPr/>
              </p:nvSpPr>
              <p:spPr>
                <a:xfrm>
                  <a:off x="641657" y="5850416"/>
                  <a:ext cx="357708" cy="447179"/>
                </a:xfrm>
                <a:custGeom>
                  <a:avLst/>
                  <a:gdLst/>
                  <a:ahLst/>
                  <a:cxnLst/>
                  <a:rect l="l" t="t" r="r" b="b"/>
                  <a:pathLst>
                    <a:path w="357708" h="447179">
                      <a:moveTo>
                        <a:pt x="253644" y="0"/>
                      </a:moveTo>
                      <a:lnTo>
                        <a:pt x="0" y="0"/>
                      </a:lnTo>
                      <a:lnTo>
                        <a:pt x="0" y="447179"/>
                      </a:lnTo>
                      <a:lnTo>
                        <a:pt x="357708" y="447179"/>
                      </a:lnTo>
                      <a:lnTo>
                        <a:pt x="357708" y="344309"/>
                      </a:lnTo>
                      <a:lnTo>
                        <a:pt x="134112" y="344309"/>
                      </a:lnTo>
                      <a:lnTo>
                        <a:pt x="134112" y="270522"/>
                      </a:lnTo>
                      <a:lnTo>
                        <a:pt x="295808" y="270522"/>
                      </a:lnTo>
                      <a:lnTo>
                        <a:pt x="295808" y="176631"/>
                      </a:lnTo>
                      <a:lnTo>
                        <a:pt x="134112" y="176631"/>
                      </a:lnTo>
                      <a:lnTo>
                        <a:pt x="134112" y="102844"/>
                      </a:lnTo>
                      <a:lnTo>
                        <a:pt x="312978" y="102844"/>
                      </a:lnTo>
                      <a:lnTo>
                        <a:pt x="253644" y="0"/>
                      </a:lnTo>
                      <a:close/>
                    </a:path>
                  </a:pathLst>
                </a:custGeom>
                <a:solidFill>
                  <a:schemeClr val="tx1">
                    <a:lumMod val="50000"/>
                    <a:lumOff val="50000"/>
                  </a:schemeClr>
                </a:solidFill>
              </p:spPr>
              <p:txBody>
                <a:bodyPr wrap="square" lIns="0" tIns="0" rIns="0" bIns="0" rtlCol="0">
                  <a:noAutofit/>
                </a:bodyPr>
                <a:lstStyle/>
                <a:p>
                  <a:pPr defTabSz="358765"/>
                  <a:endParaRPr sz="1412" dirty="0">
                    <a:solidFill>
                      <a:prstClr val="black"/>
                    </a:solidFill>
                  </a:endParaRPr>
                </a:p>
              </p:txBody>
            </p:sp>
            <p:sp>
              <p:nvSpPr>
                <p:cNvPr id="20" name="object 8"/>
                <p:cNvSpPr/>
                <p:nvPr/>
              </p:nvSpPr>
              <p:spPr>
                <a:xfrm>
                  <a:off x="937464" y="5850407"/>
                  <a:ext cx="446379" cy="447179"/>
                </a:xfrm>
                <a:custGeom>
                  <a:avLst/>
                  <a:gdLst/>
                  <a:ahLst/>
                  <a:cxnLst/>
                  <a:rect l="l" t="t" r="r" b="b"/>
                  <a:pathLst>
                    <a:path w="446379" h="447179">
                      <a:moveTo>
                        <a:pt x="148259" y="0"/>
                      </a:moveTo>
                      <a:lnTo>
                        <a:pt x="0" y="0"/>
                      </a:lnTo>
                      <a:lnTo>
                        <a:pt x="156222" y="270535"/>
                      </a:lnTo>
                      <a:lnTo>
                        <a:pt x="156222" y="447179"/>
                      </a:lnTo>
                      <a:lnTo>
                        <a:pt x="289928" y="447179"/>
                      </a:lnTo>
                      <a:lnTo>
                        <a:pt x="289928" y="270535"/>
                      </a:lnTo>
                      <a:lnTo>
                        <a:pt x="361984" y="145935"/>
                      </a:lnTo>
                      <a:lnTo>
                        <a:pt x="224040" y="145935"/>
                      </a:lnTo>
                      <a:lnTo>
                        <a:pt x="148259" y="0"/>
                      </a:lnTo>
                      <a:close/>
                    </a:path>
                    <a:path w="446379" h="447179">
                      <a:moveTo>
                        <a:pt x="446379" y="0"/>
                      </a:moveTo>
                      <a:lnTo>
                        <a:pt x="299999" y="0"/>
                      </a:lnTo>
                      <a:lnTo>
                        <a:pt x="224040" y="145935"/>
                      </a:lnTo>
                      <a:lnTo>
                        <a:pt x="361984" y="145935"/>
                      </a:lnTo>
                      <a:lnTo>
                        <a:pt x="446379" y="0"/>
                      </a:lnTo>
                      <a:close/>
                    </a:path>
                  </a:pathLst>
                </a:custGeom>
                <a:solidFill>
                  <a:schemeClr val="tx1">
                    <a:lumMod val="50000"/>
                    <a:lumOff val="50000"/>
                  </a:schemeClr>
                </a:solidFill>
              </p:spPr>
              <p:txBody>
                <a:bodyPr wrap="square" lIns="0" tIns="0" rIns="0" bIns="0" rtlCol="0">
                  <a:noAutofit/>
                </a:bodyPr>
                <a:lstStyle/>
                <a:p>
                  <a:pPr defTabSz="358765"/>
                  <a:endParaRPr sz="1412" dirty="0">
                    <a:solidFill>
                      <a:prstClr val="black"/>
                    </a:solidFill>
                  </a:endParaRPr>
                </a:p>
              </p:txBody>
            </p:sp>
          </p:grpSp>
          <p:sp>
            <p:nvSpPr>
              <p:cNvPr id="18" name="TextBox 17"/>
              <p:cNvSpPr txBox="1"/>
              <p:nvPr userDrawn="1"/>
            </p:nvSpPr>
            <p:spPr>
              <a:xfrm>
                <a:off x="672355" y="7508106"/>
                <a:ext cx="1671285" cy="504269"/>
              </a:xfrm>
              <a:prstGeom prst="rect">
                <a:avLst/>
              </a:prstGeom>
              <a:noFill/>
            </p:spPr>
            <p:txBody>
              <a:bodyPr wrap="none" rtlCol="0">
                <a:spAutoFit/>
              </a:bodyPr>
              <a:lstStyle/>
              <a:p>
                <a:pPr defTabSz="358765">
                  <a:lnSpc>
                    <a:spcPct val="80000"/>
                  </a:lnSpc>
                </a:pPr>
                <a:r>
                  <a:rPr lang="en-US" sz="942" spc="-24" dirty="0">
                    <a:solidFill>
                      <a:srgbClr val="7F7F7F"/>
                    </a:solidFill>
                    <a:latin typeface="EYInterstate Regular"/>
                    <a:cs typeface="EYInterstate Regular"/>
                  </a:rPr>
                  <a:t>Building a better</a:t>
                </a:r>
              </a:p>
              <a:p>
                <a:pPr defTabSz="358765">
                  <a:lnSpc>
                    <a:spcPct val="80000"/>
                  </a:lnSpc>
                </a:pPr>
                <a:r>
                  <a:rPr lang="en-US" sz="942" spc="-24" dirty="0">
                    <a:solidFill>
                      <a:srgbClr val="7F7F7F"/>
                    </a:solidFill>
                    <a:latin typeface="EYInterstate Regular"/>
                    <a:cs typeface="EYInterstate Regular"/>
                  </a:rPr>
                  <a:t>working world</a:t>
                </a:r>
              </a:p>
            </p:txBody>
          </p:sp>
        </p:grpSp>
        <p:sp>
          <p:nvSpPr>
            <p:cNvPr id="16" name="object 4"/>
            <p:cNvSpPr>
              <a:spLocks/>
            </p:cNvSpPr>
            <p:nvPr userDrawn="1"/>
          </p:nvSpPr>
          <p:spPr bwMode="auto">
            <a:xfrm>
              <a:off x="731998" y="7000553"/>
              <a:ext cx="1239426" cy="452555"/>
            </a:xfrm>
            <a:custGeom>
              <a:avLst/>
              <a:gdLst>
                <a:gd name="T0" fmla="*/ 1237818 w 1237818"/>
                <a:gd name="T1" fmla="*/ 0 h 451777"/>
                <a:gd name="T2" fmla="*/ 0 w 1237818"/>
                <a:gd name="T3" fmla="*/ 451777 h 451777"/>
                <a:gd name="T4" fmla="*/ 1237818 w 1237818"/>
                <a:gd name="T5" fmla="*/ 233108 h 451777"/>
                <a:gd name="T6" fmla="*/ 1237818 w 1237818"/>
                <a:gd name="T7" fmla="*/ 0 h 45177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37818" h="451777">
                  <a:moveTo>
                    <a:pt x="1237818" y="0"/>
                  </a:moveTo>
                  <a:lnTo>
                    <a:pt x="0" y="451777"/>
                  </a:lnTo>
                  <a:lnTo>
                    <a:pt x="1237818" y="233108"/>
                  </a:lnTo>
                  <a:lnTo>
                    <a:pt x="1237818" y="0"/>
                  </a:lnTo>
                  <a:close/>
                </a:path>
              </a:pathLst>
            </a:custGeom>
            <a:solidFill>
              <a:srgbClr val="FED500"/>
            </a:solidFill>
            <a:ln>
              <a:noFill/>
            </a:ln>
            <a:extLst>
              <a:ext uri="{91240B29-F687-4f45-9708-019B960494DF}">
                <a14:hiddenLine xmlns="" xmlns:a14="http://schemas.microsoft.com/office/drawing/2010/main" w="9525">
                  <a:solidFill>
                    <a:srgbClr val="000000"/>
                  </a:solidFill>
                  <a:round/>
                  <a:headEnd/>
                  <a:tailEnd/>
                </a14:hiddenLine>
              </a:ext>
            </a:extLst>
          </p:spPr>
          <p:txBody>
            <a:bodyPr lIns="0" tIns="0" rIns="0" bIns="0"/>
            <a:lstStyle/>
            <a:p>
              <a:pPr defTabSz="358765"/>
              <a:endParaRPr lang="en-US" sz="1412" dirty="0">
                <a:solidFill>
                  <a:prstClr val="black"/>
                </a:solidFill>
              </a:endParaRPr>
            </a:p>
          </p:txBody>
        </p:sp>
      </p:grpSp>
      <p:grpSp>
        <p:nvGrpSpPr>
          <p:cNvPr id="33" name="Group 32"/>
          <p:cNvGrpSpPr/>
          <p:nvPr userDrawn="1"/>
        </p:nvGrpSpPr>
        <p:grpSpPr>
          <a:xfrm>
            <a:off x="11063887" y="6566385"/>
            <a:ext cx="253155" cy="142043"/>
            <a:chOff x="13523766" y="8227524"/>
            <a:chExt cx="390353" cy="238776"/>
          </a:xfrm>
        </p:grpSpPr>
        <p:sp>
          <p:nvSpPr>
            <p:cNvPr id="34"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sp>
          <p:nvSpPr>
            <p:cNvPr id="35"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grpSp>
      <p:sp>
        <p:nvSpPr>
          <p:cNvPr id="36"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37" name="Holder 4"/>
          <p:cNvSpPr>
            <a:spLocks noGrp="1"/>
          </p:cNvSpPr>
          <p:nvPr>
            <p:ph type="ftr" sz="quarter" idx="3"/>
          </p:nvPr>
        </p:nvSpPr>
        <p:spPr>
          <a:xfrm>
            <a:off x="11357011" y="659826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375077175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6" name="object 2"/>
          <p:cNvSpPr/>
          <p:nvPr userDrawn="1"/>
        </p:nvSpPr>
        <p:spPr>
          <a:xfrm>
            <a:off x="1" y="0"/>
            <a:ext cx="3205057"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8" name="bk object 20"/>
          <p:cNvSpPr/>
          <p:nvPr userDrawn="1"/>
        </p:nvSpPr>
        <p:spPr>
          <a:xfrm>
            <a:off x="6322844" y="3345513"/>
            <a:ext cx="5706086"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dirty="0">
              <a:solidFill>
                <a:prstClr val="black"/>
              </a:solidFill>
            </a:endParaRPr>
          </a:p>
        </p:txBody>
      </p:sp>
      <p:sp>
        <p:nvSpPr>
          <p:cNvPr id="12" name="Title 2"/>
          <p:cNvSpPr>
            <a:spLocks noGrp="1"/>
          </p:cNvSpPr>
          <p:nvPr>
            <p:ph type="title"/>
          </p:nvPr>
        </p:nvSpPr>
        <p:spPr>
          <a:xfrm>
            <a:off x="552840" y="1519138"/>
            <a:ext cx="2162749" cy="3546198"/>
          </a:xfrm>
          <a:prstGeom prst="rect">
            <a:avLst/>
          </a:prstGeom>
        </p:spPr>
        <p:txBody>
          <a:bodyPr vert="horz"/>
          <a:lstStyle>
            <a:lvl1pPr>
              <a:defRPr sz="2119"/>
            </a:lvl1pPr>
          </a:lstStyle>
          <a:p>
            <a:r>
              <a:rPr lang="x-none" dirty="0"/>
              <a:t>Click to edit Master title style</a:t>
            </a:r>
            <a:endParaRPr lang="en-US" dirty="0"/>
          </a:p>
        </p:txBody>
      </p:sp>
      <p:pic>
        <p:nvPicPr>
          <p:cNvPr id="31" name="Picture 3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9592" y="6235978"/>
            <a:ext cx="2998761" cy="529509"/>
          </a:xfrm>
          <a:prstGeom prst="rect">
            <a:avLst/>
          </a:prstGeom>
        </p:spPr>
      </p:pic>
      <p:sp>
        <p:nvSpPr>
          <p:cNvPr id="33" name="object 2"/>
          <p:cNvSpPr/>
          <p:nvPr userDrawn="1"/>
        </p:nvSpPr>
        <p:spPr>
          <a:xfrm>
            <a:off x="0" y="6144044"/>
            <a:ext cx="3118353" cy="713956"/>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21" name="Holder 4"/>
          <p:cNvSpPr>
            <a:spLocks noGrp="1"/>
          </p:cNvSpPr>
          <p:nvPr>
            <p:ph type="ftr" sz="quarter" idx="3"/>
          </p:nvPr>
        </p:nvSpPr>
        <p:spPr>
          <a:xfrm>
            <a:off x="11404218"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30400611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10" name="object 2"/>
          <p:cNvSpPr/>
          <p:nvPr userDrawn="1"/>
        </p:nvSpPr>
        <p:spPr>
          <a:xfrm>
            <a:off x="28" y="-8767"/>
            <a:ext cx="12211817" cy="1303221"/>
          </a:xfrm>
          <a:custGeom>
            <a:avLst/>
            <a:gdLst/>
            <a:ahLst/>
            <a:cxnLst/>
            <a:rect l="l" t="t" r="r" b="b"/>
            <a:pathLst>
              <a:path w="2922257" h="272415">
                <a:moveTo>
                  <a:pt x="0" y="272415"/>
                </a:moveTo>
                <a:lnTo>
                  <a:pt x="2922257" y="272415"/>
                </a:lnTo>
                <a:lnTo>
                  <a:pt x="2922257" y="0"/>
                </a:lnTo>
                <a:lnTo>
                  <a:pt x="0" y="0"/>
                </a:lnTo>
                <a:lnTo>
                  <a:pt x="0" y="272415"/>
                </a:lnTo>
                <a:close/>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16" name="Holder 2"/>
          <p:cNvSpPr>
            <a:spLocks noGrp="1"/>
          </p:cNvSpPr>
          <p:nvPr>
            <p:ph type="title"/>
          </p:nvPr>
        </p:nvSpPr>
        <p:spPr>
          <a:xfrm>
            <a:off x="552847" y="551354"/>
            <a:ext cx="9143889" cy="607401"/>
          </a:xfrm>
          <a:prstGeom prst="rect">
            <a:avLst/>
          </a:prstGeom>
        </p:spPr>
        <p:txBody>
          <a:bodyPr wrap="square" lIns="0" tIns="0" rIns="0" bIns="0">
            <a:noAutofit/>
          </a:bodyPr>
          <a:lstStyle>
            <a:lvl1pPr>
              <a:defRPr/>
            </a:lvl1pPr>
          </a:lstStyle>
          <a:p>
            <a:endParaRPr dirty="0"/>
          </a:p>
        </p:txBody>
      </p:sp>
      <p:sp>
        <p:nvSpPr>
          <p:cNvPr id="5"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29940631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screen">
            <a:extLst>
              <a:ext uri="{28A0092B-C50C-407E-A947-70E740481C1C}">
                <a14:useLocalDpi xmlns:a14="http://schemas.microsoft.com/office/drawing/2010/main"/>
              </a:ext>
            </a:extLst>
          </a:blip>
          <a:srcRect l="9677" t="15505" r="19356" b="15163"/>
          <a:stretch/>
        </p:blipFill>
        <p:spPr>
          <a:xfrm>
            <a:off x="0" y="-10056"/>
            <a:ext cx="5262033" cy="6878112"/>
          </a:xfrm>
          <a:prstGeom prst="rect">
            <a:avLst/>
          </a:prstGeom>
        </p:spPr>
      </p:pic>
      <p:sp>
        <p:nvSpPr>
          <p:cNvPr id="6" name="object 2"/>
          <p:cNvSpPr/>
          <p:nvPr userDrawn="1"/>
        </p:nvSpPr>
        <p:spPr>
          <a:xfrm>
            <a:off x="0" y="0"/>
            <a:ext cx="5262033"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dirty="0">
              <a:solidFill>
                <a:prstClr val="black"/>
              </a:solidFill>
            </a:endParaRPr>
          </a:p>
        </p:txBody>
      </p:sp>
      <p:sp>
        <p:nvSpPr>
          <p:cNvPr id="12" name="Title 2"/>
          <p:cNvSpPr>
            <a:spLocks noGrp="1"/>
          </p:cNvSpPr>
          <p:nvPr>
            <p:ph type="title"/>
          </p:nvPr>
        </p:nvSpPr>
        <p:spPr>
          <a:xfrm>
            <a:off x="552841" y="551354"/>
            <a:ext cx="4350418" cy="607401"/>
          </a:xfrm>
        </p:spPr>
        <p:txBody>
          <a:bodyPr vert="horz"/>
          <a:lstStyle/>
          <a:p>
            <a:r>
              <a:rPr lang="x-none" dirty="0"/>
              <a:t>Click to edit Master title style</a:t>
            </a:r>
            <a:endParaRPr lang="en-US" dirty="0"/>
          </a:p>
        </p:txBody>
      </p:sp>
      <p:sp>
        <p:nvSpPr>
          <p:cNvPr id="7"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8474013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18" name="object 2"/>
          <p:cNvSpPr/>
          <p:nvPr userDrawn="1"/>
        </p:nvSpPr>
        <p:spPr>
          <a:xfrm>
            <a:off x="6060694" y="0"/>
            <a:ext cx="6137656"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dirty="0">
              <a:solidFill>
                <a:prstClr val="black"/>
              </a:solidFill>
            </a:endParaRPr>
          </a:p>
        </p:txBody>
      </p:sp>
      <p:sp>
        <p:nvSpPr>
          <p:cNvPr id="14" name="Holder 2"/>
          <p:cNvSpPr>
            <a:spLocks noGrp="1"/>
          </p:cNvSpPr>
          <p:nvPr>
            <p:ph type="title"/>
          </p:nvPr>
        </p:nvSpPr>
        <p:spPr>
          <a:xfrm>
            <a:off x="951495" y="3206063"/>
            <a:ext cx="3566428" cy="607401"/>
          </a:xfrm>
          <a:prstGeom prst="rect">
            <a:avLst/>
          </a:prstGeom>
        </p:spPr>
        <p:txBody>
          <a:bodyPr wrap="square" lIns="0" tIns="0" rIns="0" bIns="0">
            <a:noAutofit/>
          </a:bodyPr>
          <a:lstStyle/>
          <a:p>
            <a:endParaRPr dirty="0"/>
          </a:p>
        </p:txBody>
      </p:sp>
      <p:grpSp>
        <p:nvGrpSpPr>
          <p:cNvPr id="3" name="Group 2"/>
          <p:cNvGrpSpPr/>
          <p:nvPr userDrawn="1"/>
        </p:nvGrpSpPr>
        <p:grpSpPr>
          <a:xfrm>
            <a:off x="6869927" y="1075962"/>
            <a:ext cx="4012469" cy="4360336"/>
            <a:chOff x="9601834" y="1487883"/>
            <a:chExt cx="4392037" cy="4730215"/>
          </a:xfrm>
        </p:grpSpPr>
        <p:sp>
          <p:nvSpPr>
            <p:cNvPr id="13" name="object 3"/>
            <p:cNvSpPr txBox="1"/>
            <p:nvPr userDrawn="1"/>
          </p:nvSpPr>
          <p:spPr>
            <a:xfrm>
              <a:off x="9601834" y="1487883"/>
              <a:ext cx="3618663" cy="183498"/>
            </a:xfrm>
            <a:prstGeom prst="rect">
              <a:avLst/>
            </a:prstGeom>
          </p:spPr>
          <p:txBody>
            <a:bodyPr vert="horz" wrap="square" lIns="0" tIns="0" rIns="0" bIns="0" rtlCol="0">
              <a:spAutoFit/>
            </a:bodyPr>
            <a:lstStyle/>
            <a:p>
              <a:pPr marL="7398" defTabSz="357326"/>
              <a:r>
                <a:rPr sz="1099" spc="-20" dirty="0">
                  <a:solidFill>
                    <a:srgbClr val="7E7E7E"/>
                  </a:solidFill>
                  <a:latin typeface="EYInterstate Light"/>
                  <a:cs typeface="EYInterstate Light"/>
                </a:rPr>
                <a:t>E</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 A</a:t>
              </a:r>
              <a:r>
                <a:rPr sz="1099" spc="-16" dirty="0">
                  <a:solidFill>
                    <a:srgbClr val="7E7E7E"/>
                  </a:solidFill>
                  <a:latin typeface="EYInterstate Light"/>
                  <a:cs typeface="EYInterstate Light"/>
                </a:rPr>
                <a:t>s</a:t>
              </a:r>
              <a:r>
                <a:rPr sz="1099" spc="-6" dirty="0">
                  <a:solidFill>
                    <a:srgbClr val="7E7E7E"/>
                  </a:solidFill>
                  <a:latin typeface="EYInterstate Light"/>
                  <a:cs typeface="EYInterstate Light"/>
                </a:rPr>
                <a:t>su</a:t>
              </a:r>
              <a:r>
                <a:rPr sz="1099" spc="-28" dirty="0">
                  <a:solidFill>
                    <a:srgbClr val="7E7E7E"/>
                  </a:solidFill>
                  <a:latin typeface="EYInterstate Light"/>
                  <a:cs typeface="EYInterstate Light"/>
                </a:rPr>
                <a:t>r</a:t>
              </a:r>
              <a:r>
                <a:rPr sz="1099" spc="-6" dirty="0">
                  <a:solidFill>
                    <a:srgbClr val="7E7E7E"/>
                  </a:solidFill>
                  <a:latin typeface="EYInterstate Light"/>
                  <a:cs typeface="EYInterstate Light"/>
                </a:rPr>
                <a:t>an</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 </a:t>
              </a:r>
              <a:r>
                <a:rPr sz="1099" spc="-93" dirty="0">
                  <a:solidFill>
                    <a:srgbClr val="7E7E7E"/>
                  </a:solidFill>
                  <a:latin typeface="EYInterstate Light"/>
                  <a:cs typeface="EYInterstate Light"/>
                </a:rPr>
                <a:t>T</a:t>
              </a:r>
              <a:r>
                <a:rPr sz="1099" spc="-6" dirty="0">
                  <a:solidFill>
                    <a:srgbClr val="7E7E7E"/>
                  </a:solidFill>
                  <a:latin typeface="EYInterstate Light"/>
                  <a:cs typeface="EYInterstate Light"/>
                </a:rPr>
                <a:t>ax</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 </a:t>
              </a:r>
              <a:r>
                <a:rPr sz="1099" spc="-76" dirty="0">
                  <a:solidFill>
                    <a:srgbClr val="7E7E7E"/>
                  </a:solidFill>
                  <a:latin typeface="EYInterstate Light"/>
                  <a:cs typeface="EYInterstate Light"/>
                </a:rPr>
                <a:t>T</a:t>
              </a:r>
              <a:r>
                <a:rPr sz="1099" spc="-28" dirty="0">
                  <a:solidFill>
                    <a:srgbClr val="7E7E7E"/>
                  </a:solidFill>
                  <a:latin typeface="EYInterstate Light"/>
                  <a:cs typeface="EYInterstate Light"/>
                </a:rPr>
                <a:t>r</a:t>
              </a:r>
              <a:r>
                <a:rPr sz="1099" spc="-6" dirty="0">
                  <a:solidFill>
                    <a:srgbClr val="7E7E7E"/>
                  </a:solidFill>
                  <a:latin typeface="EYInterstate Light"/>
                  <a:cs typeface="EYInterstate Light"/>
                </a:rPr>
                <a:t>an</a:t>
              </a:r>
              <a:r>
                <a:rPr sz="1099" spc="-12" dirty="0">
                  <a:solidFill>
                    <a:srgbClr val="7E7E7E"/>
                  </a:solidFill>
                  <a:latin typeface="EYInterstate Light"/>
                  <a:cs typeface="EYInterstate Light"/>
                </a:rPr>
                <a:t>s</a:t>
              </a:r>
              <a:r>
                <a:rPr sz="1099" spc="-6" dirty="0">
                  <a:solidFill>
                    <a:srgbClr val="7E7E7E"/>
                  </a:solidFill>
                  <a:latin typeface="EYInterstate Light"/>
                  <a:cs typeface="EYInterstate Light"/>
                </a:rPr>
                <a:t>actions</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 Adv</a:t>
              </a:r>
              <a:r>
                <a:rPr sz="1099" dirty="0">
                  <a:solidFill>
                    <a:srgbClr val="7E7E7E"/>
                  </a:solidFill>
                  <a:latin typeface="EYInterstate Light"/>
                  <a:cs typeface="EYInterstate Light"/>
                </a:rPr>
                <a:t>i</a:t>
              </a:r>
              <a:r>
                <a:rPr sz="1099" spc="-16" dirty="0">
                  <a:solidFill>
                    <a:srgbClr val="7E7E7E"/>
                  </a:solidFill>
                  <a:latin typeface="EYInterstate Light"/>
                  <a:cs typeface="EYInterstate Light"/>
                </a:rPr>
                <a:t>s</a:t>
              </a:r>
              <a:r>
                <a:rPr sz="1099" spc="-6" dirty="0">
                  <a:solidFill>
                    <a:srgbClr val="7E7E7E"/>
                  </a:solidFill>
                  <a:latin typeface="EYInterstate Light"/>
                  <a:cs typeface="EYInterstate Light"/>
                </a:rPr>
                <a:t>ory</a:t>
              </a:r>
              <a:endParaRPr sz="1099" dirty="0">
                <a:solidFill>
                  <a:srgbClr val="7E7E7E"/>
                </a:solidFill>
                <a:latin typeface="EYInterstate Light"/>
                <a:cs typeface="EYInterstate Light"/>
              </a:endParaRPr>
            </a:p>
          </p:txBody>
        </p:sp>
        <p:sp>
          <p:nvSpPr>
            <p:cNvPr id="15" name="object 4"/>
            <p:cNvSpPr txBox="1"/>
            <p:nvPr userDrawn="1"/>
          </p:nvSpPr>
          <p:spPr>
            <a:xfrm>
              <a:off x="9601834" y="1846145"/>
              <a:ext cx="4339878" cy="1775641"/>
            </a:xfrm>
            <a:prstGeom prst="rect">
              <a:avLst/>
            </a:prstGeom>
          </p:spPr>
          <p:txBody>
            <a:bodyPr vert="horz" wrap="square" lIns="0" tIns="0" rIns="0" bIns="0" rtlCol="0">
              <a:spAutoFit/>
            </a:bodyPr>
            <a:lstStyle/>
            <a:p>
              <a:pPr marL="7398" defTabSz="357326"/>
              <a:r>
                <a:rPr sz="1883" spc="-4" dirty="0">
                  <a:solidFill>
                    <a:srgbClr val="7E7E7E"/>
                  </a:solidFill>
                  <a:latin typeface="EYInterstate Light"/>
                  <a:cs typeface="EYInterstate Light"/>
                </a:rPr>
                <a:t>Abou</a:t>
              </a:r>
              <a:r>
                <a:rPr sz="1883" dirty="0">
                  <a:solidFill>
                    <a:srgbClr val="7E7E7E"/>
                  </a:solidFill>
                  <a:latin typeface="EYInterstate Light"/>
                  <a:cs typeface="EYInterstate Light"/>
                </a:rPr>
                <a:t>t </a:t>
              </a:r>
              <a:r>
                <a:rPr sz="1883" spc="-28" dirty="0">
                  <a:solidFill>
                    <a:srgbClr val="7E7E7E"/>
                  </a:solidFill>
                  <a:latin typeface="EYInterstate Light"/>
                  <a:cs typeface="EYInterstate Light"/>
                </a:rPr>
                <a:t>E</a:t>
              </a:r>
              <a:r>
                <a:rPr sz="1883" spc="-6" dirty="0">
                  <a:solidFill>
                    <a:srgbClr val="7E7E7E"/>
                  </a:solidFill>
                  <a:latin typeface="EYInterstate Light"/>
                  <a:cs typeface="EYInterstate Light"/>
                </a:rPr>
                <a:t>Y</a:t>
              </a:r>
              <a:endParaRPr sz="1883" dirty="0">
                <a:solidFill>
                  <a:srgbClr val="7E7E7E"/>
                </a:solidFill>
                <a:latin typeface="EYInterstate Light"/>
                <a:cs typeface="EYInterstate Light"/>
              </a:endParaRPr>
            </a:p>
            <a:p>
              <a:pPr marL="7398" marR="2964" indent="-371" defTabSz="357326">
                <a:lnSpc>
                  <a:spcPct val="103800"/>
                </a:lnSpc>
                <a:spcBef>
                  <a:spcPts val="921"/>
                </a:spcBef>
              </a:pPr>
              <a:r>
                <a:rPr sz="1099" spc="-20" dirty="0">
                  <a:solidFill>
                    <a:srgbClr val="7E7E7E"/>
                  </a:solidFill>
                  <a:latin typeface="EYInterstate Light"/>
                  <a:cs typeface="EYInterstate Light"/>
                </a:rPr>
                <a:t>E</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is</a:t>
              </a:r>
              <a:r>
                <a:rPr sz="1099" dirty="0">
                  <a:solidFill>
                    <a:srgbClr val="7E7E7E"/>
                  </a:solidFill>
                  <a:latin typeface="EYInterstate Light"/>
                  <a:cs typeface="EYInterstate Light"/>
                </a:rPr>
                <a:t> a </a:t>
              </a:r>
              <a:r>
                <a:rPr sz="1099" spc="-6" dirty="0">
                  <a:solidFill>
                    <a:srgbClr val="7E7E7E"/>
                  </a:solidFill>
                  <a:latin typeface="EYInterstate Light"/>
                  <a:cs typeface="EYInterstate Light"/>
                </a:rPr>
                <a:t>glob</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4" dirty="0">
                  <a:solidFill>
                    <a:srgbClr val="7E7E7E"/>
                  </a:solidFill>
                  <a:latin typeface="EYInterstate Light"/>
                  <a:cs typeface="EYInterstate Light"/>
                </a:rPr>
                <a:t>l</a:t>
              </a:r>
              <a:r>
                <a:rPr sz="1099" spc="-6" dirty="0">
                  <a:solidFill>
                    <a:srgbClr val="7E7E7E"/>
                  </a:solidFill>
                  <a:latin typeface="EYInterstate Light"/>
                  <a:cs typeface="EYInterstate Light"/>
                </a:rPr>
                <a:t>e</a:t>
              </a:r>
              <a:r>
                <a:rPr sz="1099" spc="-4" dirty="0">
                  <a:solidFill>
                    <a:srgbClr val="7E7E7E"/>
                  </a:solidFill>
                  <a:latin typeface="EYInterstate Light"/>
                  <a:cs typeface="EYInterstate Light"/>
                </a:rPr>
                <a:t>ade</a:t>
              </a:r>
              <a:r>
                <a:rPr sz="1099" dirty="0">
                  <a:solidFill>
                    <a:srgbClr val="7E7E7E"/>
                  </a:solidFill>
                  <a:latin typeface="EYInterstate Light"/>
                  <a:cs typeface="EYInterstate Light"/>
                </a:rPr>
                <a:t>r </a:t>
              </a:r>
              <a:r>
                <a:rPr sz="1099" spc="-6" dirty="0">
                  <a:solidFill>
                    <a:srgbClr val="7E7E7E"/>
                  </a:solidFill>
                  <a:latin typeface="EYInterstate Light"/>
                  <a:cs typeface="EYInterstate Light"/>
                </a:rPr>
                <a:t>in</a:t>
              </a:r>
              <a:r>
                <a:rPr sz="1099" dirty="0">
                  <a:solidFill>
                    <a:srgbClr val="7E7E7E"/>
                  </a:solidFill>
                  <a:latin typeface="EYInterstate Light"/>
                  <a:cs typeface="EYInterstate Light"/>
                </a:rPr>
                <a:t> a</a:t>
              </a:r>
              <a:r>
                <a:rPr sz="1099" spc="-16" dirty="0">
                  <a:solidFill>
                    <a:srgbClr val="7E7E7E"/>
                  </a:solidFill>
                  <a:latin typeface="EYInterstate Light"/>
                  <a:cs typeface="EYInterstate Light"/>
                </a:rPr>
                <a:t>s</a:t>
              </a:r>
              <a:r>
                <a:rPr sz="1099" spc="-6" dirty="0">
                  <a:solidFill>
                    <a:srgbClr val="7E7E7E"/>
                  </a:solidFill>
                  <a:latin typeface="EYInterstate Light"/>
                  <a:cs typeface="EYInterstate Light"/>
                </a:rPr>
                <a:t>su</a:t>
              </a:r>
              <a:r>
                <a:rPr sz="1099" spc="-28" dirty="0">
                  <a:solidFill>
                    <a:srgbClr val="7E7E7E"/>
                  </a:solidFill>
                  <a:latin typeface="EYInterstate Light"/>
                  <a:cs typeface="EYInterstate Light"/>
                </a:rPr>
                <a:t>r</a:t>
              </a:r>
              <a:r>
                <a:rPr sz="1099" spc="-6" dirty="0">
                  <a:solidFill>
                    <a:srgbClr val="7E7E7E"/>
                  </a:solidFill>
                  <a:latin typeface="EYInterstate Light"/>
                  <a:cs typeface="EYInterstate Light"/>
                </a:rPr>
                <a:t>an</a:t>
              </a:r>
              <a:r>
                <a:rPr sz="1099" spc="-16" dirty="0">
                  <a:solidFill>
                    <a:srgbClr val="7E7E7E"/>
                  </a:solidFill>
                  <a:latin typeface="EYInterstate Light"/>
                  <a:cs typeface="EYInterstate Light"/>
                </a:rPr>
                <a:t>c</a:t>
              </a:r>
              <a:r>
                <a:rPr sz="1099" spc="-20" dirty="0">
                  <a:solidFill>
                    <a:srgbClr val="7E7E7E"/>
                  </a:solidFill>
                  <a:latin typeface="EYInterstate Light"/>
                  <a:cs typeface="EYInterstate Light"/>
                </a:rPr>
                <a:t>e</a:t>
              </a:r>
              <a:r>
                <a:rPr sz="1099" dirty="0">
                  <a:solidFill>
                    <a:srgbClr val="7E7E7E"/>
                  </a:solidFill>
                  <a:latin typeface="EYInterstate Light"/>
                  <a:cs typeface="EYInterstate Light"/>
                </a:rPr>
                <a:t>, </a:t>
              </a:r>
              <a:r>
                <a:rPr sz="1099" spc="-16" dirty="0">
                  <a:solidFill>
                    <a:srgbClr val="7E7E7E"/>
                  </a:solidFill>
                  <a:latin typeface="EYInterstate Light"/>
                  <a:cs typeface="EYInterstate Light"/>
                </a:rPr>
                <a:t>t</a:t>
              </a:r>
              <a:r>
                <a:rPr sz="1099" spc="-4" dirty="0">
                  <a:solidFill>
                    <a:srgbClr val="7E7E7E"/>
                  </a:solidFill>
                  <a:latin typeface="EYInterstate Light"/>
                  <a:cs typeface="EYInterstate Light"/>
                </a:rPr>
                <a:t>ax</a:t>
              </a:r>
              <a:r>
                <a:rPr sz="1099" dirty="0">
                  <a:solidFill>
                    <a:srgbClr val="7E7E7E"/>
                  </a:solidFill>
                  <a:latin typeface="EYInterstate Light"/>
                  <a:cs typeface="EYInterstate Light"/>
                </a:rPr>
                <a:t>, t</a:t>
              </a:r>
              <a:r>
                <a:rPr sz="1099" spc="-28" dirty="0">
                  <a:solidFill>
                    <a:srgbClr val="7E7E7E"/>
                  </a:solidFill>
                  <a:latin typeface="EYInterstate Light"/>
                  <a:cs typeface="EYInterstate Light"/>
                </a:rPr>
                <a:t>r</a:t>
              </a:r>
              <a:r>
                <a:rPr sz="1099" spc="-6" dirty="0">
                  <a:solidFill>
                    <a:srgbClr val="7E7E7E"/>
                  </a:solidFill>
                  <a:latin typeface="EYInterstate Light"/>
                  <a:cs typeface="EYInterstate Light"/>
                </a:rPr>
                <a:t>an</a:t>
              </a:r>
              <a:r>
                <a:rPr sz="1099" spc="-12" dirty="0">
                  <a:solidFill>
                    <a:srgbClr val="7E7E7E"/>
                  </a:solidFill>
                  <a:latin typeface="EYInterstate Light"/>
                  <a:cs typeface="EYInterstate Light"/>
                </a:rPr>
                <a:t>s</a:t>
              </a:r>
              <a:r>
                <a:rPr sz="1099" spc="-6" dirty="0">
                  <a:solidFill>
                    <a:srgbClr val="7E7E7E"/>
                  </a:solidFill>
                  <a:latin typeface="EYInterstate Light"/>
                  <a:cs typeface="EYInterstate Light"/>
                </a:rPr>
                <a:t>action</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and </a:t>
              </a:r>
              <a:r>
                <a:rPr sz="1099" dirty="0">
                  <a:solidFill>
                    <a:srgbClr val="7E7E7E"/>
                  </a:solidFill>
                  <a:latin typeface="EYInterstate Light"/>
                  <a:cs typeface="EYInterstate Light"/>
                </a:rPr>
                <a:t>advi</a:t>
              </a:r>
              <a:r>
                <a:rPr sz="1099" spc="-16" dirty="0">
                  <a:solidFill>
                    <a:srgbClr val="7E7E7E"/>
                  </a:solidFill>
                  <a:latin typeface="EYInterstate Light"/>
                  <a:cs typeface="EYInterstate Light"/>
                </a:rPr>
                <a:t>s</a:t>
              </a:r>
              <a:r>
                <a:rPr sz="1099" spc="-6" dirty="0">
                  <a:solidFill>
                    <a:srgbClr val="7E7E7E"/>
                  </a:solidFill>
                  <a:latin typeface="EYInterstate Light"/>
                  <a:cs typeface="EYInterstate Light"/>
                </a:rPr>
                <a:t>ory</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rv</a:t>
              </a:r>
              <a:r>
                <a:rPr sz="1099" spc="-4" dirty="0">
                  <a:solidFill>
                    <a:srgbClr val="7E7E7E"/>
                  </a:solidFill>
                  <a:latin typeface="EYInterstate Light"/>
                  <a:cs typeface="EYInterstate Light"/>
                </a:rPr>
                <a:t>i</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e</a:t>
              </a:r>
              <a:r>
                <a:rPr sz="1099" spc="-19" dirty="0">
                  <a:solidFill>
                    <a:srgbClr val="7E7E7E"/>
                  </a:solidFill>
                  <a:latin typeface="EYInterstate Light"/>
                  <a:cs typeface="EYInterstate Light"/>
                </a:rPr>
                <a:t>s</a:t>
              </a:r>
              <a:r>
                <a:rPr sz="1099"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he</a:t>
              </a:r>
              <a:r>
                <a:rPr sz="1099" spc="-4" dirty="0">
                  <a:solidFill>
                    <a:srgbClr val="7E7E7E"/>
                  </a:solidFill>
                  <a:latin typeface="EYInterstate Light"/>
                  <a:cs typeface="EYInterstate Light"/>
                </a:rPr>
                <a:t> </a:t>
              </a:r>
              <a:r>
                <a:rPr sz="1099" spc="-6" dirty="0">
                  <a:solidFill>
                    <a:srgbClr val="7E7E7E"/>
                  </a:solidFill>
                  <a:latin typeface="EYInterstate Light"/>
                  <a:cs typeface="EYInterstate Light"/>
                </a:rPr>
                <a:t>insig</a:t>
              </a:r>
              <a:r>
                <a:rPr sz="1099" spc="-12" dirty="0">
                  <a:solidFill>
                    <a:srgbClr val="7E7E7E"/>
                  </a:solidFill>
                  <a:latin typeface="EYInterstate Light"/>
                  <a:cs typeface="EYInterstate Light"/>
                </a:rPr>
                <a:t>h</a:t>
              </a:r>
              <a:r>
                <a:rPr sz="1099" spc="-6" dirty="0">
                  <a:solidFill>
                    <a:srgbClr val="7E7E7E"/>
                  </a:solidFill>
                  <a:latin typeface="EYInterstate Light"/>
                  <a:cs typeface="EYInterstate Light"/>
                </a:rPr>
                <a:t>t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and</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quali</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rv</a:t>
              </a:r>
              <a:r>
                <a:rPr sz="1099" spc="-4" dirty="0">
                  <a:solidFill>
                    <a:srgbClr val="7E7E7E"/>
                  </a:solidFill>
                  <a:latin typeface="EYInterstate Light"/>
                  <a:cs typeface="EYInterstate Light"/>
                </a:rPr>
                <a:t>i</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es</a:t>
              </a:r>
              <a:r>
                <a:rPr sz="1099" dirty="0">
                  <a:solidFill>
                    <a:srgbClr val="7E7E7E"/>
                  </a:solidFill>
                  <a:latin typeface="EYInterstate Light"/>
                  <a:cs typeface="EYInterstate Light"/>
                </a:rPr>
                <a:t> </a:t>
              </a:r>
              <a:r>
                <a:rPr sz="1099" spc="-25" dirty="0">
                  <a:solidFill>
                    <a:srgbClr val="7E7E7E"/>
                  </a:solidFill>
                  <a:latin typeface="EYInterstate Light"/>
                  <a:cs typeface="EYInterstate Light"/>
                </a:rPr>
                <a:t>w</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del</a:t>
              </a:r>
              <a:r>
                <a:rPr sz="1099" dirty="0">
                  <a:solidFill>
                    <a:srgbClr val="7E7E7E"/>
                  </a:solidFill>
                  <a:latin typeface="EYInterstate Light"/>
                  <a:cs typeface="EYInterstate Light"/>
                </a:rPr>
                <a:t>i</a:t>
              </a:r>
              <a:r>
                <a:rPr sz="1099" spc="-23" dirty="0">
                  <a:solidFill>
                    <a:srgbClr val="7E7E7E"/>
                  </a:solidFill>
                  <a:latin typeface="EYInterstate Light"/>
                  <a:cs typeface="EYInterstate Light"/>
                </a:rPr>
                <a:t>v</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r</a:t>
              </a:r>
              <a:r>
                <a:rPr sz="1099" spc="-4" dirty="0">
                  <a:solidFill>
                    <a:srgbClr val="7E7E7E"/>
                  </a:solidFill>
                  <a:latin typeface="EYInterstate Light"/>
                  <a:cs typeface="EYInterstate Light"/>
                </a:rPr>
                <a:t> </a:t>
              </a:r>
              <a:r>
                <a:rPr sz="1099" spc="-6" dirty="0">
                  <a:solidFill>
                    <a:srgbClr val="7E7E7E"/>
                  </a:solidFill>
                  <a:latin typeface="EYInterstate Light"/>
                  <a:cs typeface="EYInterstate Light"/>
                </a:rPr>
                <a:t>help</a:t>
              </a:r>
              <a:r>
                <a:rPr sz="1099" spc="-4" dirty="0">
                  <a:solidFill>
                    <a:srgbClr val="7E7E7E"/>
                  </a:solidFill>
                  <a:latin typeface="EYInterstate Light"/>
                  <a:cs typeface="EYInterstate Light"/>
                </a:rPr>
                <a:t> buil</a:t>
              </a:r>
              <a:r>
                <a:rPr sz="1099" dirty="0">
                  <a:solidFill>
                    <a:srgbClr val="7E7E7E"/>
                  </a:solidFill>
                  <a:latin typeface="EYInterstate Light"/>
                  <a:cs typeface="EYInterstate Light"/>
                </a:rPr>
                <a:t>d tru</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t>
              </a:r>
              <a:r>
                <a:rPr sz="1099" spc="-6" dirty="0">
                  <a:solidFill>
                    <a:srgbClr val="7E7E7E"/>
                  </a:solidFill>
                  <a:latin typeface="EYInterstate Light"/>
                  <a:cs typeface="EYInterstate Light"/>
                </a:rPr>
                <a:t>and</a:t>
              </a:r>
              <a:r>
                <a:rPr sz="1099" dirty="0">
                  <a:solidFill>
                    <a:srgbClr val="7E7E7E"/>
                  </a:solidFill>
                  <a:latin typeface="EYInterstate Light"/>
                  <a:cs typeface="EYInterstate Light"/>
                </a:rPr>
                <a:t> </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o</a:t>
              </a:r>
              <a:r>
                <a:rPr sz="1099" spc="-20" dirty="0">
                  <a:solidFill>
                    <a:srgbClr val="7E7E7E"/>
                  </a:solidFill>
                  <a:latin typeface="EYInterstate Light"/>
                  <a:cs typeface="EYInterstate Light"/>
                </a:rPr>
                <a:t>n</a:t>
              </a:r>
              <a:r>
                <a:rPr sz="1099" dirty="0">
                  <a:solidFill>
                    <a:srgbClr val="7E7E7E"/>
                  </a:solidFill>
                  <a:latin typeface="EYInterstate Light"/>
                  <a:cs typeface="EYInterstate Light"/>
                </a:rPr>
                <a:t>ﬁden</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e </a:t>
              </a:r>
              <a:r>
                <a:rPr sz="1099" spc="-6" dirty="0">
                  <a:solidFill>
                    <a:srgbClr val="7E7E7E"/>
                  </a:solidFill>
                  <a:latin typeface="EYInterstate Light"/>
                  <a:cs typeface="EYInterstate Light"/>
                </a:rPr>
                <a:t>in</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th</a:t>
              </a:r>
              <a:r>
                <a:rPr sz="1099" dirty="0">
                  <a:solidFill>
                    <a:srgbClr val="7E7E7E"/>
                  </a:solidFill>
                  <a:latin typeface="EYInterstate Light"/>
                  <a:cs typeface="EYInterstate Light"/>
                </a:rPr>
                <a:t>e</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api</a:t>
              </a:r>
              <a:r>
                <a:rPr sz="1099" spc="-16" dirty="0">
                  <a:solidFill>
                    <a:srgbClr val="7E7E7E"/>
                  </a:solidFill>
                  <a:latin typeface="EYInterstate Light"/>
                  <a:cs typeface="EYInterstate Light"/>
                </a:rPr>
                <a:t>t</a:t>
              </a:r>
              <a:r>
                <a:rPr sz="1099" spc="-4" dirty="0">
                  <a:solidFill>
                    <a:srgbClr val="7E7E7E"/>
                  </a:solidFill>
                  <a:latin typeface="EYInterstate Light"/>
                  <a:cs typeface="EYInterstate Light"/>
                </a:rPr>
                <a:t>al mar</a:t>
              </a:r>
              <a:r>
                <a:rPr sz="1099" spc="-25" dirty="0">
                  <a:solidFill>
                    <a:srgbClr val="7E7E7E"/>
                  </a:solidFill>
                  <a:latin typeface="EYInterstate Light"/>
                  <a:cs typeface="EYInterstate Light"/>
                </a:rPr>
                <a:t>k</a:t>
              </a:r>
              <a:r>
                <a:rPr sz="1099" spc="-6" dirty="0">
                  <a:solidFill>
                    <a:srgbClr val="7E7E7E"/>
                  </a:solidFill>
                  <a:latin typeface="EYInterstate Light"/>
                  <a:cs typeface="EYInterstate Light"/>
                </a:rPr>
                <a:t>et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and</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in</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e</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onomies</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th</a:t>
              </a:r>
              <a:r>
                <a:rPr sz="1099" dirty="0">
                  <a:solidFill>
                    <a:srgbClr val="7E7E7E"/>
                  </a:solidFill>
                  <a:latin typeface="EYInterstate Light"/>
                  <a:cs typeface="EYInterstate Light"/>
                </a:rPr>
                <a:t>e</a:t>
              </a:r>
              <a:r>
                <a:rPr sz="1099" spc="-4" dirty="0">
                  <a:solidFill>
                    <a:srgbClr val="7E7E7E"/>
                  </a:solidFill>
                  <a:latin typeface="EYInterstate Light"/>
                  <a:cs typeface="EYInterstate Light"/>
                </a:rPr>
                <a:t> </a:t>
              </a:r>
              <a:r>
                <a:rPr sz="1099" spc="-25" dirty="0">
                  <a:solidFill>
                    <a:srgbClr val="7E7E7E"/>
                  </a:solidFill>
                  <a:latin typeface="EYInterstate Light"/>
                  <a:cs typeface="EYInterstate Light"/>
                </a:rPr>
                <a:t>w</a:t>
              </a:r>
              <a:r>
                <a:rPr sz="1099" dirty="0">
                  <a:solidFill>
                    <a:srgbClr val="7E7E7E"/>
                  </a:solidFill>
                  <a:latin typeface="EYInterstate Light"/>
                  <a:cs typeface="EYInterstate Light"/>
                </a:rPr>
                <a:t>orld</a:t>
              </a:r>
              <a:r>
                <a:rPr sz="1099" spc="-4" dirty="0">
                  <a:solidFill>
                    <a:srgbClr val="7E7E7E"/>
                  </a:solidFill>
                  <a:latin typeface="EYInterstate Light"/>
                  <a:cs typeface="EYInterstate Light"/>
                </a:rPr>
                <a:t> </a:t>
              </a:r>
              <a:r>
                <a:rPr sz="1099" spc="-20" dirty="0">
                  <a:solidFill>
                    <a:srgbClr val="7E7E7E"/>
                  </a:solidFill>
                  <a:latin typeface="EYInterstate Light"/>
                  <a:cs typeface="EYInterstate Light"/>
                </a:rPr>
                <a:t>o</a:t>
              </a:r>
              <a:r>
                <a:rPr sz="1099" spc="-23" dirty="0">
                  <a:solidFill>
                    <a:srgbClr val="7E7E7E"/>
                  </a:solidFill>
                  <a:latin typeface="EYInterstate Light"/>
                  <a:cs typeface="EYInterstate Light"/>
                </a:rPr>
                <a:t>v</a:t>
              </a:r>
              <a:r>
                <a:rPr sz="1099" dirty="0">
                  <a:solidFill>
                    <a:srgbClr val="7E7E7E"/>
                  </a:solidFill>
                  <a:latin typeface="EYInterstate Light"/>
                  <a:cs typeface="EYInterstate Light"/>
                </a:rPr>
                <a:t>e</a:t>
              </a:r>
              <a:r>
                <a:rPr sz="1099" spc="-107" dirty="0">
                  <a:solidFill>
                    <a:srgbClr val="7E7E7E"/>
                  </a:solidFill>
                  <a:latin typeface="EYInterstate Light"/>
                  <a:cs typeface="EYInterstate Light"/>
                </a:rPr>
                <a:t>r</a:t>
              </a:r>
              <a:r>
                <a:rPr sz="1099" dirty="0">
                  <a:solidFill>
                    <a:srgbClr val="7E7E7E"/>
                  </a:solidFill>
                  <a:latin typeface="EYInterstate Light"/>
                  <a:cs typeface="EYInterstate Light"/>
                </a:rPr>
                <a:t>. </a:t>
              </a:r>
              <a:r>
                <a:rPr sz="1099" spc="-40" dirty="0">
                  <a:solidFill>
                    <a:srgbClr val="7E7E7E"/>
                  </a:solidFill>
                  <a:latin typeface="EYInterstate Light"/>
                  <a:cs typeface="EYInterstate Light"/>
                </a:rPr>
                <a:t>W</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d</a:t>
              </a:r>
              <a:r>
                <a:rPr sz="1099" spc="-19" dirty="0">
                  <a:solidFill>
                    <a:srgbClr val="7E7E7E"/>
                  </a:solidFill>
                  <a:latin typeface="EYInterstate Light"/>
                  <a:cs typeface="EYInterstate Light"/>
                </a:rPr>
                <a:t>e</a:t>
              </a:r>
              <a:r>
                <a:rPr sz="1099" spc="-23" dirty="0">
                  <a:solidFill>
                    <a:srgbClr val="7E7E7E"/>
                  </a:solidFill>
                  <a:latin typeface="EYInterstate Light"/>
                  <a:cs typeface="EYInterstate Light"/>
                </a:rPr>
                <a:t>v</a:t>
              </a:r>
              <a:r>
                <a:rPr sz="1099" spc="-4" dirty="0">
                  <a:solidFill>
                    <a:srgbClr val="7E7E7E"/>
                  </a:solidFill>
                  <a:latin typeface="EYInterstate Light"/>
                  <a:cs typeface="EYInterstate Light"/>
                </a:rPr>
                <a:t>elop </a:t>
              </a:r>
              <a:r>
                <a:rPr sz="1099" spc="-6" dirty="0">
                  <a:solidFill>
                    <a:srgbClr val="7E7E7E"/>
                  </a:solidFill>
                  <a:latin typeface="EYInterstate Light"/>
                  <a:cs typeface="EYInterstate Light"/>
                </a:rPr>
                <a:t>out</a:t>
              </a:r>
              <a:r>
                <a:rPr sz="1099" spc="-16" dirty="0">
                  <a:solidFill>
                    <a:srgbClr val="7E7E7E"/>
                  </a:solidFill>
                  <a:latin typeface="EYInterstate Light"/>
                  <a:cs typeface="EYInterstate Light"/>
                </a:rPr>
                <a:t>st</a:t>
              </a:r>
              <a:r>
                <a:rPr sz="1099" spc="-6" dirty="0">
                  <a:solidFill>
                    <a:srgbClr val="7E7E7E"/>
                  </a:solidFill>
                  <a:latin typeface="EYInterstate Light"/>
                  <a:cs typeface="EYInterstate Light"/>
                </a:rPr>
                <a:t>anding</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l</a:t>
              </a:r>
              <a:r>
                <a:rPr sz="1099" spc="-6" dirty="0">
                  <a:solidFill>
                    <a:srgbClr val="7E7E7E"/>
                  </a:solidFill>
                  <a:latin typeface="EYInterstate Light"/>
                  <a:cs typeface="EYInterstate Light"/>
                </a:rPr>
                <a:t>e</a:t>
              </a:r>
              <a:r>
                <a:rPr sz="1099" dirty="0">
                  <a:solidFill>
                    <a:srgbClr val="7E7E7E"/>
                  </a:solidFill>
                  <a:latin typeface="EYInterstate Light"/>
                  <a:cs typeface="EYInterstate Light"/>
                </a:rPr>
                <a:t>ade</a:t>
              </a:r>
              <a:r>
                <a:rPr sz="1099" spc="-19" dirty="0">
                  <a:solidFill>
                    <a:srgbClr val="7E7E7E"/>
                  </a:solidFill>
                  <a:latin typeface="EYInterstate Light"/>
                  <a:cs typeface="EYInterstate Light"/>
                </a:rPr>
                <a:t>r</a:t>
              </a:r>
              <a:r>
                <a:rPr sz="1099" spc="-6" dirty="0">
                  <a:solidFill>
                    <a:srgbClr val="7E7E7E"/>
                  </a:solidFill>
                  <a:latin typeface="EYInterstate Light"/>
                  <a:cs typeface="EYInterstate Light"/>
                </a:rPr>
                <a:t>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who</a:t>
              </a:r>
              <a:r>
                <a:rPr sz="1099" spc="-4"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e</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m</a:t>
              </a:r>
              <a:r>
                <a:rPr sz="1099" spc="-4"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o</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del</a:t>
              </a:r>
              <a:r>
                <a:rPr sz="1099" dirty="0">
                  <a:solidFill>
                    <a:srgbClr val="7E7E7E"/>
                  </a:solidFill>
                  <a:latin typeface="EYInterstate Light"/>
                  <a:cs typeface="EYInterstate Light"/>
                </a:rPr>
                <a:t>i</a:t>
              </a:r>
              <a:r>
                <a:rPr sz="1099" spc="-23" dirty="0">
                  <a:solidFill>
                    <a:srgbClr val="7E7E7E"/>
                  </a:solidFill>
                  <a:latin typeface="EYInterstate Light"/>
                  <a:cs typeface="EYInterstate Light"/>
                </a:rPr>
                <a:t>v</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r</a:t>
              </a:r>
              <a:r>
                <a:rPr sz="1099" spc="-4" dirty="0">
                  <a:solidFill>
                    <a:srgbClr val="7E7E7E"/>
                  </a:solidFill>
                  <a:latin typeface="EYInterstate Light"/>
                  <a:cs typeface="EYInterstate Light"/>
                </a:rPr>
                <a:t> </a:t>
              </a:r>
              <a:r>
                <a:rPr sz="1099" spc="-6" dirty="0">
                  <a:solidFill>
                    <a:srgbClr val="7E7E7E"/>
                  </a:solidFill>
                  <a:latin typeface="EYInterstate Light"/>
                  <a:cs typeface="EYInterstate Light"/>
                </a:rPr>
                <a:t>on</a:t>
              </a:r>
              <a:r>
                <a:rPr sz="1099" dirty="0">
                  <a:solidFill>
                    <a:srgbClr val="7E7E7E"/>
                  </a:solidFill>
                  <a:latin typeface="EYInterstate Light"/>
                  <a:cs typeface="EYInterstate Light"/>
                </a:rPr>
                <a:t> our </a:t>
              </a:r>
              <a:r>
                <a:rPr sz="1099" spc="-4" dirty="0">
                  <a:solidFill>
                    <a:srgbClr val="7E7E7E"/>
                  </a:solidFill>
                  <a:latin typeface="EYInterstate Light"/>
                  <a:cs typeface="EYInterstate Light"/>
                </a:rPr>
                <a:t>p</a:t>
              </a:r>
              <a:r>
                <a:rPr sz="1099" spc="-20" dirty="0">
                  <a:solidFill>
                    <a:srgbClr val="7E7E7E"/>
                  </a:solidFill>
                  <a:latin typeface="EYInterstate Light"/>
                  <a:cs typeface="EYInterstate Light"/>
                </a:rPr>
                <a:t>r</a:t>
              </a:r>
              <a:r>
                <a:rPr sz="1099" dirty="0">
                  <a:solidFill>
                    <a:srgbClr val="7E7E7E"/>
                  </a:solidFill>
                  <a:latin typeface="EYInterstate Light"/>
                  <a:cs typeface="EYInterstate Light"/>
                </a:rPr>
                <a:t>om</a:t>
              </a:r>
              <a:r>
                <a:rPr sz="1099" spc="-4" dirty="0">
                  <a:solidFill>
                    <a:srgbClr val="7E7E7E"/>
                  </a:solidFill>
                  <a:latin typeface="EYInterstate Light"/>
                  <a:cs typeface="EYInterstate Light"/>
                </a:rPr>
                <a:t>i</a:t>
              </a:r>
              <a:r>
                <a:rPr sz="1099" spc="-16" dirty="0">
                  <a:solidFill>
                    <a:srgbClr val="7E7E7E"/>
                  </a:solidFill>
                  <a:latin typeface="EYInterstate Light"/>
                  <a:cs typeface="EYInterstate Light"/>
                </a:rPr>
                <a:t>se</a:t>
              </a:r>
              <a:r>
                <a:rPr sz="1099" spc="-6" dirty="0">
                  <a:solidFill>
                    <a:srgbClr val="7E7E7E"/>
                  </a:solidFill>
                  <a:latin typeface="EYInterstate Light"/>
                  <a:cs typeface="EYInterstate Light"/>
                </a:rPr>
                <a:t>s</a:t>
              </a:r>
              <a:r>
                <a:rPr sz="1099"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o</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al</a:t>
              </a:r>
              <a:r>
                <a:rPr sz="1099" dirty="0">
                  <a:solidFill>
                    <a:srgbClr val="7E7E7E"/>
                  </a:solidFill>
                  <a:latin typeface="EYInterstate Light"/>
                  <a:cs typeface="EYInterstate Light"/>
                </a:rPr>
                <a:t>l</a:t>
              </a:r>
              <a:r>
                <a:rPr sz="1099" spc="-4" dirty="0">
                  <a:solidFill>
                    <a:srgbClr val="7E7E7E"/>
                  </a:solidFill>
                  <a:latin typeface="EYInterstate Light"/>
                  <a:cs typeface="EYInterstate Light"/>
                </a:rPr>
                <a:t> </a:t>
              </a:r>
              <a:r>
                <a:rPr sz="1099" spc="-20" dirty="0">
                  <a:solidFill>
                    <a:srgbClr val="7E7E7E"/>
                  </a:solidFill>
                  <a:latin typeface="EYInterstate Light"/>
                  <a:cs typeface="EYInterstate Light"/>
                </a:rPr>
                <a:t>o</a:t>
              </a:r>
              <a:r>
                <a:rPr sz="1099" spc="-4" dirty="0">
                  <a:solidFill>
                    <a:srgbClr val="7E7E7E"/>
                  </a:solidFill>
                  <a:latin typeface="EYInterstate Light"/>
                  <a:cs typeface="EYInterstate Light"/>
                </a:rPr>
                <a:t>f</a:t>
              </a:r>
              <a:r>
                <a:rPr sz="1099" dirty="0">
                  <a:solidFill>
                    <a:srgbClr val="7E7E7E"/>
                  </a:solidFill>
                  <a:latin typeface="EYInterstate Light"/>
                  <a:cs typeface="EYInterstate Light"/>
                </a:rPr>
                <a:t> our</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st</a:t>
              </a:r>
              <a:r>
                <a:rPr sz="1099" dirty="0">
                  <a:solidFill>
                    <a:srgbClr val="7E7E7E"/>
                  </a:solidFill>
                  <a:latin typeface="EYInterstate Light"/>
                  <a:cs typeface="EYInterstate Light"/>
                </a:rPr>
                <a:t>a</a:t>
              </a:r>
              <a:r>
                <a:rPr sz="1099" spc="-25" dirty="0">
                  <a:solidFill>
                    <a:srgbClr val="7E7E7E"/>
                  </a:solidFill>
                  <a:latin typeface="EYInterstate Light"/>
                  <a:cs typeface="EYInterstate Light"/>
                </a:rPr>
                <a:t>k</a:t>
              </a:r>
              <a:r>
                <a:rPr sz="1099" spc="-6" dirty="0">
                  <a:solidFill>
                    <a:srgbClr val="7E7E7E"/>
                  </a:solidFill>
                  <a:latin typeface="EYInterstate Light"/>
                  <a:cs typeface="EYInterstate Light"/>
                </a:rPr>
                <a:t>eholde</a:t>
              </a:r>
              <a:r>
                <a:rPr sz="1099" spc="-19" dirty="0">
                  <a:solidFill>
                    <a:srgbClr val="7E7E7E"/>
                  </a:solidFill>
                  <a:latin typeface="EYInterstate Light"/>
                  <a:cs typeface="EYInterstate Light"/>
                </a:rPr>
                <a:t>r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In</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s</a:t>
              </a:r>
              <a:r>
                <a:rPr sz="1099" spc="-6" dirty="0">
                  <a:solidFill>
                    <a:srgbClr val="7E7E7E"/>
                  </a:solidFill>
                  <a:latin typeface="EYInterstate Light"/>
                  <a:cs typeface="EYInterstate Light"/>
                </a:rPr>
                <a:t>o</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doing</a:t>
              </a:r>
              <a:r>
                <a:rPr sz="1099" spc="-4" dirty="0">
                  <a:solidFill>
                    <a:srgbClr val="7E7E7E"/>
                  </a:solidFill>
                  <a:latin typeface="EYInterstate Light"/>
                  <a:cs typeface="EYInterstate Light"/>
                </a:rPr>
                <a:t>, </a:t>
              </a:r>
              <a:r>
                <a:rPr sz="1099" spc="-25" dirty="0">
                  <a:solidFill>
                    <a:srgbClr val="7E7E7E"/>
                  </a:solidFill>
                  <a:latin typeface="EYInterstate Light"/>
                  <a:cs typeface="EYInterstate Light"/>
                </a:rPr>
                <a:t>w</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p</a:t>
              </a:r>
              <a:r>
                <a:rPr sz="1099" dirty="0">
                  <a:solidFill>
                    <a:srgbClr val="7E7E7E"/>
                  </a:solidFill>
                  <a:latin typeface="EYInterstate Light"/>
                  <a:cs typeface="EYInterstate Light"/>
                </a:rPr>
                <a:t>l</a:t>
              </a:r>
              <a:r>
                <a:rPr sz="1099" spc="-16" dirty="0">
                  <a:solidFill>
                    <a:srgbClr val="7E7E7E"/>
                  </a:solidFill>
                  <a:latin typeface="EYInterstate Light"/>
                  <a:cs typeface="EYInterstate Light"/>
                </a:rPr>
                <a:t>a</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 </a:t>
              </a:r>
              <a:r>
                <a:rPr sz="1099" spc="-4" dirty="0">
                  <a:solidFill>
                    <a:srgbClr val="7E7E7E"/>
                  </a:solidFill>
                  <a:latin typeface="EYInterstate Light"/>
                  <a:cs typeface="EYInterstate Light"/>
                </a:rPr>
                <a:t>crit</a:t>
              </a:r>
              <a:r>
                <a:rPr sz="1099" dirty="0">
                  <a:solidFill>
                    <a:srgbClr val="7E7E7E"/>
                  </a:solidFill>
                  <a:latin typeface="EYInterstate Light"/>
                  <a:cs typeface="EYInterstate Light"/>
                </a:rPr>
                <a:t>i</a:t>
              </a:r>
              <a:r>
                <a:rPr sz="1099" spc="-16" dirty="0">
                  <a:solidFill>
                    <a:srgbClr val="7E7E7E"/>
                  </a:solidFill>
                  <a:latin typeface="EYInterstate Light"/>
                  <a:cs typeface="EYInterstate Light"/>
                </a:rPr>
                <a:t>c</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20" dirty="0">
                  <a:solidFill>
                    <a:srgbClr val="7E7E7E"/>
                  </a:solidFill>
                  <a:latin typeface="EYInterstate Light"/>
                  <a:cs typeface="EYInterstate Light"/>
                </a:rPr>
                <a:t>r</a:t>
              </a:r>
              <a:r>
                <a:rPr sz="1099" spc="-6" dirty="0">
                  <a:solidFill>
                    <a:srgbClr val="7E7E7E"/>
                  </a:solidFill>
                  <a:latin typeface="EYInterstate Light"/>
                  <a:cs typeface="EYInterstate Light"/>
                </a:rPr>
                <a:t>ole</a:t>
              </a:r>
              <a:r>
                <a:rPr sz="1099" spc="-4" dirty="0">
                  <a:solidFill>
                    <a:srgbClr val="7E7E7E"/>
                  </a:solidFill>
                  <a:latin typeface="EYInterstate Light"/>
                  <a:cs typeface="EYInterstate Light"/>
                </a:rPr>
                <a:t> </a:t>
              </a:r>
              <a:r>
                <a:rPr sz="1099" spc="-6" dirty="0">
                  <a:solidFill>
                    <a:srgbClr val="7E7E7E"/>
                  </a:solidFill>
                  <a:latin typeface="EYInterstate Light"/>
                  <a:cs typeface="EYInterstate Light"/>
                </a:rPr>
                <a:t>in</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building</a:t>
              </a:r>
              <a:r>
                <a:rPr sz="1099" dirty="0">
                  <a:solidFill>
                    <a:srgbClr val="7E7E7E"/>
                  </a:solidFill>
                  <a:latin typeface="EYInterstate Light"/>
                  <a:cs typeface="EYInterstate Light"/>
                </a:rPr>
                <a:t> a </a:t>
              </a:r>
              <a:r>
                <a:rPr sz="1099" spc="-4" dirty="0">
                  <a:solidFill>
                    <a:srgbClr val="7E7E7E"/>
                  </a:solidFill>
                  <a:latin typeface="EYInterstate Light"/>
                  <a:cs typeface="EYInterstate Light"/>
                </a:rPr>
                <a:t>b</a:t>
              </a:r>
              <a:r>
                <a:rPr sz="1099" spc="-6" dirty="0">
                  <a:solidFill>
                    <a:srgbClr val="7E7E7E"/>
                  </a:solidFill>
                  <a:latin typeface="EYInterstate Light"/>
                  <a:cs typeface="EYInterstate Light"/>
                </a:rPr>
                <a:t>e</a:t>
              </a:r>
              <a:r>
                <a:rPr sz="1099" spc="-16" dirty="0">
                  <a:solidFill>
                    <a:srgbClr val="7E7E7E"/>
                  </a:solidFill>
                  <a:latin typeface="EYInterstate Light"/>
                  <a:cs typeface="EYInterstate Light"/>
                </a:rPr>
                <a:t>t</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r</a:t>
              </a:r>
              <a:r>
                <a:rPr sz="1099" spc="-4" dirty="0">
                  <a:solidFill>
                    <a:srgbClr val="7E7E7E"/>
                  </a:solidFill>
                  <a:latin typeface="EYInterstate Light"/>
                  <a:cs typeface="EYInterstate Light"/>
                </a:rPr>
                <a:t> </a:t>
              </a:r>
              <a:r>
                <a:rPr sz="1099" spc="-25" dirty="0">
                  <a:solidFill>
                    <a:srgbClr val="7E7E7E"/>
                  </a:solidFill>
                  <a:latin typeface="EYInterstate Light"/>
                  <a:cs typeface="EYInterstate Light"/>
                </a:rPr>
                <a:t>w</a:t>
              </a:r>
              <a:r>
                <a:rPr sz="1099" spc="-6" dirty="0">
                  <a:solidFill>
                    <a:srgbClr val="7E7E7E"/>
                  </a:solidFill>
                  <a:latin typeface="EYInterstate Light"/>
                  <a:cs typeface="EYInterstate Light"/>
                </a:rPr>
                <a:t>orking</a:t>
              </a:r>
              <a:r>
                <a:rPr sz="1099" spc="-4" dirty="0">
                  <a:solidFill>
                    <a:srgbClr val="7E7E7E"/>
                  </a:solidFill>
                  <a:latin typeface="EYInterstate Light"/>
                  <a:cs typeface="EYInterstate Light"/>
                </a:rPr>
                <a:t> </a:t>
              </a:r>
              <a:r>
                <a:rPr sz="1099" spc="-25" dirty="0">
                  <a:solidFill>
                    <a:srgbClr val="7E7E7E"/>
                  </a:solidFill>
                  <a:latin typeface="EYInterstate Light"/>
                  <a:cs typeface="EYInterstate Light"/>
                </a:rPr>
                <a:t>w</a:t>
              </a:r>
              <a:r>
                <a:rPr sz="1099" dirty="0">
                  <a:solidFill>
                    <a:srgbClr val="7E7E7E"/>
                  </a:solidFill>
                  <a:latin typeface="EYInterstate Light"/>
                  <a:cs typeface="EYInterstate Light"/>
                </a:rPr>
                <a:t>orld </a:t>
              </a:r>
              <a:r>
                <a:rPr sz="1099" spc="-20" dirty="0">
                  <a:solidFill>
                    <a:srgbClr val="7E7E7E"/>
                  </a:solidFill>
                  <a:latin typeface="EYInterstate Light"/>
                  <a:cs typeface="EYInterstate Light"/>
                </a:rPr>
                <a:t>f</a:t>
              </a:r>
              <a:r>
                <a:rPr sz="1099" dirty="0">
                  <a:solidFill>
                    <a:srgbClr val="7E7E7E"/>
                  </a:solidFill>
                  <a:latin typeface="EYInterstate Light"/>
                  <a:cs typeface="EYInterstate Light"/>
                </a:rPr>
                <a:t>or</a:t>
              </a:r>
              <a:r>
                <a:rPr sz="1099" spc="-4" dirty="0">
                  <a:solidFill>
                    <a:srgbClr val="7E7E7E"/>
                  </a:solidFill>
                  <a:latin typeface="EYInterstate Light"/>
                  <a:cs typeface="EYInterstate Light"/>
                </a:rPr>
                <a:t> </a:t>
              </a:r>
              <a:r>
                <a:rPr sz="1099" dirty="0">
                  <a:solidFill>
                    <a:srgbClr val="7E7E7E"/>
                  </a:solidFill>
                  <a:latin typeface="EYInterstate Light"/>
                  <a:cs typeface="EYInterstate Light"/>
                </a:rPr>
                <a:t>our</a:t>
              </a:r>
              <a:r>
                <a:rPr sz="1099" spc="-4" dirty="0">
                  <a:solidFill>
                    <a:srgbClr val="7E7E7E"/>
                  </a:solidFill>
                  <a:latin typeface="EYInterstate Light"/>
                  <a:cs typeface="EYInterstate Light"/>
                </a:rPr>
                <a:t> peop</a:t>
              </a:r>
              <a:r>
                <a:rPr sz="1099" dirty="0">
                  <a:solidFill>
                    <a:srgbClr val="7E7E7E"/>
                  </a:solidFill>
                  <a:latin typeface="EYInterstate Light"/>
                  <a:cs typeface="EYInterstate Light"/>
                </a:rPr>
                <a:t>l</a:t>
              </a:r>
              <a:r>
                <a:rPr sz="1099" spc="-20" dirty="0">
                  <a:solidFill>
                    <a:srgbClr val="7E7E7E"/>
                  </a:solidFill>
                  <a:latin typeface="EYInterstate Light"/>
                  <a:cs typeface="EYInterstate Light"/>
                </a:rPr>
                <a:t>e</a:t>
              </a:r>
              <a:r>
                <a:rPr sz="1099" dirty="0">
                  <a:solidFill>
                    <a:srgbClr val="7E7E7E"/>
                  </a:solidFill>
                  <a:latin typeface="EYInterstate Light"/>
                  <a:cs typeface="EYInterstate Light"/>
                </a:rPr>
                <a:t>, </a:t>
              </a:r>
              <a:r>
                <a:rPr sz="1099" spc="-20" dirty="0">
                  <a:solidFill>
                    <a:srgbClr val="7E7E7E"/>
                  </a:solidFill>
                  <a:latin typeface="EYInterstate Light"/>
                  <a:cs typeface="EYInterstate Light"/>
                </a:rPr>
                <a:t>f</a:t>
              </a:r>
              <a:r>
                <a:rPr sz="1099" dirty="0">
                  <a:solidFill>
                    <a:srgbClr val="7E7E7E"/>
                  </a:solidFill>
                  <a:latin typeface="EYInterstate Light"/>
                  <a:cs typeface="EYInterstate Light"/>
                </a:rPr>
                <a:t>or</a:t>
              </a:r>
              <a:r>
                <a:rPr sz="1099" spc="-4" dirty="0">
                  <a:solidFill>
                    <a:srgbClr val="7E7E7E"/>
                  </a:solidFill>
                  <a:latin typeface="EYInterstate Light"/>
                  <a:cs typeface="EYInterstate Light"/>
                </a:rPr>
                <a:t> </a:t>
              </a:r>
              <a:r>
                <a:rPr sz="1099" dirty="0">
                  <a:solidFill>
                    <a:srgbClr val="7E7E7E"/>
                  </a:solidFill>
                  <a:latin typeface="EYInterstate Light"/>
                  <a:cs typeface="EYInterstate Light"/>
                </a:rPr>
                <a:t>our</a:t>
              </a:r>
              <a:r>
                <a:rPr sz="1099" spc="-4" dirty="0">
                  <a:solidFill>
                    <a:srgbClr val="7E7E7E"/>
                  </a:solidFill>
                  <a:latin typeface="EYInterstate Light"/>
                  <a:cs typeface="EYInterstate Light"/>
                </a:rPr>
                <a:t> cli</a:t>
              </a:r>
              <a:r>
                <a:rPr sz="1099" dirty="0">
                  <a:solidFill>
                    <a:srgbClr val="7E7E7E"/>
                  </a:solidFill>
                  <a:latin typeface="EYInterstate Light"/>
                  <a:cs typeface="EYInterstate Light"/>
                </a:rPr>
                <a:t>e</a:t>
              </a:r>
              <a:r>
                <a:rPr sz="1099" spc="-12" dirty="0">
                  <a:solidFill>
                    <a:srgbClr val="7E7E7E"/>
                  </a:solidFill>
                  <a:latin typeface="EYInterstate Light"/>
                  <a:cs typeface="EYInterstate Light"/>
                </a:rPr>
                <a:t>n</a:t>
              </a:r>
              <a:r>
                <a:rPr sz="1099" spc="-6" dirty="0">
                  <a:solidFill>
                    <a:srgbClr val="7E7E7E"/>
                  </a:solidFill>
                  <a:latin typeface="EYInterstate Light"/>
                  <a:cs typeface="EYInterstate Light"/>
                </a:rPr>
                <a:t>t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and</a:t>
              </a:r>
              <a:r>
                <a:rPr sz="1099" spc="-4" dirty="0">
                  <a:solidFill>
                    <a:srgbClr val="7E7E7E"/>
                  </a:solidFill>
                  <a:latin typeface="EYInterstate Light"/>
                  <a:cs typeface="EYInterstate Light"/>
                </a:rPr>
                <a:t> </a:t>
              </a:r>
              <a:r>
                <a:rPr sz="1099" spc="-20" dirty="0">
                  <a:solidFill>
                    <a:srgbClr val="7E7E7E"/>
                  </a:solidFill>
                  <a:latin typeface="EYInterstate Light"/>
                  <a:cs typeface="EYInterstate Light"/>
                </a:rPr>
                <a:t>f</a:t>
              </a:r>
              <a:r>
                <a:rPr sz="1099" dirty="0">
                  <a:solidFill>
                    <a:srgbClr val="7E7E7E"/>
                  </a:solidFill>
                  <a:latin typeface="EYInterstate Light"/>
                  <a:cs typeface="EYInterstate Light"/>
                </a:rPr>
                <a:t>or</a:t>
              </a:r>
              <a:r>
                <a:rPr sz="1099" spc="-4" dirty="0">
                  <a:solidFill>
                    <a:srgbClr val="7E7E7E"/>
                  </a:solidFill>
                  <a:latin typeface="EYInterstate Light"/>
                  <a:cs typeface="EYInterstate Light"/>
                </a:rPr>
                <a:t> </a:t>
              </a:r>
              <a:r>
                <a:rPr sz="1099" dirty="0">
                  <a:solidFill>
                    <a:srgbClr val="7E7E7E"/>
                  </a:solidFill>
                  <a:latin typeface="EYInterstate Light"/>
                  <a:cs typeface="EYInterstate Light"/>
                </a:rPr>
                <a:t>our </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ommunitie</a:t>
              </a:r>
              <a:r>
                <a:rPr sz="1099" spc="-19" dirty="0">
                  <a:solidFill>
                    <a:srgbClr val="7E7E7E"/>
                  </a:solidFill>
                  <a:latin typeface="EYInterstate Light"/>
                  <a:cs typeface="EYInterstate Light"/>
                </a:rPr>
                <a:t>s</a:t>
              </a:r>
              <a:r>
                <a:rPr sz="1099" dirty="0">
                  <a:solidFill>
                    <a:srgbClr val="7E7E7E"/>
                  </a:solidFill>
                  <a:latin typeface="EYInterstate Light"/>
                  <a:cs typeface="EYInterstate Light"/>
                </a:rPr>
                <a:t>.</a:t>
              </a:r>
            </a:p>
          </p:txBody>
        </p:sp>
        <p:sp>
          <p:nvSpPr>
            <p:cNvPr id="16" name="object 5"/>
            <p:cNvSpPr txBox="1"/>
            <p:nvPr userDrawn="1"/>
          </p:nvSpPr>
          <p:spPr>
            <a:xfrm>
              <a:off x="9609939" y="3840329"/>
              <a:ext cx="4383932" cy="1145225"/>
            </a:xfrm>
            <a:prstGeom prst="rect">
              <a:avLst/>
            </a:prstGeom>
          </p:spPr>
          <p:txBody>
            <a:bodyPr vert="horz" wrap="square" lIns="0" tIns="0" rIns="0" bIns="0" rtlCol="0">
              <a:spAutoFit/>
            </a:bodyPr>
            <a:lstStyle/>
            <a:p>
              <a:pPr marL="7398" marR="2964" defTabSz="357326">
                <a:lnSpc>
                  <a:spcPct val="103800"/>
                </a:lnSpc>
              </a:pPr>
              <a:r>
                <a:rPr sz="1099" spc="-20" dirty="0">
                  <a:solidFill>
                    <a:srgbClr val="7E7E7E"/>
                  </a:solidFill>
                  <a:latin typeface="EYInterstate Light"/>
                  <a:cs typeface="EYInterstate Light"/>
                </a:rPr>
                <a:t>E</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20" dirty="0">
                  <a:solidFill>
                    <a:srgbClr val="7E7E7E"/>
                  </a:solidFill>
                  <a:latin typeface="EYInterstate Light"/>
                  <a:cs typeface="EYInterstate Light"/>
                </a:rPr>
                <a:t>r</a:t>
              </a:r>
              <a:r>
                <a:rPr sz="1099" spc="-6" dirty="0">
                  <a:solidFill>
                    <a:srgbClr val="7E7E7E"/>
                  </a:solidFill>
                  <a:latin typeface="EYInterstate Light"/>
                  <a:cs typeface="EYInterstate Light"/>
                </a:rPr>
                <a:t>e</a:t>
              </a:r>
              <a:r>
                <a:rPr sz="1099" spc="-20" dirty="0">
                  <a:solidFill>
                    <a:srgbClr val="7E7E7E"/>
                  </a:solidFill>
                  <a:latin typeface="EYInterstate Light"/>
                  <a:cs typeface="EYInterstate Light"/>
                </a:rPr>
                <a:t>f</a:t>
              </a:r>
              <a:r>
                <a:rPr sz="1099" dirty="0">
                  <a:solidFill>
                    <a:srgbClr val="7E7E7E"/>
                  </a:solidFill>
                  <a:latin typeface="EYInterstate Light"/>
                  <a:cs typeface="EYInterstate Light"/>
                </a:rPr>
                <a:t>e</a:t>
              </a:r>
              <a:r>
                <a:rPr sz="1099" spc="-19" dirty="0">
                  <a:solidFill>
                    <a:srgbClr val="7E7E7E"/>
                  </a:solidFill>
                  <a:latin typeface="EYInterstate Light"/>
                  <a:cs typeface="EYInterstate Light"/>
                </a:rPr>
                <a:t>r</a:t>
              </a:r>
              <a:r>
                <a:rPr sz="1099" spc="-6" dirty="0">
                  <a:solidFill>
                    <a:srgbClr val="7E7E7E"/>
                  </a:solidFill>
                  <a:latin typeface="EYInterstate Light"/>
                  <a:cs typeface="EYInterstate Light"/>
                </a:rPr>
                <a:t>s</a:t>
              </a:r>
              <a:r>
                <a:rPr sz="1099"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o</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th</a:t>
              </a:r>
              <a:r>
                <a:rPr sz="1099" dirty="0">
                  <a:solidFill>
                    <a:srgbClr val="7E7E7E"/>
                  </a:solidFill>
                  <a:latin typeface="EYInterstate Light"/>
                  <a:cs typeface="EYInterstate Light"/>
                </a:rPr>
                <a:t>e </a:t>
              </a:r>
              <a:r>
                <a:rPr sz="1099" spc="-6" dirty="0">
                  <a:solidFill>
                    <a:srgbClr val="7E7E7E"/>
                  </a:solidFill>
                  <a:latin typeface="EYInterstate Light"/>
                  <a:cs typeface="EYInterstate Light"/>
                </a:rPr>
                <a:t>glob</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6" dirty="0">
                  <a:solidFill>
                    <a:srgbClr val="7E7E7E"/>
                  </a:solidFill>
                  <a:latin typeface="EYInterstate Light"/>
                  <a:cs typeface="EYInterstate Light"/>
                </a:rPr>
                <a:t>o</a:t>
              </a:r>
              <a:r>
                <a:rPr sz="1099" spc="-23" dirty="0">
                  <a:solidFill>
                    <a:srgbClr val="7E7E7E"/>
                  </a:solidFill>
                  <a:latin typeface="EYInterstate Light"/>
                  <a:cs typeface="EYInterstate Light"/>
                </a:rPr>
                <a:t>r</a:t>
              </a:r>
              <a:r>
                <a:rPr sz="1099" spc="-6" dirty="0">
                  <a:solidFill>
                    <a:srgbClr val="7E7E7E"/>
                  </a:solidFill>
                  <a:latin typeface="EYInterstate Light"/>
                  <a:cs typeface="EYInterstate Light"/>
                </a:rPr>
                <a:t>gan</a:t>
              </a:r>
              <a:r>
                <a:rPr sz="1099" spc="-4" dirty="0">
                  <a:solidFill>
                    <a:srgbClr val="7E7E7E"/>
                  </a:solidFill>
                  <a:latin typeface="EYInterstate Light"/>
                  <a:cs typeface="EYInterstate Light"/>
                </a:rPr>
                <a:t>i</a:t>
              </a:r>
              <a:r>
                <a:rPr sz="1099" spc="-12" dirty="0">
                  <a:solidFill>
                    <a:srgbClr val="7E7E7E"/>
                  </a:solidFill>
                  <a:latin typeface="EYInterstate Light"/>
                  <a:cs typeface="EYInterstate Light"/>
                </a:rPr>
                <a:t>z</a:t>
              </a:r>
              <a:r>
                <a:rPr sz="1099" spc="-6" dirty="0">
                  <a:solidFill>
                    <a:srgbClr val="7E7E7E"/>
                  </a:solidFill>
                  <a:latin typeface="EYInterstate Light"/>
                  <a:cs typeface="EYInterstate Light"/>
                </a:rPr>
                <a:t>ation</a:t>
              </a:r>
              <a:r>
                <a:rPr sz="1099" spc="-4" dirty="0">
                  <a:solidFill>
                    <a:srgbClr val="7E7E7E"/>
                  </a:solidFill>
                  <a:latin typeface="EYInterstate Light"/>
                  <a:cs typeface="EYInterstate Light"/>
                </a:rPr>
                <a:t>,</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and</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m</a:t>
              </a:r>
              <a:r>
                <a:rPr sz="1099" spc="-16" dirty="0">
                  <a:solidFill>
                    <a:srgbClr val="7E7E7E"/>
                  </a:solidFill>
                  <a:latin typeface="EYInterstate Light"/>
                  <a:cs typeface="EYInterstate Light"/>
                </a:rPr>
                <a:t>a</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20" dirty="0">
                  <a:solidFill>
                    <a:srgbClr val="7E7E7E"/>
                  </a:solidFill>
                  <a:latin typeface="EYInterstate Light"/>
                  <a:cs typeface="EYInterstate Light"/>
                </a:rPr>
                <a:t>r</a:t>
              </a:r>
              <a:r>
                <a:rPr sz="1099" spc="-6" dirty="0">
                  <a:solidFill>
                    <a:srgbClr val="7E7E7E"/>
                  </a:solidFill>
                  <a:latin typeface="EYInterstate Light"/>
                  <a:cs typeface="EYInterstate Light"/>
                </a:rPr>
                <a:t>e</a:t>
              </a:r>
              <a:r>
                <a:rPr sz="1099" spc="-20" dirty="0">
                  <a:solidFill>
                    <a:srgbClr val="7E7E7E"/>
                  </a:solidFill>
                  <a:latin typeface="EYInterstate Light"/>
                  <a:cs typeface="EYInterstate Light"/>
                </a:rPr>
                <a:t>f</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r</a:t>
              </a:r>
              <a:r>
                <a:rPr sz="1099" spc="-4"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o one</a:t>
              </a:r>
              <a:r>
                <a:rPr sz="1099" spc="-4" dirty="0">
                  <a:solidFill>
                    <a:srgbClr val="7E7E7E"/>
                  </a:solidFill>
                  <a:latin typeface="EYInterstate Light"/>
                  <a:cs typeface="EYInterstate Light"/>
                </a:rPr>
                <a:t> </a:t>
              </a:r>
              <a:r>
                <a:rPr sz="1099" dirty="0">
                  <a:solidFill>
                    <a:srgbClr val="7E7E7E"/>
                  </a:solidFill>
                  <a:latin typeface="EYInterstate Light"/>
                  <a:cs typeface="EYInterstate Light"/>
                </a:rPr>
                <a:t>or</a:t>
              </a:r>
              <a:r>
                <a:rPr sz="1099" spc="-4" dirty="0">
                  <a:solidFill>
                    <a:srgbClr val="7E7E7E"/>
                  </a:solidFill>
                  <a:latin typeface="EYInterstate Light"/>
                  <a:cs typeface="EYInterstate Light"/>
                </a:rPr>
                <a:t> m</a:t>
              </a:r>
              <a:r>
                <a:rPr sz="1099" dirty="0">
                  <a:solidFill>
                    <a:srgbClr val="7E7E7E"/>
                  </a:solidFill>
                  <a:latin typeface="EYInterstate Light"/>
                  <a:cs typeface="EYInterstate Light"/>
                </a:rPr>
                <a:t>o</a:t>
              </a:r>
              <a:r>
                <a:rPr sz="1099" spc="-20" dirty="0">
                  <a:solidFill>
                    <a:srgbClr val="7E7E7E"/>
                  </a:solidFill>
                  <a:latin typeface="EYInterstate Light"/>
                  <a:cs typeface="EYInterstate Light"/>
                </a:rPr>
                <a:t>re</a:t>
              </a:r>
              <a:r>
                <a:rPr sz="1099" dirty="0">
                  <a:solidFill>
                    <a:srgbClr val="7E7E7E"/>
                  </a:solidFill>
                  <a:latin typeface="EYInterstate Light"/>
                  <a:cs typeface="EYInterstate Light"/>
                </a:rPr>
                <a:t>, </a:t>
              </a:r>
              <a:r>
                <a:rPr sz="1099" spc="-20" dirty="0">
                  <a:solidFill>
                    <a:srgbClr val="7E7E7E"/>
                  </a:solidFill>
                  <a:latin typeface="EYInterstate Light"/>
                  <a:cs typeface="EYInterstate Light"/>
                </a:rPr>
                <a:t>o</a:t>
              </a:r>
              <a:r>
                <a:rPr sz="1099" dirty="0">
                  <a:solidFill>
                    <a:srgbClr val="7E7E7E"/>
                  </a:solidFill>
                  <a:latin typeface="EYInterstate Light"/>
                  <a:cs typeface="EYInterstate Light"/>
                </a:rPr>
                <a:t>f the member ﬁrms </a:t>
              </a:r>
              <a:r>
                <a:rPr sz="1099" spc="-20" dirty="0">
                  <a:solidFill>
                    <a:srgbClr val="7E7E7E"/>
                  </a:solidFill>
                  <a:latin typeface="EYInterstate Light"/>
                  <a:cs typeface="EYInterstate Light"/>
                </a:rPr>
                <a:t>o</a:t>
              </a:r>
              <a:r>
                <a:rPr sz="1099" spc="-4" dirty="0">
                  <a:solidFill>
                    <a:srgbClr val="7E7E7E"/>
                  </a:solidFill>
                  <a:latin typeface="EYInterstate Light"/>
                  <a:cs typeface="EYInterstate Light"/>
                </a:rPr>
                <a:t>f</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Ern</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mp; </a:t>
              </a:r>
              <a:r>
                <a:rPr sz="1099" spc="-91" dirty="0">
                  <a:solidFill>
                    <a:srgbClr val="7E7E7E"/>
                  </a:solidFill>
                  <a:latin typeface="EYInterstate Light"/>
                  <a:cs typeface="EYInterstate Light"/>
                </a:rPr>
                <a:t>Y</a:t>
              </a:r>
              <a:r>
                <a:rPr sz="1099" spc="-6" dirty="0">
                  <a:solidFill>
                    <a:srgbClr val="7E7E7E"/>
                  </a:solidFill>
                  <a:latin typeface="EYInterstate Light"/>
                  <a:cs typeface="EYInterstate Light"/>
                </a:rPr>
                <a:t>oung</a:t>
              </a:r>
              <a:r>
                <a:rPr sz="1099" spc="-4" dirty="0">
                  <a:solidFill>
                    <a:srgbClr val="7E7E7E"/>
                  </a:solidFill>
                  <a:latin typeface="EYInterstate Light"/>
                  <a:cs typeface="EYInterstate Light"/>
                </a:rPr>
                <a:t> Gl</a:t>
              </a:r>
              <a:r>
                <a:rPr sz="1099" dirty="0">
                  <a:solidFill>
                    <a:srgbClr val="7E7E7E"/>
                  </a:solidFill>
                  <a:latin typeface="EYInterstate Light"/>
                  <a:cs typeface="EYInterstate Light"/>
                </a:rPr>
                <a:t>o</a:t>
              </a:r>
              <a:r>
                <a:rPr sz="1099" spc="-6" dirty="0">
                  <a:solidFill>
                    <a:srgbClr val="7E7E7E"/>
                  </a:solidFill>
                  <a:latin typeface="EYInterstate Light"/>
                  <a:cs typeface="EYInterstate Light"/>
                </a:rPr>
                <a:t>b</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4" dirty="0">
                  <a:solidFill>
                    <a:srgbClr val="7E7E7E"/>
                  </a:solidFill>
                  <a:latin typeface="EYInterstate Light"/>
                  <a:cs typeface="EYInterstate Light"/>
                </a:rPr>
                <a:t>Lim</a:t>
              </a:r>
              <a:r>
                <a:rPr sz="1099" dirty="0">
                  <a:solidFill>
                    <a:srgbClr val="7E7E7E"/>
                  </a:solidFill>
                  <a:latin typeface="EYInterstate Light"/>
                  <a:cs typeface="EYInterstate Light"/>
                </a:rPr>
                <a:t>i</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ed</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e</a:t>
              </a:r>
              <a:r>
                <a:rPr sz="1099" spc="-4" dirty="0">
                  <a:solidFill>
                    <a:srgbClr val="7E7E7E"/>
                  </a:solidFill>
                  <a:latin typeface="EYInterstate Light"/>
                  <a:cs typeface="EYInterstate Light"/>
                </a:rPr>
                <a:t>ac</a:t>
              </a:r>
              <a:r>
                <a:rPr sz="1099" dirty="0">
                  <a:solidFill>
                    <a:srgbClr val="7E7E7E"/>
                  </a:solidFill>
                  <a:latin typeface="EYInterstate Light"/>
                  <a:cs typeface="EYInterstate Light"/>
                </a:rPr>
                <a:t>h </a:t>
              </a:r>
              <a:r>
                <a:rPr sz="1099" spc="-20" dirty="0">
                  <a:solidFill>
                    <a:srgbClr val="7E7E7E"/>
                  </a:solidFill>
                  <a:latin typeface="EYInterstate Light"/>
                  <a:cs typeface="EYInterstate Light"/>
                </a:rPr>
                <a:t>o</a:t>
              </a:r>
              <a:r>
                <a:rPr sz="1099" spc="-4" dirty="0">
                  <a:solidFill>
                    <a:srgbClr val="7E7E7E"/>
                  </a:solidFill>
                  <a:latin typeface="EYInterstate Light"/>
                  <a:cs typeface="EYInterstate Light"/>
                </a:rPr>
                <a:t>f</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which</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is</a:t>
              </a:r>
              <a:r>
                <a:rPr sz="1099" dirty="0">
                  <a:solidFill>
                    <a:srgbClr val="7E7E7E"/>
                  </a:solidFill>
                  <a:latin typeface="EYInterstate Light"/>
                  <a:cs typeface="EYInterstate Light"/>
                </a:rPr>
                <a:t> a</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a:t>
              </a:r>
              <a:r>
                <a:rPr sz="1099" spc="-6" dirty="0">
                  <a:solidFill>
                    <a:srgbClr val="7E7E7E"/>
                  </a:solidFill>
                  <a:latin typeface="EYInterstate Light"/>
                  <a:cs typeface="EYInterstate Light"/>
                </a:rPr>
                <a:t>p</a:t>
              </a:r>
              <a:r>
                <a:rPr sz="1099" dirty="0">
                  <a:solidFill>
                    <a:srgbClr val="7E7E7E"/>
                  </a:solidFill>
                  <a:latin typeface="EYInterstate Light"/>
                  <a:cs typeface="EYInterstate Light"/>
                </a:rPr>
                <a:t>a</a:t>
              </a:r>
              <a:r>
                <a:rPr sz="1099" spc="-28" dirty="0">
                  <a:solidFill>
                    <a:srgbClr val="7E7E7E"/>
                  </a:solidFill>
                  <a:latin typeface="EYInterstate Light"/>
                  <a:cs typeface="EYInterstate Light"/>
                </a:rPr>
                <a:t>r</a:t>
              </a:r>
              <a:r>
                <a:rPr sz="1099" dirty="0">
                  <a:solidFill>
                    <a:srgbClr val="7E7E7E"/>
                  </a:solidFill>
                  <a:latin typeface="EYInterstate Light"/>
                  <a:cs typeface="EYInterstate Light"/>
                </a:rPr>
                <a:t>a</a:t>
              </a:r>
              <a:r>
                <a:rPr sz="1099" spc="-19" dirty="0">
                  <a:solidFill>
                    <a:srgbClr val="7E7E7E"/>
                  </a:solidFill>
                  <a:latin typeface="EYInterstate Light"/>
                  <a:cs typeface="EYInterstate Light"/>
                </a:rPr>
                <a:t>t</a:t>
              </a:r>
              <a:r>
                <a:rPr sz="1099" dirty="0">
                  <a:solidFill>
                    <a:srgbClr val="7E7E7E"/>
                  </a:solidFill>
                  <a:latin typeface="EYInterstate Light"/>
                  <a:cs typeface="EYInterstate Light"/>
                </a:rPr>
                <a:t>e legal</a:t>
              </a:r>
              <a:r>
                <a:rPr sz="1099" spc="-4" dirty="0">
                  <a:solidFill>
                    <a:srgbClr val="7E7E7E"/>
                  </a:solidFill>
                  <a:latin typeface="EYInterstate Light"/>
                  <a:cs typeface="EYInterstate Light"/>
                </a:rPr>
                <a:t> </a:t>
              </a:r>
              <a:r>
                <a:rPr sz="1099" dirty="0">
                  <a:solidFill>
                    <a:srgbClr val="7E7E7E"/>
                  </a:solidFill>
                  <a:latin typeface="EYInterstate Light"/>
                  <a:cs typeface="EYInterstate Light"/>
                </a:rPr>
                <a:t>e</a:t>
              </a:r>
              <a:r>
                <a:rPr sz="1099" spc="-12" dirty="0">
                  <a:solidFill>
                    <a:srgbClr val="7E7E7E"/>
                  </a:solidFill>
                  <a:latin typeface="EYInterstate Light"/>
                  <a:cs typeface="EYInterstate Light"/>
                </a:rPr>
                <a:t>n</a:t>
              </a:r>
              <a:r>
                <a:rPr sz="1099" dirty="0">
                  <a:solidFill>
                    <a:srgbClr val="7E7E7E"/>
                  </a:solidFill>
                  <a:latin typeface="EYInterstate Light"/>
                  <a:cs typeface="EYInterstate Light"/>
                </a:rPr>
                <a:t>ti</a:t>
              </a:r>
              <a:r>
                <a:rPr sz="1099" spc="-19" dirty="0">
                  <a:solidFill>
                    <a:srgbClr val="7E7E7E"/>
                  </a:solidFill>
                  <a:latin typeface="EYInterstate Light"/>
                  <a:cs typeface="EYInterstate Light"/>
                </a:rPr>
                <a:t>t</a:t>
              </a:r>
              <a:r>
                <a:rPr sz="1099" spc="-7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Ern</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mp; </a:t>
              </a:r>
              <a:r>
                <a:rPr sz="1099" spc="-91" dirty="0">
                  <a:solidFill>
                    <a:srgbClr val="7E7E7E"/>
                  </a:solidFill>
                  <a:latin typeface="EYInterstate Light"/>
                  <a:cs typeface="EYInterstate Light"/>
                </a:rPr>
                <a:t>Y</a:t>
              </a:r>
              <a:r>
                <a:rPr sz="1099" spc="-6" dirty="0">
                  <a:solidFill>
                    <a:srgbClr val="7E7E7E"/>
                  </a:solidFill>
                  <a:latin typeface="EYInterstate Light"/>
                  <a:cs typeface="EYInterstate Light"/>
                </a:rPr>
                <a:t>oung</a:t>
              </a:r>
              <a:r>
                <a:rPr sz="1099" spc="-4" dirty="0">
                  <a:solidFill>
                    <a:srgbClr val="7E7E7E"/>
                  </a:solidFill>
                  <a:latin typeface="EYInterstate Light"/>
                  <a:cs typeface="EYInterstate Light"/>
                </a:rPr>
                <a:t> Gl</a:t>
              </a:r>
              <a:r>
                <a:rPr sz="1099" dirty="0">
                  <a:solidFill>
                    <a:srgbClr val="7E7E7E"/>
                  </a:solidFill>
                  <a:latin typeface="EYInterstate Light"/>
                  <a:cs typeface="EYInterstate Light"/>
                </a:rPr>
                <a:t>o</a:t>
              </a:r>
              <a:r>
                <a:rPr sz="1099" spc="-6" dirty="0">
                  <a:solidFill>
                    <a:srgbClr val="7E7E7E"/>
                  </a:solidFill>
                  <a:latin typeface="EYInterstate Light"/>
                  <a:cs typeface="EYInterstate Light"/>
                </a:rPr>
                <a:t>b</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4" dirty="0">
                  <a:solidFill>
                    <a:srgbClr val="7E7E7E"/>
                  </a:solidFill>
                  <a:latin typeface="EYInterstate Light"/>
                  <a:cs typeface="EYInterstate Light"/>
                </a:rPr>
                <a:t>Lim</a:t>
              </a:r>
              <a:r>
                <a:rPr sz="1099" dirty="0">
                  <a:solidFill>
                    <a:srgbClr val="7E7E7E"/>
                  </a:solidFill>
                  <a:latin typeface="EYInterstate Light"/>
                  <a:cs typeface="EYInterstate Light"/>
                </a:rPr>
                <a:t>i</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ed</a:t>
              </a:r>
              <a:r>
                <a:rPr sz="1099" dirty="0">
                  <a:solidFill>
                    <a:srgbClr val="7E7E7E"/>
                  </a:solidFill>
                  <a:latin typeface="EYInterstate Light"/>
                  <a:cs typeface="EYInterstate Light"/>
                </a:rPr>
                <a:t>, a </a:t>
              </a:r>
              <a:r>
                <a:rPr sz="1099" spc="-4" dirty="0">
                  <a:solidFill>
                    <a:srgbClr val="7E7E7E"/>
                  </a:solidFill>
                  <a:latin typeface="EYInterstate Light"/>
                  <a:cs typeface="EYInterstate Light"/>
                </a:rPr>
                <a:t>U</a:t>
              </a:r>
              <a:r>
                <a:rPr sz="1099" dirty="0">
                  <a:solidFill>
                    <a:srgbClr val="7E7E7E"/>
                  </a:solidFill>
                  <a:latin typeface="EYInterstate Light"/>
                  <a:cs typeface="EYInterstate Light"/>
                </a:rPr>
                <a:t>K </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o</a:t>
              </a:r>
              <a:r>
                <a:rPr sz="1099" spc="-4" dirty="0">
                  <a:solidFill>
                    <a:srgbClr val="7E7E7E"/>
                  </a:solidFill>
                  <a:latin typeface="EYInterstate Light"/>
                  <a:cs typeface="EYInterstate Light"/>
                </a:rPr>
                <a:t>m</a:t>
              </a:r>
              <a:r>
                <a:rPr sz="1099" spc="-6" dirty="0">
                  <a:solidFill>
                    <a:srgbClr val="7E7E7E"/>
                  </a:solidFill>
                  <a:latin typeface="EYInterstate Light"/>
                  <a:cs typeface="EYInterstate Light"/>
                </a:rPr>
                <a:t>p</a:t>
              </a:r>
              <a:r>
                <a:rPr sz="1099" dirty="0">
                  <a:solidFill>
                    <a:srgbClr val="7E7E7E"/>
                  </a:solidFill>
                  <a:latin typeface="EYInterstate Light"/>
                  <a:cs typeface="EYInterstate Light"/>
                </a:rPr>
                <a:t>a</a:t>
              </a:r>
              <a:r>
                <a:rPr sz="1099" spc="-25" dirty="0">
                  <a:solidFill>
                    <a:srgbClr val="7E7E7E"/>
                  </a:solidFill>
                  <a:latin typeface="EYInterstate Light"/>
                  <a:cs typeface="EYInterstate Light"/>
                </a:rPr>
                <a:t>n</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lim</a:t>
              </a:r>
              <a:r>
                <a:rPr sz="1099" spc="-4" dirty="0">
                  <a:solidFill>
                    <a:srgbClr val="7E7E7E"/>
                  </a:solidFill>
                  <a:latin typeface="EYInterstate Light"/>
                  <a:cs typeface="EYInterstate Light"/>
                </a:rPr>
                <a:t>i</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d </a:t>
              </a:r>
              <a:r>
                <a:rPr sz="1099" spc="-19" dirty="0">
                  <a:solidFill>
                    <a:srgbClr val="7E7E7E"/>
                  </a:solidFill>
                  <a:latin typeface="EYInterstate Light"/>
                  <a:cs typeface="EYInterstate Light"/>
                </a:rPr>
                <a:t>b</a:t>
              </a:r>
              <a:r>
                <a:rPr sz="1099" spc="-6" dirty="0">
                  <a:solidFill>
                    <a:srgbClr val="7E7E7E"/>
                  </a:solidFill>
                  <a:latin typeface="EYInterstate Light"/>
                  <a:cs typeface="EYInterstate Light"/>
                </a:rPr>
                <a:t>y</a:t>
              </a:r>
              <a:r>
                <a:rPr sz="1099" spc="-4" dirty="0">
                  <a:solidFill>
                    <a:srgbClr val="7E7E7E"/>
                  </a:solidFill>
                  <a:latin typeface="EYInterstate Light"/>
                  <a:cs typeface="EYInterstate Light"/>
                </a:rPr>
                <a:t> gu</a:t>
              </a:r>
              <a:r>
                <a:rPr sz="1099" dirty="0">
                  <a:solidFill>
                    <a:srgbClr val="7E7E7E"/>
                  </a:solidFill>
                  <a:latin typeface="EYInterstate Light"/>
                  <a:cs typeface="EYInterstate Light"/>
                </a:rPr>
                <a:t>a</a:t>
              </a:r>
              <a:r>
                <a:rPr sz="1099" spc="-28" dirty="0">
                  <a:solidFill>
                    <a:srgbClr val="7E7E7E"/>
                  </a:solidFill>
                  <a:latin typeface="EYInterstate Light"/>
                  <a:cs typeface="EYInterstate Light"/>
                </a:rPr>
                <a:t>r</a:t>
              </a:r>
              <a:r>
                <a:rPr sz="1099" dirty="0">
                  <a:solidFill>
                    <a:srgbClr val="7E7E7E"/>
                  </a:solidFill>
                  <a:latin typeface="EYInterstate Light"/>
                  <a:cs typeface="EYInterstate Light"/>
                </a:rPr>
                <a:t>a</a:t>
              </a:r>
              <a:r>
                <a:rPr sz="1099" spc="-12" dirty="0">
                  <a:solidFill>
                    <a:srgbClr val="7E7E7E"/>
                  </a:solidFill>
                  <a:latin typeface="EYInterstate Light"/>
                  <a:cs typeface="EYInterstate Light"/>
                </a:rPr>
                <a:t>n</a:t>
              </a:r>
              <a:r>
                <a:rPr sz="1099" spc="-19" dirty="0">
                  <a:solidFill>
                    <a:srgbClr val="7E7E7E"/>
                  </a:solidFill>
                  <a:latin typeface="EYInterstate Light"/>
                  <a:cs typeface="EYInterstate Light"/>
                </a:rPr>
                <a:t>t</a:t>
              </a:r>
              <a:r>
                <a:rPr sz="1099" dirty="0">
                  <a:solidFill>
                    <a:srgbClr val="7E7E7E"/>
                  </a:solidFill>
                  <a:latin typeface="EYInterstate Light"/>
                  <a:cs typeface="EYInterstate Light"/>
                </a:rPr>
                <a:t>e</a:t>
              </a:r>
              <a:r>
                <a:rPr sz="1099" spc="-20" dirty="0">
                  <a:solidFill>
                    <a:srgbClr val="7E7E7E"/>
                  </a:solidFill>
                  <a:latin typeface="EYInterstate Light"/>
                  <a:cs typeface="EYInterstate Light"/>
                </a:rPr>
                <a:t>e</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d</a:t>
              </a:r>
              <a:r>
                <a:rPr sz="1099" dirty="0">
                  <a:solidFill>
                    <a:srgbClr val="7E7E7E"/>
                  </a:solidFill>
                  <a:latin typeface="EYInterstate Light"/>
                  <a:cs typeface="EYInterstate Light"/>
                </a:rPr>
                <a:t>o</a:t>
              </a:r>
              <a:r>
                <a:rPr sz="1099" spc="-6" dirty="0">
                  <a:solidFill>
                    <a:srgbClr val="7E7E7E"/>
                  </a:solidFill>
                  <a:latin typeface="EYInterstate Light"/>
                  <a:cs typeface="EYInterstate Light"/>
                </a:rPr>
                <a:t>e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n</a:t>
              </a:r>
              <a:r>
                <a:rPr sz="1099" spc="-12" dirty="0">
                  <a:solidFill>
                    <a:srgbClr val="7E7E7E"/>
                  </a:solidFill>
                  <a:latin typeface="EYInterstate Light"/>
                  <a:cs typeface="EYInterstate Light"/>
                </a:rPr>
                <a:t>o</a:t>
              </a:r>
              <a:r>
                <a:rPr sz="1099" dirty="0">
                  <a:solidFill>
                    <a:srgbClr val="7E7E7E"/>
                  </a:solidFill>
                  <a:latin typeface="EYInterstate Light"/>
                  <a:cs typeface="EYInterstate Light"/>
                </a:rPr>
                <a:t>t </a:t>
              </a:r>
              <a:r>
                <a:rPr sz="1099" spc="-4" dirty="0">
                  <a:solidFill>
                    <a:srgbClr val="7E7E7E"/>
                  </a:solidFill>
                  <a:latin typeface="EYInterstate Light"/>
                  <a:cs typeface="EYInterstate Light"/>
                </a:rPr>
                <a:t>p</a:t>
              </a:r>
              <a:r>
                <a:rPr sz="1099" spc="-20" dirty="0">
                  <a:solidFill>
                    <a:srgbClr val="7E7E7E"/>
                  </a:solidFill>
                  <a:latin typeface="EYInterstate Light"/>
                  <a:cs typeface="EYInterstate Light"/>
                </a:rPr>
                <a:t>ro</a:t>
              </a:r>
              <a:r>
                <a:rPr sz="1099" dirty="0">
                  <a:solidFill>
                    <a:srgbClr val="7E7E7E"/>
                  </a:solidFill>
                  <a:latin typeface="EYInterstate Light"/>
                  <a:cs typeface="EYInterstate Light"/>
                </a:rPr>
                <a:t>vide</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rv</a:t>
              </a:r>
              <a:r>
                <a:rPr sz="1099" spc="-4" dirty="0">
                  <a:solidFill>
                    <a:srgbClr val="7E7E7E"/>
                  </a:solidFill>
                  <a:latin typeface="EYInterstate Light"/>
                  <a:cs typeface="EYInterstate Light"/>
                </a:rPr>
                <a:t>i</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es</a:t>
              </a:r>
              <a:r>
                <a:rPr sz="1099"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o</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cli</a:t>
              </a:r>
              <a:r>
                <a:rPr sz="1099" dirty="0">
                  <a:solidFill>
                    <a:srgbClr val="7E7E7E"/>
                  </a:solidFill>
                  <a:latin typeface="EYInterstate Light"/>
                  <a:cs typeface="EYInterstate Light"/>
                </a:rPr>
                <a:t>e</a:t>
              </a:r>
              <a:r>
                <a:rPr sz="1099" spc="-12" dirty="0">
                  <a:solidFill>
                    <a:srgbClr val="7E7E7E"/>
                  </a:solidFill>
                  <a:latin typeface="EYInterstate Light"/>
                  <a:cs typeface="EYInterstate Light"/>
                </a:rPr>
                <a:t>n</a:t>
              </a:r>
              <a:r>
                <a:rPr sz="1099" spc="-6" dirty="0">
                  <a:solidFill>
                    <a:srgbClr val="7E7E7E"/>
                  </a:solidFill>
                  <a:latin typeface="EYInterstate Light"/>
                  <a:cs typeface="EYInterstate Light"/>
                </a:rPr>
                <a:t>t</a:t>
              </a:r>
              <a:r>
                <a:rPr sz="1099" spc="-19" dirty="0">
                  <a:solidFill>
                    <a:srgbClr val="7E7E7E"/>
                  </a:solidFill>
                  <a:latin typeface="EYInterstate Light"/>
                  <a:cs typeface="EYInterstate Light"/>
                </a:rPr>
                <a:t>s</a:t>
              </a:r>
              <a:r>
                <a:rPr sz="1099" dirty="0">
                  <a:solidFill>
                    <a:srgbClr val="7E7E7E"/>
                  </a:solidFill>
                  <a:latin typeface="EYInterstate Light"/>
                  <a:cs typeface="EYInterstate Light"/>
                </a:rPr>
                <a:t>. </a:t>
              </a:r>
              <a:r>
                <a:rPr sz="1099" spc="-71" dirty="0">
                  <a:solidFill>
                    <a:srgbClr val="7E7E7E"/>
                  </a:solidFill>
                  <a:latin typeface="EYInterstate Light"/>
                  <a:cs typeface="EYInterstate Light"/>
                </a:rPr>
                <a:t>F</a:t>
              </a:r>
              <a:r>
                <a:rPr sz="1099" dirty="0">
                  <a:solidFill>
                    <a:srgbClr val="7E7E7E"/>
                  </a:solidFill>
                  <a:latin typeface="EYInterstate Light"/>
                  <a:cs typeface="EYInterstate Light"/>
                </a:rPr>
                <a:t>or </a:t>
              </a:r>
              <a:r>
                <a:rPr sz="1099" spc="-4" dirty="0">
                  <a:solidFill>
                    <a:srgbClr val="7E7E7E"/>
                  </a:solidFill>
                  <a:latin typeface="EYInterstate Light"/>
                  <a:cs typeface="EYInterstate Light"/>
                </a:rPr>
                <a:t>m</a:t>
              </a:r>
              <a:r>
                <a:rPr sz="1099" dirty="0">
                  <a:solidFill>
                    <a:srgbClr val="7E7E7E"/>
                  </a:solidFill>
                  <a:latin typeface="EYInterstate Light"/>
                  <a:cs typeface="EYInterstate Light"/>
                </a:rPr>
                <a:t>o</a:t>
              </a:r>
              <a:r>
                <a:rPr sz="1099" spc="-20" dirty="0">
                  <a:solidFill>
                    <a:srgbClr val="7E7E7E"/>
                  </a:solidFill>
                  <a:latin typeface="EYInterstate Light"/>
                  <a:cs typeface="EYInterstate Light"/>
                </a:rPr>
                <a:t>r</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i</a:t>
              </a:r>
              <a:r>
                <a:rPr sz="1099" spc="-20" dirty="0">
                  <a:solidFill>
                    <a:srgbClr val="7E7E7E"/>
                  </a:solidFill>
                  <a:latin typeface="EYInterstate Light"/>
                  <a:cs typeface="EYInterstate Light"/>
                </a:rPr>
                <a:t>nf</a:t>
              </a:r>
              <a:r>
                <a:rPr sz="1099" dirty="0">
                  <a:solidFill>
                    <a:srgbClr val="7E7E7E"/>
                  </a:solidFill>
                  <a:latin typeface="EYInterstate Light"/>
                  <a:cs typeface="EYInterstate Light"/>
                </a:rPr>
                <a:t>ormation</a:t>
              </a:r>
              <a:r>
                <a:rPr sz="1099" spc="-4" dirty="0">
                  <a:solidFill>
                    <a:srgbClr val="7E7E7E"/>
                  </a:solidFill>
                  <a:latin typeface="EYInterstate Light"/>
                  <a:cs typeface="EYInterstate Light"/>
                </a:rPr>
                <a:t> abou</a:t>
              </a:r>
              <a:r>
                <a:rPr sz="1099" dirty="0">
                  <a:solidFill>
                    <a:srgbClr val="7E7E7E"/>
                  </a:solidFill>
                  <a:latin typeface="EYInterstate Light"/>
                  <a:cs typeface="EYInterstate Light"/>
                </a:rPr>
                <a:t>t our</a:t>
              </a:r>
              <a:r>
                <a:rPr sz="1099" spc="-4" dirty="0">
                  <a:solidFill>
                    <a:srgbClr val="7E7E7E"/>
                  </a:solidFill>
                  <a:latin typeface="EYInterstate Light"/>
                  <a:cs typeface="EYInterstate Light"/>
                </a:rPr>
                <a:t> </a:t>
              </a:r>
              <a:r>
                <a:rPr sz="1099" spc="-6" dirty="0">
                  <a:solidFill>
                    <a:srgbClr val="7E7E7E"/>
                  </a:solidFill>
                  <a:latin typeface="EYInterstate Light"/>
                  <a:cs typeface="EYInterstate Light"/>
                </a:rPr>
                <a:t>o</a:t>
              </a:r>
              <a:r>
                <a:rPr sz="1099" spc="-23" dirty="0">
                  <a:solidFill>
                    <a:srgbClr val="7E7E7E"/>
                  </a:solidFill>
                  <a:latin typeface="EYInterstate Light"/>
                  <a:cs typeface="EYInterstate Light"/>
                </a:rPr>
                <a:t>r</a:t>
              </a:r>
              <a:r>
                <a:rPr sz="1099" spc="-6" dirty="0">
                  <a:solidFill>
                    <a:srgbClr val="7E7E7E"/>
                  </a:solidFill>
                  <a:latin typeface="EYInterstate Light"/>
                  <a:cs typeface="EYInterstate Light"/>
                </a:rPr>
                <a:t>gan</a:t>
              </a:r>
              <a:r>
                <a:rPr sz="1099" spc="-4" dirty="0">
                  <a:solidFill>
                    <a:srgbClr val="7E7E7E"/>
                  </a:solidFill>
                  <a:latin typeface="EYInterstate Light"/>
                  <a:cs typeface="EYInterstate Light"/>
                </a:rPr>
                <a:t>i</a:t>
              </a:r>
              <a:r>
                <a:rPr sz="1099" spc="-12" dirty="0">
                  <a:solidFill>
                    <a:srgbClr val="7E7E7E"/>
                  </a:solidFill>
                  <a:latin typeface="EYInterstate Light"/>
                  <a:cs typeface="EYInterstate Light"/>
                </a:rPr>
                <a:t>z</a:t>
              </a:r>
              <a:r>
                <a:rPr sz="1099" spc="-6" dirty="0">
                  <a:solidFill>
                    <a:srgbClr val="7E7E7E"/>
                  </a:solidFill>
                  <a:latin typeface="EYInterstate Light"/>
                  <a:cs typeface="EYInterstate Light"/>
                </a:rPr>
                <a:t>ation</a:t>
              </a:r>
              <a:r>
                <a:rPr sz="1099" spc="-4" dirty="0">
                  <a:solidFill>
                    <a:srgbClr val="7E7E7E"/>
                  </a:solidFill>
                  <a:latin typeface="EYInterstate Light"/>
                  <a:cs typeface="EYInterstate Light"/>
                </a:rPr>
                <a:t>,</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p</a:t>
              </a:r>
              <a:r>
                <a:rPr sz="1099" dirty="0">
                  <a:solidFill>
                    <a:srgbClr val="7E7E7E"/>
                  </a:solidFill>
                  <a:latin typeface="EYInterstate Light"/>
                  <a:cs typeface="EYInterstate Light"/>
                </a:rPr>
                <a:t>l</a:t>
              </a:r>
              <a:r>
                <a:rPr sz="1099" spc="-6" dirty="0">
                  <a:solidFill>
                    <a:srgbClr val="7E7E7E"/>
                  </a:solidFill>
                  <a:latin typeface="EYInterstate Light"/>
                  <a:cs typeface="EYInterstate Light"/>
                </a:rPr>
                <a:t>e</a:t>
              </a:r>
              <a:r>
                <a:rPr sz="1099" dirty="0">
                  <a:solidFill>
                    <a:srgbClr val="7E7E7E"/>
                  </a:solidFill>
                  <a:latin typeface="EYInterstate Light"/>
                  <a:cs typeface="EYInterstate Light"/>
                </a:rPr>
                <a:t>a</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 </a:t>
              </a:r>
              <a:r>
                <a:rPr sz="1099" spc="-6" dirty="0">
                  <a:solidFill>
                    <a:srgbClr val="7E7E7E"/>
                  </a:solidFill>
                  <a:latin typeface="EYInterstate Light"/>
                  <a:cs typeface="EYInterstate Light"/>
                </a:rPr>
                <a:t>visit</a:t>
              </a:r>
              <a:r>
                <a:rPr sz="1099" spc="-4" dirty="0">
                  <a:solidFill>
                    <a:srgbClr val="7E7E7E"/>
                  </a:solidFill>
                  <a:latin typeface="EYInterstate Light"/>
                  <a:cs typeface="EYInterstate Light"/>
                </a:rPr>
                <a:t> </a:t>
              </a:r>
              <a:r>
                <a:rPr sz="1099" spc="-19" dirty="0">
                  <a:solidFill>
                    <a:srgbClr val="7E7E7E"/>
                  </a:solidFill>
                  <a:latin typeface="EYInterstate Light"/>
                  <a:cs typeface="EYInterstate Light"/>
                </a:rPr>
                <a:t>e</a:t>
              </a:r>
              <a:r>
                <a:rPr sz="1099" spc="-76" dirty="0">
                  <a:solidFill>
                    <a:srgbClr val="7E7E7E"/>
                  </a:solidFill>
                  <a:latin typeface="EYInterstate Light"/>
                  <a:cs typeface="EYInterstate Light"/>
                </a:rPr>
                <a:t>y</a:t>
              </a:r>
              <a:r>
                <a:rPr sz="1099" spc="-20" dirty="0">
                  <a:solidFill>
                    <a:srgbClr val="7E7E7E"/>
                  </a:solidFill>
                  <a:latin typeface="EYInterstate Light"/>
                  <a:cs typeface="EYInterstate Light"/>
                </a:rPr>
                <a:t>.</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om.</a:t>
              </a:r>
            </a:p>
          </p:txBody>
        </p:sp>
        <p:sp>
          <p:nvSpPr>
            <p:cNvPr id="17" name="object 6"/>
            <p:cNvSpPr txBox="1"/>
            <p:nvPr userDrawn="1"/>
          </p:nvSpPr>
          <p:spPr>
            <a:xfrm>
              <a:off x="9603408" y="5192654"/>
              <a:ext cx="4219047" cy="1025444"/>
            </a:xfrm>
            <a:prstGeom prst="rect">
              <a:avLst/>
            </a:prstGeom>
          </p:spPr>
          <p:txBody>
            <a:bodyPr vert="horz" wrap="square" lIns="0" tIns="0" rIns="0" bIns="0" rtlCol="0">
              <a:spAutoFit/>
            </a:bodyPr>
            <a:lstStyle/>
            <a:p>
              <a:pPr marL="7398" marR="2964" defTabSz="357326">
                <a:lnSpc>
                  <a:spcPct val="103800"/>
                </a:lnSpc>
              </a:pPr>
              <a:r>
                <a:rPr sz="1099" spc="-6" dirty="0">
                  <a:solidFill>
                    <a:srgbClr val="7E7E7E"/>
                  </a:solidFill>
                  <a:latin typeface="EYInterstate Light"/>
                  <a:cs typeface="EYInterstate Light"/>
                </a:rPr>
                <a:t>Ern</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mp; </a:t>
              </a:r>
              <a:r>
                <a:rPr sz="1099" spc="-91" dirty="0">
                  <a:solidFill>
                    <a:srgbClr val="7E7E7E"/>
                  </a:solidFill>
                  <a:latin typeface="EYInterstate Light"/>
                  <a:cs typeface="EYInterstate Light"/>
                </a:rPr>
                <a:t>Y</a:t>
              </a:r>
              <a:r>
                <a:rPr sz="1099" spc="-6" dirty="0">
                  <a:solidFill>
                    <a:srgbClr val="7E7E7E"/>
                  </a:solidFill>
                  <a:latin typeface="EYInterstate Light"/>
                  <a:cs typeface="EYInterstate Light"/>
                </a:rPr>
                <a:t>oung</a:t>
              </a:r>
              <a:r>
                <a:rPr sz="1099" spc="-4" dirty="0">
                  <a:solidFill>
                    <a:srgbClr val="7E7E7E"/>
                  </a:solidFill>
                  <a:latin typeface="EYInterstate Light"/>
                  <a:cs typeface="EYInterstate Light"/>
                </a:rPr>
                <a:t> LL</a:t>
              </a:r>
              <a:r>
                <a:rPr sz="1099" dirty="0">
                  <a:solidFill>
                    <a:srgbClr val="7E7E7E"/>
                  </a:solidFill>
                  <a:latin typeface="EYInterstate Light"/>
                  <a:cs typeface="EYInterstate Light"/>
                </a:rPr>
                <a:t>P </a:t>
              </a:r>
              <a:r>
                <a:rPr sz="1099" spc="-4" dirty="0">
                  <a:solidFill>
                    <a:srgbClr val="7E7E7E"/>
                  </a:solidFill>
                  <a:latin typeface="EYInterstate Light"/>
                  <a:cs typeface="EYInterstate Light"/>
                </a:rPr>
                <a:t>is</a:t>
              </a:r>
              <a:r>
                <a:rPr sz="1099" dirty="0">
                  <a:solidFill>
                    <a:srgbClr val="7E7E7E"/>
                  </a:solidFill>
                  <a:latin typeface="EYInterstate Light"/>
                  <a:cs typeface="EYInterstate Light"/>
                </a:rPr>
                <a:t> a </a:t>
              </a:r>
              <a:r>
                <a:rPr sz="1099" spc="-4" dirty="0">
                  <a:solidFill>
                    <a:srgbClr val="7E7E7E"/>
                  </a:solidFill>
                  <a:latin typeface="EYInterstate Light"/>
                  <a:cs typeface="EYInterstate Light"/>
                </a:rPr>
                <a:t>clie</a:t>
              </a:r>
              <a:r>
                <a:rPr sz="1099" spc="-12" dirty="0">
                  <a:solidFill>
                    <a:srgbClr val="7E7E7E"/>
                  </a:solidFill>
                  <a:latin typeface="EYInterstate Light"/>
                  <a:cs typeface="EYInterstate Light"/>
                </a:rPr>
                <a:t>n</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rving member ﬁrm </a:t>
              </a:r>
              <a:r>
                <a:rPr sz="1099" spc="-20" dirty="0">
                  <a:solidFill>
                    <a:srgbClr val="7E7E7E"/>
                  </a:solidFill>
                  <a:latin typeface="EYInterstate Light"/>
                  <a:cs typeface="EYInterstate Light"/>
                </a:rPr>
                <a:t>o</a:t>
              </a:r>
              <a:r>
                <a:rPr sz="1099" spc="-4" dirty="0">
                  <a:solidFill>
                    <a:srgbClr val="7E7E7E"/>
                  </a:solidFill>
                  <a:latin typeface="EYInterstate Light"/>
                  <a:cs typeface="EYInterstate Light"/>
                </a:rPr>
                <a:t>f</a:t>
              </a:r>
              <a:r>
                <a:rPr sz="1099" spc="-6" dirty="0">
                  <a:solidFill>
                    <a:srgbClr val="7E7E7E"/>
                  </a:solidFill>
                  <a:latin typeface="EYInterstate Light"/>
                  <a:cs typeface="EYInterstate Light"/>
                </a:rPr>
                <a:t> Ern</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mp; </a:t>
              </a:r>
              <a:r>
                <a:rPr sz="1099" spc="-91" dirty="0">
                  <a:solidFill>
                    <a:srgbClr val="7E7E7E"/>
                  </a:solidFill>
                  <a:latin typeface="EYInterstate Light"/>
                  <a:cs typeface="EYInterstate Light"/>
                </a:rPr>
                <a:t>Y</a:t>
              </a:r>
              <a:r>
                <a:rPr sz="1099" spc="-6" dirty="0">
                  <a:solidFill>
                    <a:srgbClr val="7E7E7E"/>
                  </a:solidFill>
                  <a:latin typeface="EYInterstate Light"/>
                  <a:cs typeface="EYInterstate Light"/>
                </a:rPr>
                <a:t>oung</a:t>
              </a:r>
              <a:r>
                <a:rPr sz="1099" spc="-4" dirty="0">
                  <a:solidFill>
                    <a:srgbClr val="7E7E7E"/>
                  </a:solidFill>
                  <a:latin typeface="EYInterstate Light"/>
                  <a:cs typeface="EYInterstate Light"/>
                </a:rPr>
                <a:t> Gl</a:t>
              </a:r>
              <a:r>
                <a:rPr sz="1099" dirty="0">
                  <a:solidFill>
                    <a:srgbClr val="7E7E7E"/>
                  </a:solidFill>
                  <a:latin typeface="EYInterstate Light"/>
                  <a:cs typeface="EYInterstate Light"/>
                </a:rPr>
                <a:t>o</a:t>
              </a:r>
              <a:r>
                <a:rPr sz="1099" spc="-6" dirty="0">
                  <a:solidFill>
                    <a:srgbClr val="7E7E7E"/>
                  </a:solidFill>
                  <a:latin typeface="EYInterstate Light"/>
                  <a:cs typeface="EYInterstate Light"/>
                </a:rPr>
                <a:t>b</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4" dirty="0">
                  <a:solidFill>
                    <a:srgbClr val="7E7E7E"/>
                  </a:solidFill>
                  <a:latin typeface="EYInterstate Light"/>
                  <a:cs typeface="EYInterstate Light"/>
                </a:rPr>
                <a:t>Lim</a:t>
              </a:r>
              <a:r>
                <a:rPr sz="1099" dirty="0">
                  <a:solidFill>
                    <a:srgbClr val="7E7E7E"/>
                  </a:solidFill>
                  <a:latin typeface="EYInterstate Light"/>
                  <a:cs typeface="EYInterstate Light"/>
                </a:rPr>
                <a:t>i</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d op</a:t>
              </a:r>
              <a:r>
                <a:rPr sz="1099" spc="-4" dirty="0">
                  <a:solidFill>
                    <a:srgbClr val="7E7E7E"/>
                  </a:solidFill>
                  <a:latin typeface="EYInterstate Light"/>
                  <a:cs typeface="EYInterstate Light"/>
                </a:rPr>
                <a:t>e</a:t>
              </a:r>
              <a:r>
                <a:rPr sz="1099" spc="-28" dirty="0">
                  <a:solidFill>
                    <a:srgbClr val="7E7E7E"/>
                  </a:solidFill>
                  <a:latin typeface="EYInterstate Light"/>
                  <a:cs typeface="EYInterstate Light"/>
                </a:rPr>
                <a:t>r</a:t>
              </a:r>
              <a:r>
                <a:rPr sz="1099" spc="-4" dirty="0">
                  <a:solidFill>
                    <a:srgbClr val="7E7E7E"/>
                  </a:solidFill>
                  <a:latin typeface="EYInterstate Light"/>
                  <a:cs typeface="EYInterstate Light"/>
                </a:rPr>
                <a:t>atin</a:t>
              </a:r>
              <a:r>
                <a:rPr sz="1099" dirty="0">
                  <a:solidFill>
                    <a:srgbClr val="7E7E7E"/>
                  </a:solidFill>
                  <a:latin typeface="EYInterstate Light"/>
                  <a:cs typeface="EYInterstate Light"/>
                </a:rPr>
                <a:t>g </a:t>
              </a:r>
              <a:r>
                <a:rPr sz="1099" spc="-6" dirty="0">
                  <a:solidFill>
                    <a:srgbClr val="7E7E7E"/>
                  </a:solidFill>
                  <a:latin typeface="EYInterstate Light"/>
                  <a:cs typeface="EYInterstate Light"/>
                </a:rPr>
                <a:t>in</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th</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U</a:t>
              </a:r>
              <a:r>
                <a:rPr sz="1099" spc="-19" dirty="0">
                  <a:solidFill>
                    <a:srgbClr val="7E7E7E"/>
                  </a:solidFill>
                  <a:latin typeface="EYInterstate Light"/>
                  <a:cs typeface="EYInterstate Light"/>
                </a:rPr>
                <a:t>S</a:t>
              </a:r>
              <a:r>
                <a:rPr sz="1099" dirty="0">
                  <a:solidFill>
                    <a:srgbClr val="7E7E7E"/>
                  </a:solidFill>
                  <a:latin typeface="EYInterstate Light"/>
                  <a:cs typeface="EYInterstate Light"/>
                </a:rPr>
                <a:t>.</a:t>
              </a:r>
            </a:p>
            <a:p>
              <a:pPr defTabSz="357326">
                <a:spcBef>
                  <a:spcPts val="6"/>
                </a:spcBef>
              </a:pPr>
              <a:endParaRPr sz="1569" dirty="0">
                <a:solidFill>
                  <a:srgbClr val="7E7E7E"/>
                </a:solidFill>
                <a:latin typeface="Times New Roman"/>
                <a:cs typeface="Times New Roman"/>
              </a:endParaRPr>
            </a:p>
            <a:p>
              <a:pPr marL="7398" marR="216798" defTabSz="357326">
                <a:lnSpc>
                  <a:spcPct val="103800"/>
                </a:lnSpc>
              </a:pPr>
              <a:r>
                <a:rPr sz="1099" spc="-6" dirty="0">
                  <a:solidFill>
                    <a:srgbClr val="7E7E7E"/>
                  </a:solidFill>
                  <a:latin typeface="EYInterstate Light"/>
                  <a:cs typeface="EYInterstate Light"/>
                </a:rPr>
                <a:t>© </a:t>
              </a:r>
              <a:r>
                <a:rPr sz="1099" spc="-4" dirty="0">
                  <a:solidFill>
                    <a:srgbClr val="7E7E7E"/>
                  </a:solidFill>
                  <a:latin typeface="EYInterstate Light"/>
                  <a:cs typeface="EYInterstate Light"/>
                </a:rPr>
                <a:t>201</a:t>
              </a:r>
              <a:r>
                <a:rPr sz="1099" dirty="0">
                  <a:solidFill>
                    <a:srgbClr val="7E7E7E"/>
                  </a:solidFill>
                  <a:latin typeface="EYInterstate Light"/>
                  <a:cs typeface="EYInterstate Light"/>
                </a:rPr>
                <a:t>5 </a:t>
              </a:r>
              <a:r>
                <a:rPr sz="1099" spc="-6" dirty="0">
                  <a:solidFill>
                    <a:srgbClr val="7E7E7E"/>
                  </a:solidFill>
                  <a:latin typeface="EYInterstate Light"/>
                  <a:cs typeface="EYInterstate Light"/>
                </a:rPr>
                <a:t>Ern</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mp; </a:t>
              </a:r>
              <a:r>
                <a:rPr sz="1099" spc="-91" dirty="0">
                  <a:solidFill>
                    <a:srgbClr val="7E7E7E"/>
                  </a:solidFill>
                  <a:latin typeface="EYInterstate Light"/>
                  <a:cs typeface="EYInterstate Light"/>
                </a:rPr>
                <a:t>Y</a:t>
              </a:r>
              <a:r>
                <a:rPr sz="1099" spc="-6" dirty="0">
                  <a:solidFill>
                    <a:srgbClr val="7E7E7E"/>
                  </a:solidFill>
                  <a:latin typeface="EYInterstate Light"/>
                  <a:cs typeface="EYInterstate Light"/>
                </a:rPr>
                <a:t>oung</a:t>
              </a:r>
              <a:r>
                <a:rPr sz="1099" spc="-4" dirty="0">
                  <a:solidFill>
                    <a:srgbClr val="7E7E7E"/>
                  </a:solidFill>
                  <a:latin typeface="EYInterstate Light"/>
                  <a:cs typeface="EYInterstate Light"/>
                </a:rPr>
                <a:t> LL</a:t>
              </a:r>
              <a:r>
                <a:rPr sz="1099" spc="-100" dirty="0">
                  <a:solidFill>
                    <a:srgbClr val="7E7E7E"/>
                  </a:solidFill>
                  <a:latin typeface="EYInterstate Light"/>
                  <a:cs typeface="EYInterstate Light"/>
                </a:rPr>
                <a:t>P</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Al</a:t>
              </a:r>
              <a:r>
                <a:rPr sz="1099" dirty="0">
                  <a:solidFill>
                    <a:srgbClr val="7E7E7E"/>
                  </a:solidFill>
                  <a:latin typeface="EYInterstate Light"/>
                  <a:cs typeface="EYInterstate Light"/>
                </a:rPr>
                <a:t>l </a:t>
              </a:r>
              <a:r>
                <a:rPr sz="1099" spc="4" dirty="0">
                  <a:solidFill>
                    <a:srgbClr val="7E7E7E"/>
                  </a:solidFill>
                  <a:latin typeface="EYInterstate Light"/>
                  <a:cs typeface="EYInterstate Light"/>
                </a:rPr>
                <a:t>R</a:t>
              </a:r>
              <a:r>
                <a:rPr sz="1099" dirty="0">
                  <a:solidFill>
                    <a:srgbClr val="7E7E7E"/>
                  </a:solidFill>
                  <a:latin typeface="EYInterstate Light"/>
                  <a:cs typeface="EYInterstate Light"/>
                </a:rPr>
                <a:t>i</a:t>
              </a:r>
              <a:r>
                <a:rPr sz="1099" spc="-4" dirty="0">
                  <a:solidFill>
                    <a:srgbClr val="7E7E7E"/>
                  </a:solidFill>
                  <a:latin typeface="EYInterstate Light"/>
                  <a:cs typeface="EYInterstate Light"/>
                </a:rPr>
                <a:t>g</a:t>
              </a:r>
              <a:r>
                <a:rPr sz="1099" spc="-12" dirty="0">
                  <a:solidFill>
                    <a:srgbClr val="7E7E7E"/>
                  </a:solidFill>
                  <a:latin typeface="EYInterstate Light"/>
                  <a:cs typeface="EYInterstate Light"/>
                </a:rPr>
                <a:t>h</a:t>
              </a:r>
              <a:r>
                <a:rPr sz="1099" spc="-6" dirty="0">
                  <a:solidFill>
                    <a:srgbClr val="7E7E7E"/>
                  </a:solidFill>
                  <a:latin typeface="EYInterstate Light"/>
                  <a:cs typeface="EYInterstate Light"/>
                </a:rPr>
                <a:t>ts</a:t>
              </a:r>
              <a:r>
                <a:rPr sz="1099" dirty="0">
                  <a:solidFill>
                    <a:srgbClr val="7E7E7E"/>
                  </a:solidFill>
                  <a:latin typeface="EYInterstate Light"/>
                  <a:cs typeface="EYInterstate Light"/>
                </a:rPr>
                <a:t> </a:t>
              </a:r>
              <a:r>
                <a:rPr sz="1099" spc="-25" dirty="0">
                  <a:solidFill>
                    <a:srgbClr val="7E7E7E"/>
                  </a:solidFill>
                  <a:latin typeface="EYInterstate Light"/>
                  <a:cs typeface="EYInterstate Light"/>
                </a:rPr>
                <a:t>R</a:t>
              </a:r>
              <a:r>
                <a:rPr sz="1099" spc="-16" dirty="0">
                  <a:solidFill>
                    <a:srgbClr val="7E7E7E"/>
                  </a:solidFill>
                  <a:latin typeface="EYInterstate Light"/>
                  <a:cs typeface="EYInterstate Light"/>
                </a:rPr>
                <a:t>es</a:t>
              </a:r>
              <a:r>
                <a:rPr sz="1099" dirty="0">
                  <a:solidFill>
                    <a:srgbClr val="7E7E7E"/>
                  </a:solidFill>
                  <a:latin typeface="EYInterstate Light"/>
                  <a:cs typeface="EYInterstate Light"/>
                </a:rPr>
                <a:t>e</a:t>
              </a:r>
              <a:r>
                <a:rPr sz="1099" spc="-4" dirty="0">
                  <a:solidFill>
                    <a:srgbClr val="7E7E7E"/>
                  </a:solidFill>
                  <a:latin typeface="EYInterstate Light"/>
                  <a:cs typeface="EYInterstate Light"/>
                </a:rPr>
                <a:t>r</a:t>
              </a:r>
              <a:r>
                <a:rPr sz="1099" spc="-23" dirty="0">
                  <a:solidFill>
                    <a:srgbClr val="7E7E7E"/>
                  </a:solidFill>
                  <a:latin typeface="EYInterstate Light"/>
                  <a:cs typeface="EYInterstate Light"/>
                </a:rPr>
                <a:t>v</a:t>
              </a:r>
              <a:r>
                <a:rPr sz="1099" spc="-4" dirty="0">
                  <a:solidFill>
                    <a:srgbClr val="7E7E7E"/>
                  </a:solidFill>
                  <a:latin typeface="EYInterstate Light"/>
                  <a:cs typeface="EYInterstate Light"/>
                </a:rPr>
                <a:t>ed. </a:t>
              </a:r>
              <a:endParaRPr lang="x-none" sz="1099" spc="-4" dirty="0">
                <a:solidFill>
                  <a:srgbClr val="7E7E7E"/>
                </a:solidFill>
                <a:latin typeface="EYInterstate Light"/>
                <a:cs typeface="EYInterstate Light"/>
              </a:endParaRPr>
            </a:p>
            <a:p>
              <a:pPr marL="7398" marR="216798" defTabSz="357326">
                <a:lnSpc>
                  <a:spcPct val="103800"/>
                </a:lnSpc>
              </a:pPr>
              <a:r>
                <a:rPr sz="1099" spc="-19" dirty="0">
                  <a:solidFill>
                    <a:srgbClr val="7E7E7E"/>
                  </a:solidFill>
                  <a:latin typeface="EYInterstate Light"/>
                  <a:cs typeface="EYInterstate Light"/>
                </a:rPr>
                <a:t>e</a:t>
              </a:r>
              <a:r>
                <a:rPr sz="1099" spc="-76" dirty="0">
                  <a:solidFill>
                    <a:srgbClr val="7E7E7E"/>
                  </a:solidFill>
                  <a:latin typeface="EYInterstate Light"/>
                  <a:cs typeface="EYInterstate Light"/>
                </a:rPr>
                <a:t>y</a:t>
              </a:r>
              <a:r>
                <a:rPr sz="1099" spc="-20" dirty="0">
                  <a:solidFill>
                    <a:srgbClr val="7E7E7E"/>
                  </a:solidFill>
                  <a:latin typeface="EYInterstate Light"/>
                  <a:cs typeface="EYInterstate Light"/>
                </a:rPr>
                <a:t>.</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om</a:t>
              </a:r>
            </a:p>
          </p:txBody>
        </p:sp>
      </p:grpSp>
      <p:grpSp>
        <p:nvGrpSpPr>
          <p:cNvPr id="28" name="Group 27"/>
          <p:cNvGrpSpPr/>
          <p:nvPr userDrawn="1"/>
        </p:nvGrpSpPr>
        <p:grpSpPr>
          <a:xfrm>
            <a:off x="11063887" y="6566385"/>
            <a:ext cx="253155" cy="142043"/>
            <a:chOff x="13523766" y="8227524"/>
            <a:chExt cx="390353" cy="238776"/>
          </a:xfrm>
        </p:grpSpPr>
        <p:sp>
          <p:nvSpPr>
            <p:cNvPr id="29"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sp>
          <p:nvSpPr>
            <p:cNvPr id="30"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grpSp>
      <p:sp>
        <p:nvSpPr>
          <p:cNvPr id="31"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32" name="Holder 4"/>
          <p:cNvSpPr>
            <a:spLocks noGrp="1"/>
          </p:cNvSpPr>
          <p:nvPr>
            <p:ph type="ftr" sz="quarter" idx="3"/>
          </p:nvPr>
        </p:nvSpPr>
        <p:spPr>
          <a:xfrm>
            <a:off x="11357011" y="659826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40803885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10" name="Holder 4"/>
          <p:cNvSpPr>
            <a:spLocks noGrp="1"/>
          </p:cNvSpPr>
          <p:nvPr>
            <p:ph type="ftr" sz="quarter" idx="3"/>
          </p:nvPr>
        </p:nvSpPr>
        <p:spPr>
          <a:xfrm>
            <a:off x="11357011" y="659826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Tree>
    <p:extLst>
      <p:ext uri="{BB962C8B-B14F-4D97-AF65-F5344CB8AC3E}">
        <p14:creationId xmlns:p14="http://schemas.microsoft.com/office/powerpoint/2010/main" val="266590448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598" y="643613"/>
            <a:ext cx="10841973" cy="555079"/>
          </a:xfrm>
        </p:spPr>
        <p:txBody>
          <a:bodyPr/>
          <a:lstStyle/>
          <a:p>
            <a:r>
              <a:rPr lang="en-US"/>
              <a:t>Click to edit Master title style</a:t>
            </a:r>
            <a:endParaRPr lang="en-GB"/>
          </a:p>
        </p:txBody>
      </p:sp>
      <p:sp>
        <p:nvSpPr>
          <p:cNvPr id="4" name="Slide Number Placeholder 3"/>
          <p:cNvSpPr>
            <a:spLocks noGrp="1"/>
          </p:cNvSpPr>
          <p:nvPr>
            <p:ph type="sldNum" sz="quarter" idx="11"/>
          </p:nvPr>
        </p:nvSpPr>
        <p:spPr>
          <a:xfrm>
            <a:off x="10952439" y="6396468"/>
            <a:ext cx="557764" cy="130606"/>
          </a:xfrm>
          <a:prstGeom prst="rect">
            <a:avLst/>
          </a:prstGeom>
        </p:spPr>
        <p:txBody>
          <a:bodyPr vert="horz" lIns="0" tIns="0" rIns="0" bIns="0" rtlCol="0" anchor="ctr"/>
          <a:lstStyle>
            <a:lvl1pPr marL="0" algn="r" defTabSz="937410" rtl="0" eaLnBrk="1" latinLnBrk="0" hangingPunct="1">
              <a:defRPr lang="en-GB" sz="629" kern="1200" smtClean="0">
                <a:solidFill>
                  <a:schemeClr val="tx1">
                    <a:tint val="75000"/>
                  </a:schemeClr>
                </a:solidFill>
                <a:latin typeface="+mn-lt"/>
                <a:ea typeface="+mn-ea"/>
                <a:cs typeface="+mn-cs"/>
              </a:defRPr>
            </a:lvl1pPr>
          </a:lstStyle>
          <a:p>
            <a:fld id="{F9A56513-F998-4254-9CEB-F507EE6F3742}" type="slidenum">
              <a:rPr>
                <a:solidFill>
                  <a:srgbClr val="808080">
                    <a:tint val="75000"/>
                  </a:srgbClr>
                </a:solidFill>
              </a:rPr>
              <a:pPr/>
              <a:t>‹#›</a:t>
            </a:fld>
            <a:endParaRPr dirty="0">
              <a:solidFill>
                <a:srgbClr val="808080">
                  <a:tint val="75000"/>
                </a:srgbClr>
              </a:solidFill>
            </a:endParaRPr>
          </a:p>
        </p:txBody>
      </p:sp>
      <p:sp>
        <p:nvSpPr>
          <p:cNvPr id="5" name="Footer Placeholder 2"/>
          <p:cNvSpPr>
            <a:spLocks noGrp="1"/>
          </p:cNvSpPr>
          <p:nvPr>
            <p:ph type="ftr" sz="quarter" idx="12"/>
          </p:nvPr>
        </p:nvSpPr>
        <p:spPr>
          <a:xfrm>
            <a:off x="3833166" y="6543771"/>
            <a:ext cx="4515084" cy="85293"/>
          </a:xfrm>
        </p:spPr>
        <p:txBody>
          <a:bodyPr/>
          <a:lstStyle/>
          <a:p>
            <a:r>
              <a:rPr lang="en-GB" dirty="0">
                <a:solidFill>
                  <a:srgbClr val="808080"/>
                </a:solidFill>
              </a:rPr>
              <a:t>GBM the Future of Learning</a:t>
            </a:r>
          </a:p>
        </p:txBody>
      </p:sp>
    </p:spTree>
    <p:extLst>
      <p:ext uri="{BB962C8B-B14F-4D97-AF65-F5344CB8AC3E}">
        <p14:creationId xmlns:p14="http://schemas.microsoft.com/office/powerpoint/2010/main" val="93478581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40860647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 name="Date Placeholder 1"/>
          <p:cNvSpPr>
            <a:spLocks noGrp="1"/>
          </p:cNvSpPr>
          <p:nvPr>
            <p:ph type="dt" sz="half" idx="10"/>
          </p:nvPr>
        </p:nvSpPr>
        <p:spPr/>
        <p:txBody>
          <a:bodyPr/>
          <a:lstStyle/>
          <a:p>
            <a:r>
              <a:rPr lang="en-US" dirty="0"/>
              <a:t>1 January 2014</a:t>
            </a:r>
          </a:p>
        </p:txBody>
      </p:sp>
      <p:sp>
        <p:nvSpPr>
          <p:cNvPr id="3" name="Footer Placeholder 2"/>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52864780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33863604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p>
            <a:r>
              <a:rPr lang="en-US" dirty="0">
                <a:solidFill>
                  <a:srgbClr val="646464"/>
                </a:solidFill>
              </a:rPr>
              <a:t>1 January 2014</a:t>
            </a:r>
          </a:p>
        </p:txBody>
      </p:sp>
      <p:sp>
        <p:nvSpPr>
          <p:cNvPr id="9" name="Footer Placeholder 8"/>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19378230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dirty="0">
                <a:solidFill>
                  <a:srgbClr val="646464"/>
                </a:solidFill>
              </a:rPr>
              <a:t>1 January 2014</a:t>
            </a:r>
          </a:p>
        </p:txBody>
      </p:sp>
      <p:sp>
        <p:nvSpPr>
          <p:cNvPr id="6" name="Footer Placeholder 5"/>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311864557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dirty="0">
                <a:solidFill>
                  <a:srgbClr val="646464"/>
                </a:solidFill>
              </a:rPr>
              <a:t>1 January 2014</a:t>
            </a:r>
          </a:p>
        </p:txBody>
      </p:sp>
      <p:sp>
        <p:nvSpPr>
          <p:cNvPr id="6" name="Footer Placeholder 5"/>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1152137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a:solidFill>
                  <a:srgbClr val="646464"/>
                </a:solidFill>
              </a:rPr>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239239388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a:solidFill>
                  <a:srgbClr val="646464"/>
                </a:solidFill>
              </a:rPr>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336463677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dirty="0">
                <a:solidFill>
                  <a:srgbClr val="646464"/>
                </a:solidFill>
              </a:rPr>
              <a:t>1 January 2014</a:t>
            </a: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408872799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4"/>
          </p:nvPr>
        </p:nvSpPr>
        <p:spPr/>
        <p:txBody>
          <a:bodyPr/>
          <a:lstStyle/>
          <a:p>
            <a:r>
              <a:rPr lang="en-US" dirty="0">
                <a:solidFill>
                  <a:srgbClr val="646464"/>
                </a:solidFill>
              </a:rPr>
              <a:t>1 January 2014</a:t>
            </a:r>
          </a:p>
        </p:txBody>
      </p:sp>
      <p:sp>
        <p:nvSpPr>
          <p:cNvPr id="7" name="Footer Placeholder 6"/>
          <p:cNvSpPr>
            <a:spLocks noGrp="1"/>
          </p:cNvSpPr>
          <p:nvPr>
            <p:ph type="ftr" sz="quarter" idx="15"/>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372937869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dirty="0">
                <a:solidFill>
                  <a:srgbClr val="646464"/>
                </a:solidFill>
              </a:rPr>
              <a:t>1 January 2014</a:t>
            </a: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106442624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5" y="6349031"/>
            <a:ext cx="908844" cy="495475"/>
          </a:xfrm>
          <a:prstGeom prst="rect">
            <a:avLst/>
          </a:prstGeom>
        </p:spPr>
      </p:pic>
    </p:spTree>
    <p:extLst>
      <p:ext uri="{BB962C8B-B14F-4D97-AF65-F5344CB8AC3E}">
        <p14:creationId xmlns:p14="http://schemas.microsoft.com/office/powerpoint/2010/main" val="23110858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dirty="0"/>
              <a:t>1 January 2014</a:t>
            </a:r>
          </a:p>
        </p:txBody>
      </p:sp>
      <p:sp>
        <p:nvSpPr>
          <p:cNvPr id="3" name="Footer Placeholder 2"/>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335068083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46464"/>
              </a:solidFill>
            </a:endParaRPr>
          </a:p>
        </p:txBody>
      </p:sp>
      <p:sp>
        <p:nvSpPr>
          <p:cNvPr id="2" name="Date Placeholder 1"/>
          <p:cNvSpPr>
            <a:spLocks noGrp="1"/>
          </p:cNvSpPr>
          <p:nvPr>
            <p:ph type="dt" sz="half" idx="10"/>
          </p:nvPr>
        </p:nvSpPr>
        <p:spPr/>
        <p:txBody>
          <a:bodyPr/>
          <a:lstStyle/>
          <a:p>
            <a:r>
              <a:rPr lang="en-US" dirty="0">
                <a:solidFill>
                  <a:srgbClr val="646464"/>
                </a:solidFill>
              </a:rPr>
              <a:t>1 January 2014</a:t>
            </a:r>
          </a:p>
        </p:txBody>
      </p:sp>
      <p:sp>
        <p:nvSpPr>
          <p:cNvPr id="3" name="Footer Placeholder 2"/>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255284077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2" name="Date Placeholder 1"/>
          <p:cNvSpPr>
            <a:spLocks noGrp="1"/>
          </p:cNvSpPr>
          <p:nvPr>
            <p:ph type="dt" sz="half" idx="10"/>
          </p:nvPr>
        </p:nvSpPr>
        <p:spPr/>
        <p:txBody>
          <a:bodyPr/>
          <a:lstStyle/>
          <a:p>
            <a:r>
              <a:rPr lang="en-US" dirty="0">
                <a:solidFill>
                  <a:srgbClr val="646464"/>
                </a:solidFill>
              </a:rPr>
              <a:t>1 January 2014</a:t>
            </a:r>
          </a:p>
        </p:txBody>
      </p:sp>
      <p:sp>
        <p:nvSpPr>
          <p:cNvPr id="3" name="Footer Placeholder 2"/>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286827308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dirty="0">
              <a:solidFill>
                <a:srgbClr val="646464"/>
              </a:solidFill>
            </a:endParaRPr>
          </a:p>
        </p:txBody>
      </p:sp>
      <p:sp>
        <p:nvSpPr>
          <p:cNvPr id="2" name="Date Placeholder 1"/>
          <p:cNvSpPr>
            <a:spLocks noGrp="1"/>
          </p:cNvSpPr>
          <p:nvPr>
            <p:ph type="dt" sz="half" idx="10"/>
          </p:nvPr>
        </p:nvSpPr>
        <p:spPr/>
        <p:txBody>
          <a:bodyPr/>
          <a:lstStyle/>
          <a:p>
            <a:r>
              <a:rPr lang="en-US" dirty="0">
                <a:solidFill>
                  <a:srgbClr val="646464"/>
                </a:solidFill>
              </a:rPr>
              <a:t>1 January 2014</a:t>
            </a:r>
          </a:p>
        </p:txBody>
      </p:sp>
      <p:sp>
        <p:nvSpPr>
          <p:cNvPr id="3" name="Footer Placeholder 2"/>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368482981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4642265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276417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6240">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0" y="411748"/>
            <a:ext cx="10700873" cy="424964"/>
          </a:xfrm>
          <a:prstGeom prst="rect">
            <a:avLst/>
          </a:prstGeom>
        </p:spPr>
        <p:txBody>
          <a:bodyPr lIns="0" tIns="0" rIns="0" bIns="0" anchor="ctr" anchorCtr="0">
            <a:noAutofit/>
          </a:bodyPr>
          <a:lstStyle>
            <a:lvl1pPr marL="0" marR="0" indent="0" algn="l" defTabSz="906194" rtl="0" eaLnBrk="1" fontAlgn="auto" latinLnBrk="0" hangingPunct="1">
              <a:lnSpc>
                <a:spcPts val="2081"/>
              </a:lnSpc>
              <a:spcBef>
                <a:spcPct val="0"/>
              </a:spcBef>
              <a:spcAft>
                <a:spcPts val="0"/>
              </a:spcAft>
              <a:buClrTx/>
              <a:buSzTx/>
              <a:buFontTx/>
              <a:buNone/>
              <a:tabLst/>
              <a:defRPr kumimoji="0" lang="en-US" sz="2510"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0" y="1131889"/>
            <a:ext cx="10700873" cy="5393456"/>
          </a:xfrm>
          <a:prstGeom prst="rect">
            <a:avLst/>
          </a:prstGeom>
        </p:spPr>
        <p:txBody>
          <a:bodyPr vert="horz" lIns="0" tIns="0" rIns="0" bIns="0"/>
          <a:lstStyle>
            <a:lvl1pPr marL="0" indent="0">
              <a:lnSpc>
                <a:spcPct val="130000"/>
              </a:lnSpc>
              <a:spcBef>
                <a:spcPts val="0"/>
              </a:spcBef>
              <a:buFontTx/>
              <a:buNone/>
              <a:defRPr sz="1487"/>
            </a:lvl1pPr>
            <a:lvl2pPr marL="0" indent="-178386">
              <a:lnSpc>
                <a:spcPct val="130000"/>
              </a:lnSpc>
              <a:spcBef>
                <a:spcPts val="0"/>
              </a:spcBef>
              <a:buFont typeface="Arial"/>
              <a:buChar char="•"/>
              <a:defRPr sz="1487"/>
            </a:lvl2pPr>
            <a:lvl3pPr marL="535154" indent="-178386">
              <a:lnSpc>
                <a:spcPct val="130000"/>
              </a:lnSpc>
              <a:spcBef>
                <a:spcPts val="0"/>
              </a:spcBef>
              <a:defRPr sz="1487"/>
            </a:lvl3pPr>
            <a:lvl4pPr marL="891925" indent="-178386">
              <a:lnSpc>
                <a:spcPct val="130000"/>
              </a:lnSpc>
              <a:spcBef>
                <a:spcPts val="0"/>
              </a:spcBef>
              <a:buFont typeface="Arial"/>
              <a:buChar char="•"/>
              <a:defRPr sz="1487"/>
            </a:lvl4pPr>
            <a:lvl5pPr marL="1248695" indent="-178386">
              <a:lnSpc>
                <a:spcPct val="130000"/>
              </a:lnSpc>
              <a:spcBef>
                <a:spcPts val="0"/>
              </a:spcBef>
              <a:buFont typeface="Arial"/>
              <a:buChar char="•"/>
              <a:defRPr sz="1487"/>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3" y="847745"/>
            <a:ext cx="10699829" cy="275460"/>
          </a:xfrm>
          <a:prstGeom prst="rect">
            <a:avLst/>
          </a:prstGeom>
        </p:spPr>
        <p:txBody>
          <a:bodyPr wrap="square" lIns="0" rIns="0">
            <a:spAutoFit/>
          </a:bodyPr>
          <a:lstStyle>
            <a:lvl1pPr marL="0" indent="0">
              <a:buNone/>
              <a:defRPr sz="1190" baseline="0">
                <a:solidFill>
                  <a:schemeClr val="accent2"/>
                </a:solidFill>
              </a:defRPr>
            </a:lvl1pPr>
            <a:lvl2pPr>
              <a:defRPr sz="1850"/>
            </a:lvl2pPr>
            <a:lvl3pPr>
              <a:defRPr sz="1850"/>
            </a:lvl3pPr>
            <a:lvl4pPr>
              <a:defRPr sz="1850"/>
            </a:lvl4pPr>
            <a:lvl5pPr>
              <a:defRPr sz="1850"/>
            </a:lvl5pPr>
          </a:lstStyle>
          <a:p>
            <a:pPr lvl="0"/>
            <a:r>
              <a:rPr lang="en-US" dirty="0"/>
              <a:t>Click to edit sub-title</a:t>
            </a:r>
          </a:p>
        </p:txBody>
      </p:sp>
    </p:spTree>
    <p:extLst>
      <p:ext uri="{BB962C8B-B14F-4D97-AF65-F5344CB8AC3E}">
        <p14:creationId xmlns:p14="http://schemas.microsoft.com/office/powerpoint/2010/main" val="369765856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4"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170533208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7"/>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dirty="0">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9"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69374072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9"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p>
            <a:r>
              <a:rPr lang="en-US" dirty="0">
                <a:solidFill>
                  <a:srgbClr val="646464"/>
                </a:solidFill>
              </a:rPr>
              <a:t>1 January 2014</a:t>
            </a:r>
          </a:p>
        </p:txBody>
      </p:sp>
      <p:sp>
        <p:nvSpPr>
          <p:cNvPr id="9" name="Footer Placeholder 8"/>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134418623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dirty="0">
                <a:solidFill>
                  <a:srgbClr val="646464"/>
                </a:solidFill>
              </a:rPr>
              <a:t>1 January 2014</a:t>
            </a:r>
          </a:p>
        </p:txBody>
      </p:sp>
      <p:sp>
        <p:nvSpPr>
          <p:cNvPr id="6" name="Footer Placeholder 5"/>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1410847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dirty="0">
                <a:solidFill>
                  <a:srgbClr val="646464"/>
                </a:solidFill>
              </a:rPr>
              <a:t>1 January 2014</a:t>
            </a:r>
          </a:p>
        </p:txBody>
      </p:sp>
      <p:sp>
        <p:nvSpPr>
          <p:cNvPr id="6" name="Footer Placeholder 5"/>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12669266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a:solidFill>
                  <a:srgbClr val="646464"/>
                </a:solidFill>
              </a:rPr>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163033793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a:solidFill>
                  <a:srgbClr val="646464"/>
                </a:solidFill>
              </a:rPr>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35990695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7"/>
            <a:ext cx="5387605"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9" y="1425577"/>
            <a:ext cx="5387605"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dirty="0">
                <a:solidFill>
                  <a:srgbClr val="646464"/>
                </a:solidFill>
              </a:rPr>
              <a:t>1 January 2014</a:t>
            </a: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411146924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4"/>
          </p:nvPr>
        </p:nvSpPr>
        <p:spPr/>
        <p:txBody>
          <a:bodyPr/>
          <a:lstStyle/>
          <a:p>
            <a:r>
              <a:rPr lang="en-US" dirty="0">
                <a:solidFill>
                  <a:srgbClr val="646464"/>
                </a:solidFill>
              </a:rPr>
              <a:t>1 January 2014</a:t>
            </a:r>
          </a:p>
        </p:txBody>
      </p:sp>
      <p:sp>
        <p:nvSpPr>
          <p:cNvPr id="7" name="Footer Placeholder 6"/>
          <p:cNvSpPr>
            <a:spLocks noGrp="1"/>
          </p:cNvSpPr>
          <p:nvPr>
            <p:ph type="ftr" sz="quarter" idx="15"/>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30803187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7"/>
            <a:ext cx="10978515"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dirty="0">
                <a:solidFill>
                  <a:srgbClr val="646464"/>
                </a:solidFill>
              </a:rPr>
              <a:t>1 January 2014</a:t>
            </a: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427295249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6" y="6349033"/>
            <a:ext cx="908844" cy="495475"/>
          </a:xfrm>
          <a:prstGeom prst="rect">
            <a:avLst/>
          </a:prstGeom>
        </p:spPr>
      </p:pic>
    </p:spTree>
    <p:extLst>
      <p:ext uri="{BB962C8B-B14F-4D97-AF65-F5344CB8AC3E}">
        <p14:creationId xmlns:p14="http://schemas.microsoft.com/office/powerpoint/2010/main" val="400103638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646464"/>
              </a:solidFill>
            </a:endParaRPr>
          </a:p>
        </p:txBody>
      </p:sp>
      <p:sp>
        <p:nvSpPr>
          <p:cNvPr id="2" name="Date Placeholder 1"/>
          <p:cNvSpPr>
            <a:spLocks noGrp="1"/>
          </p:cNvSpPr>
          <p:nvPr>
            <p:ph type="dt" sz="half" idx="10"/>
          </p:nvPr>
        </p:nvSpPr>
        <p:spPr/>
        <p:txBody>
          <a:bodyPr/>
          <a:lstStyle/>
          <a:p>
            <a:r>
              <a:rPr lang="en-US" dirty="0">
                <a:solidFill>
                  <a:srgbClr val="646464"/>
                </a:solidFill>
              </a:rPr>
              <a:t>1 January 2014</a:t>
            </a:r>
          </a:p>
        </p:txBody>
      </p:sp>
      <p:sp>
        <p:nvSpPr>
          <p:cNvPr id="3" name="Footer Placeholder 2"/>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24598886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000000"/>
              </a:solidFill>
            </a:endParaRPr>
          </a:p>
        </p:txBody>
      </p:sp>
      <p:sp>
        <p:nvSpPr>
          <p:cNvPr id="2" name="Date Placeholder 1"/>
          <p:cNvSpPr>
            <a:spLocks noGrp="1"/>
          </p:cNvSpPr>
          <p:nvPr>
            <p:ph type="dt" sz="half" idx="10"/>
          </p:nvPr>
        </p:nvSpPr>
        <p:spPr/>
        <p:txBody>
          <a:bodyPr/>
          <a:lstStyle/>
          <a:p>
            <a:r>
              <a:rPr lang="en-US" dirty="0">
                <a:solidFill>
                  <a:srgbClr val="646464"/>
                </a:solidFill>
              </a:rPr>
              <a:t>1 January 2014</a:t>
            </a:r>
          </a:p>
        </p:txBody>
      </p:sp>
      <p:sp>
        <p:nvSpPr>
          <p:cNvPr id="3" name="Footer Placeholder 2"/>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337268729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
        <p:nvSpPr>
          <p:cNvPr id="2" name="Date Placeholder 1"/>
          <p:cNvSpPr>
            <a:spLocks noGrp="1"/>
          </p:cNvSpPr>
          <p:nvPr>
            <p:ph type="dt" sz="half" idx="10"/>
          </p:nvPr>
        </p:nvSpPr>
        <p:spPr/>
        <p:txBody>
          <a:bodyPr/>
          <a:lstStyle/>
          <a:p>
            <a:r>
              <a:rPr lang="en-US" dirty="0">
                <a:solidFill>
                  <a:srgbClr val="646464"/>
                </a:solidFill>
              </a:rPr>
              <a:t>1 January 2014</a:t>
            </a:r>
          </a:p>
        </p:txBody>
      </p:sp>
      <p:sp>
        <p:nvSpPr>
          <p:cNvPr id="3" name="Footer Placeholder 2"/>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1343896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4" name="Group 3"/>
          <p:cNvGrpSpPr/>
          <p:nvPr userDrawn="1"/>
        </p:nvGrpSpPr>
        <p:grpSpPr>
          <a:xfrm>
            <a:off x="11002100" y="159871"/>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7" name="TextBox 6"/>
          <p:cNvSpPr txBox="1"/>
          <p:nvPr userDrawn="1"/>
        </p:nvSpPr>
        <p:spPr>
          <a:xfrm>
            <a:off x="9392030" y="6467747"/>
            <a:ext cx="2202730" cy="201168"/>
          </a:xfrm>
          <a:prstGeom prst="rect">
            <a:avLst/>
          </a:prstGeom>
          <a:noFill/>
        </p:spPr>
        <p:txBody>
          <a:bodyPr wrap="square" lIns="0" tIns="0" rIns="0" bIns="0" rtlCol="0" anchor="ctr" anchorCtr="0">
            <a:noAutofit/>
          </a:bodyPr>
          <a:lstStyle/>
          <a:p>
            <a:pPr algn="r"/>
            <a:r>
              <a:rPr lang="en-GB" sz="1000" dirty="0">
                <a:solidFill>
                  <a:srgbClr val="4B4B4B"/>
                </a:solidFill>
                <a:latin typeface="EYInterstate Light" panose="02000506000000020004" pitchFamily="2" charset="0"/>
              </a:rPr>
              <a:t>Gouvernement du Canada     </a:t>
            </a:r>
            <a:r>
              <a:rPr lang="en-GB" sz="1000" dirty="0">
                <a:solidFill>
                  <a:srgbClr val="E60F2D"/>
                </a:solidFill>
                <a:latin typeface="EYInterstate Light" panose="02000506000000020004" pitchFamily="2" charset="0"/>
              </a:rPr>
              <a:t>| </a:t>
            </a:r>
            <a:r>
              <a:rPr lang="en-GB" sz="1000" dirty="0">
                <a:solidFill>
                  <a:srgbClr val="4B4B4B"/>
                </a:solidFill>
                <a:latin typeface="EYInterstate Light" panose="02000506000000020004" pitchFamily="2" charset="0"/>
              </a:rPr>
              <a:t> </a:t>
            </a:r>
            <a:fld id="{78599078-7B3E-4FD4-8231-DF9D2D9BAF24}" type="slidenum">
              <a:rPr lang="en-GB" sz="1000" smtClean="0">
                <a:solidFill>
                  <a:srgbClr val="4B4B4B"/>
                </a:solidFill>
                <a:latin typeface="EYInterstate Light" panose="02000506000000020004" pitchFamily="2" charset="0"/>
              </a:rPr>
              <a:t>‹#›</a:t>
            </a:fld>
            <a:endParaRPr lang="en-GB" sz="1000" dirty="0">
              <a:solidFill>
                <a:srgbClr val="4B4B4B"/>
              </a:solidFill>
              <a:latin typeface="EYInterstate Light" panose="02000506000000020004" pitchFamily="2" charset="0"/>
            </a:endParaRPr>
          </a:p>
        </p:txBody>
      </p:sp>
    </p:spTree>
    <p:extLst>
      <p:ext uri="{BB962C8B-B14F-4D97-AF65-F5344CB8AC3E}">
        <p14:creationId xmlns:p14="http://schemas.microsoft.com/office/powerpoint/2010/main" val="3276718961"/>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6505076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4" name="Group 3"/>
          <p:cNvGrpSpPr/>
          <p:nvPr userDrawn="1"/>
        </p:nvGrpSpPr>
        <p:grpSpPr>
          <a:xfrm>
            <a:off x="11002100" y="159872"/>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7" name="TextBox 6"/>
          <p:cNvSpPr txBox="1"/>
          <p:nvPr userDrawn="1"/>
        </p:nvSpPr>
        <p:spPr>
          <a:xfrm>
            <a:off x="9392030" y="6467747"/>
            <a:ext cx="2202730" cy="201168"/>
          </a:xfrm>
          <a:prstGeom prst="rect">
            <a:avLst/>
          </a:prstGeom>
          <a:noFill/>
        </p:spPr>
        <p:txBody>
          <a:bodyPr wrap="square" lIns="0" tIns="0" rIns="0" bIns="0" rtlCol="0" anchor="ctr" anchorCtr="0">
            <a:noAutofit/>
          </a:bodyPr>
          <a:lstStyle/>
          <a:p>
            <a:pPr algn="r"/>
            <a:r>
              <a:rPr lang="fr-CA" sz="999" noProof="0" dirty="0">
                <a:solidFill>
                  <a:srgbClr val="4B4B4B"/>
                </a:solidFill>
                <a:latin typeface="EYInterstate Light" panose="02000506000000020004" pitchFamily="2" charset="0"/>
              </a:rPr>
              <a:t>Gouvernement du Canada     </a:t>
            </a:r>
            <a:r>
              <a:rPr lang="fr-CA" sz="999" noProof="0" dirty="0">
                <a:solidFill>
                  <a:srgbClr val="E60F2D"/>
                </a:solidFill>
                <a:latin typeface="EYInterstate Light" panose="02000506000000020004" pitchFamily="2" charset="0"/>
              </a:rPr>
              <a:t>| </a:t>
            </a:r>
            <a:r>
              <a:rPr lang="fr-CA" sz="999" noProof="0" dirty="0">
                <a:solidFill>
                  <a:srgbClr val="4B4B4B"/>
                </a:solidFill>
                <a:latin typeface="EYInterstate Light" panose="02000506000000020004" pitchFamily="2" charset="0"/>
              </a:rPr>
              <a:t> </a:t>
            </a:r>
            <a:fld id="{78599078-7B3E-4FD4-8231-DF9D2D9BAF24}" type="slidenum">
              <a:rPr lang="fr-CA" sz="999" noProof="0" smtClean="0">
                <a:solidFill>
                  <a:srgbClr val="4B4B4B"/>
                </a:solidFill>
                <a:latin typeface="EYInterstate Light" panose="02000506000000020004" pitchFamily="2" charset="0"/>
              </a:rPr>
              <a:pPr algn="r"/>
              <a:t>‹#›</a:t>
            </a:fld>
            <a:endParaRPr lang="fr-CA" sz="999" noProof="0" dirty="0">
              <a:solidFill>
                <a:srgbClr val="4B4B4B"/>
              </a:solidFill>
              <a:latin typeface="EYInterstate Light" panose="02000506000000020004" pitchFamily="2" charset="0"/>
            </a:endParaRPr>
          </a:p>
        </p:txBody>
      </p:sp>
    </p:spTree>
    <p:extLst>
      <p:ext uri="{BB962C8B-B14F-4D97-AF65-F5344CB8AC3E}">
        <p14:creationId xmlns:p14="http://schemas.microsoft.com/office/powerpoint/2010/main" val="28982924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5787">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1" y="411748"/>
            <a:ext cx="10700873" cy="424964"/>
          </a:xfrm>
          <a:prstGeom prst="rect">
            <a:avLst/>
          </a:prstGeom>
        </p:spPr>
        <p:txBody>
          <a:bodyPr lIns="0" tIns="0" rIns="0" bIns="0" anchor="ctr" anchorCtr="0">
            <a:noAutofit/>
          </a:bodyPr>
          <a:lstStyle>
            <a:lvl1pPr marL="0" marR="0" indent="0" algn="l" defTabSz="905741" rtl="0" eaLnBrk="1" fontAlgn="auto" latinLnBrk="0" hangingPunct="1">
              <a:lnSpc>
                <a:spcPts val="2080"/>
              </a:lnSpc>
              <a:spcBef>
                <a:spcPct val="0"/>
              </a:spcBef>
              <a:spcAft>
                <a:spcPts val="0"/>
              </a:spcAft>
              <a:buClrTx/>
              <a:buSzTx/>
              <a:buFontTx/>
              <a:buNone/>
              <a:tabLst/>
              <a:defRPr kumimoji="0" lang="en-US" sz="2509"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1" y="1131889"/>
            <a:ext cx="10700873" cy="5393456"/>
          </a:xfrm>
          <a:prstGeom prst="rect">
            <a:avLst/>
          </a:prstGeom>
        </p:spPr>
        <p:txBody>
          <a:bodyPr vert="horz" lIns="0" tIns="0" rIns="0" bIns="0"/>
          <a:lstStyle>
            <a:lvl1pPr marL="0" indent="0">
              <a:lnSpc>
                <a:spcPct val="130000"/>
              </a:lnSpc>
              <a:spcBef>
                <a:spcPts val="0"/>
              </a:spcBef>
              <a:buFontTx/>
              <a:buNone/>
              <a:defRPr sz="1486"/>
            </a:lvl1pPr>
            <a:lvl2pPr marL="0" indent="-178297">
              <a:lnSpc>
                <a:spcPct val="130000"/>
              </a:lnSpc>
              <a:spcBef>
                <a:spcPts val="0"/>
              </a:spcBef>
              <a:buFont typeface="Arial"/>
              <a:buChar char="•"/>
              <a:defRPr sz="1486"/>
            </a:lvl2pPr>
            <a:lvl3pPr marL="534886" indent="-178297">
              <a:lnSpc>
                <a:spcPct val="130000"/>
              </a:lnSpc>
              <a:spcBef>
                <a:spcPts val="0"/>
              </a:spcBef>
              <a:defRPr sz="1486"/>
            </a:lvl3pPr>
            <a:lvl4pPr marL="891479" indent="-178297">
              <a:lnSpc>
                <a:spcPct val="130000"/>
              </a:lnSpc>
              <a:spcBef>
                <a:spcPts val="0"/>
              </a:spcBef>
              <a:buFont typeface="Arial"/>
              <a:buChar char="•"/>
              <a:defRPr sz="1486"/>
            </a:lvl4pPr>
            <a:lvl5pPr marL="1248071" indent="-178297">
              <a:lnSpc>
                <a:spcPct val="130000"/>
              </a:lnSpc>
              <a:spcBef>
                <a:spcPts val="0"/>
              </a:spcBef>
              <a:buFont typeface="Arial"/>
              <a:buChar char="•"/>
              <a:defRPr sz="1486"/>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4" y="847746"/>
            <a:ext cx="10699829" cy="182999"/>
          </a:xfrm>
          <a:prstGeom prst="rect">
            <a:avLst/>
          </a:prstGeom>
        </p:spPr>
        <p:txBody>
          <a:bodyPr wrap="square" lIns="0" rIns="0">
            <a:spAutoFit/>
          </a:bodyPr>
          <a:lstStyle>
            <a:lvl1pPr marL="0" indent="0">
              <a:buNone/>
              <a:defRPr sz="1189" baseline="0">
                <a:solidFill>
                  <a:schemeClr val="accent2"/>
                </a:solidFill>
              </a:defRPr>
            </a:lvl1pPr>
            <a:lvl2pPr>
              <a:defRPr sz="1849"/>
            </a:lvl2pPr>
            <a:lvl3pPr>
              <a:defRPr sz="1849"/>
            </a:lvl3pPr>
            <a:lvl4pPr>
              <a:defRPr sz="1849"/>
            </a:lvl4pPr>
            <a:lvl5pPr>
              <a:defRPr sz="1849"/>
            </a:lvl5pPr>
          </a:lstStyle>
          <a:p>
            <a:pPr lvl="0"/>
            <a:r>
              <a:rPr lang="en-US" dirty="0"/>
              <a:t>Click to edit sub-title</a:t>
            </a:r>
          </a:p>
        </p:txBody>
      </p:sp>
    </p:spTree>
    <p:extLst>
      <p:ext uri="{BB962C8B-B14F-4D97-AF65-F5344CB8AC3E}">
        <p14:creationId xmlns:p14="http://schemas.microsoft.com/office/powerpoint/2010/main" val="27625574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6240">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0" y="411748"/>
            <a:ext cx="10700873" cy="424964"/>
          </a:xfrm>
          <a:prstGeom prst="rect">
            <a:avLst/>
          </a:prstGeom>
        </p:spPr>
        <p:txBody>
          <a:bodyPr lIns="0" tIns="0" rIns="0" bIns="0" anchor="ctr" anchorCtr="0">
            <a:noAutofit/>
          </a:bodyPr>
          <a:lstStyle>
            <a:lvl1pPr marL="0" marR="0" indent="0" algn="l" defTabSz="906194" rtl="0" eaLnBrk="1" fontAlgn="auto" latinLnBrk="0" hangingPunct="1">
              <a:lnSpc>
                <a:spcPts val="2081"/>
              </a:lnSpc>
              <a:spcBef>
                <a:spcPct val="0"/>
              </a:spcBef>
              <a:spcAft>
                <a:spcPts val="0"/>
              </a:spcAft>
              <a:buClrTx/>
              <a:buSzTx/>
              <a:buFontTx/>
              <a:buNone/>
              <a:tabLst/>
              <a:defRPr kumimoji="0" lang="en-US" sz="2510"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0" y="1131889"/>
            <a:ext cx="10700873" cy="5393456"/>
          </a:xfrm>
          <a:prstGeom prst="rect">
            <a:avLst/>
          </a:prstGeom>
        </p:spPr>
        <p:txBody>
          <a:bodyPr vert="horz" lIns="0" tIns="0" rIns="0" bIns="0"/>
          <a:lstStyle>
            <a:lvl1pPr marL="0" indent="0">
              <a:lnSpc>
                <a:spcPct val="130000"/>
              </a:lnSpc>
              <a:spcBef>
                <a:spcPts val="0"/>
              </a:spcBef>
              <a:buFontTx/>
              <a:buNone/>
              <a:defRPr sz="1487"/>
            </a:lvl1pPr>
            <a:lvl2pPr marL="0" indent="-178386">
              <a:lnSpc>
                <a:spcPct val="130000"/>
              </a:lnSpc>
              <a:spcBef>
                <a:spcPts val="0"/>
              </a:spcBef>
              <a:buFont typeface="Arial"/>
              <a:buChar char="•"/>
              <a:defRPr sz="1487"/>
            </a:lvl2pPr>
            <a:lvl3pPr marL="535154" indent="-178386">
              <a:lnSpc>
                <a:spcPct val="130000"/>
              </a:lnSpc>
              <a:spcBef>
                <a:spcPts val="0"/>
              </a:spcBef>
              <a:defRPr sz="1487"/>
            </a:lvl3pPr>
            <a:lvl4pPr marL="891925" indent="-178386">
              <a:lnSpc>
                <a:spcPct val="130000"/>
              </a:lnSpc>
              <a:spcBef>
                <a:spcPts val="0"/>
              </a:spcBef>
              <a:buFont typeface="Arial"/>
              <a:buChar char="•"/>
              <a:defRPr sz="1487"/>
            </a:lvl4pPr>
            <a:lvl5pPr marL="1248695" indent="-178386">
              <a:lnSpc>
                <a:spcPct val="130000"/>
              </a:lnSpc>
              <a:spcBef>
                <a:spcPts val="0"/>
              </a:spcBef>
              <a:buFont typeface="Arial"/>
              <a:buChar char="•"/>
              <a:defRPr sz="1487"/>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3" y="847745"/>
            <a:ext cx="10699829" cy="275460"/>
          </a:xfrm>
          <a:prstGeom prst="rect">
            <a:avLst/>
          </a:prstGeom>
        </p:spPr>
        <p:txBody>
          <a:bodyPr wrap="square" lIns="0" rIns="0">
            <a:spAutoFit/>
          </a:bodyPr>
          <a:lstStyle>
            <a:lvl1pPr marL="0" indent="0">
              <a:buNone/>
              <a:defRPr sz="1190" baseline="0">
                <a:solidFill>
                  <a:schemeClr val="accent2"/>
                </a:solidFill>
              </a:defRPr>
            </a:lvl1pPr>
            <a:lvl2pPr>
              <a:defRPr sz="1850"/>
            </a:lvl2pPr>
            <a:lvl3pPr>
              <a:defRPr sz="1850"/>
            </a:lvl3pPr>
            <a:lvl4pPr>
              <a:defRPr sz="1850"/>
            </a:lvl4pPr>
            <a:lvl5pPr>
              <a:defRPr sz="1850"/>
            </a:lvl5pPr>
          </a:lstStyle>
          <a:p>
            <a:pPr lvl="0"/>
            <a:r>
              <a:rPr lang="en-US" dirty="0"/>
              <a:t>Click to edit sub-title</a:t>
            </a:r>
          </a:p>
        </p:txBody>
      </p:sp>
    </p:spTree>
    <p:extLst>
      <p:ext uri="{BB962C8B-B14F-4D97-AF65-F5344CB8AC3E}">
        <p14:creationId xmlns:p14="http://schemas.microsoft.com/office/powerpoint/2010/main" val="34066569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
        <p:nvSpPr>
          <p:cNvPr id="9"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15950"/>
            <a:ext cx="7731125" cy="3575050"/>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
        <p:nvSpPr>
          <p:cNvPr id="19" name="Title 1"/>
          <p:cNvSpPr>
            <a:spLocks noGrp="1"/>
          </p:cNvSpPr>
          <p:nvPr>
            <p:ph type="ctrTitle"/>
          </p:nvPr>
        </p:nvSpPr>
        <p:spPr>
          <a:xfrm>
            <a:off x="1005840" y="2240280"/>
            <a:ext cx="6879463"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20"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a:t>Click to edit Master subtitle style</a:t>
            </a:r>
            <a:endParaRPr lang="en-GB" dirty="0"/>
          </a:p>
        </p:txBody>
      </p:sp>
    </p:spTree>
    <p:extLst>
      <p:ext uri="{BB962C8B-B14F-4D97-AF65-F5344CB8AC3E}">
        <p14:creationId xmlns:p14="http://schemas.microsoft.com/office/powerpoint/2010/main" val="29295070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503" y="384047"/>
            <a:ext cx="5413248" cy="4572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pic>
        <p:nvPicPr>
          <p:cNvPr id="19" name="Picture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
        <p:nvSpPr>
          <p:cNvPr id="20" name="Title 1"/>
          <p:cNvSpPr>
            <a:spLocks noGrp="1"/>
          </p:cNvSpPr>
          <p:nvPr>
            <p:ph type="ctrTitle"/>
          </p:nvPr>
        </p:nvSpPr>
        <p:spPr>
          <a:xfrm>
            <a:off x="996696" y="1691640"/>
            <a:ext cx="4597400"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21"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752123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568748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11665512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39193151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dirty="0"/>
              <a:t>1 January 2014</a:t>
            </a:r>
          </a:p>
        </p:txBody>
      </p:sp>
      <p:sp>
        <p:nvSpPr>
          <p:cNvPr id="9" name="Footer Placeholder 8"/>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76933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dirty="0"/>
              <a:t>1 January 2014</a:t>
            </a:r>
          </a:p>
        </p:txBody>
      </p:sp>
      <p:sp>
        <p:nvSpPr>
          <p:cNvPr id="9" name="Footer Placeholder 8"/>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4204050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dirty="0"/>
              <a:t>1 January 2014</a:t>
            </a:r>
          </a:p>
        </p:txBody>
      </p:sp>
      <p:sp>
        <p:nvSpPr>
          <p:cNvPr id="10" name="Footer Placeholder 9"/>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1614642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Date Placeholder 11"/>
          <p:cNvSpPr>
            <a:spLocks noGrp="1"/>
          </p:cNvSpPr>
          <p:nvPr>
            <p:ph type="dt" sz="half" idx="14"/>
          </p:nvPr>
        </p:nvSpPr>
        <p:spPr/>
        <p:txBody>
          <a:bodyPr/>
          <a:lstStyle/>
          <a:p>
            <a:r>
              <a:rPr lang="en-US" dirty="0"/>
              <a:t>1 January 2014</a:t>
            </a:r>
          </a:p>
        </p:txBody>
      </p:sp>
      <p:sp>
        <p:nvSpPr>
          <p:cNvPr id="13" name="Footer Placeholder 12"/>
          <p:cNvSpPr>
            <a:spLocks noGrp="1"/>
          </p:cNvSpPr>
          <p:nvPr>
            <p:ph type="ftr" sz="quarter" idx="15"/>
          </p:nvPr>
        </p:nvSpPr>
        <p:spPr/>
        <p:txBody>
          <a:bodyPr/>
          <a:lstStyle/>
          <a:p>
            <a:r>
              <a:rPr lang="en-GB" dirty="0"/>
              <a:t>Presentation title</a:t>
            </a:r>
          </a:p>
        </p:txBody>
      </p:sp>
      <p:sp>
        <p:nvSpPr>
          <p:cNvPr id="14"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dirty="0"/>
              <a:t>Click to edit Master text styles</a:t>
            </a:r>
          </a:p>
        </p:txBody>
      </p:sp>
      <p:sp>
        <p:nvSpPr>
          <p:cNvPr id="17"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dirty="0"/>
              <a:t>Click to edit Master text styles</a:t>
            </a:r>
          </a:p>
        </p:txBody>
      </p:sp>
      <p:sp>
        <p:nvSpPr>
          <p:cNvPr id="1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Tree>
    <p:extLst>
      <p:ext uri="{BB962C8B-B14F-4D97-AF65-F5344CB8AC3E}">
        <p14:creationId xmlns:p14="http://schemas.microsoft.com/office/powerpoint/2010/main" val="1875879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dirty="0"/>
              <a:t>1 January 2014</a:t>
            </a:r>
          </a:p>
        </p:txBody>
      </p:sp>
      <p:sp>
        <p:nvSpPr>
          <p:cNvPr id="9" name="Footer Placeholder 8"/>
          <p:cNvSpPr>
            <a:spLocks noGrp="1"/>
          </p:cNvSpPr>
          <p:nvPr>
            <p:ph type="ftr" sz="quarter" idx="11"/>
          </p:nvPr>
        </p:nvSpPr>
        <p:spPr/>
        <p:txBody>
          <a:bodyPr/>
          <a:lstStyle/>
          <a:p>
            <a:r>
              <a:rPr lang="en-GB" dirty="0"/>
              <a:t>Presentation tit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dirty="0"/>
              <a:t>1 January 2014</a:t>
            </a:r>
          </a:p>
        </p:txBody>
      </p:sp>
      <p:sp>
        <p:nvSpPr>
          <p:cNvPr id="7" name="Footer Placeholder 6"/>
          <p:cNvSpPr>
            <a:spLocks noGrp="1"/>
          </p:cNvSpPr>
          <p:nvPr>
            <p:ph type="ftr" sz="quarter" idx="13"/>
          </p:nvPr>
        </p:nvSpPr>
        <p:spPr/>
        <p:txBody>
          <a:bodyPr/>
          <a:lstStyle/>
          <a:p>
            <a:r>
              <a:rPr lang="en-GB" dirty="0"/>
              <a:t>Presentation title</a:t>
            </a:r>
          </a:p>
        </p:txBody>
      </p:sp>
    </p:spTree>
    <p:extLst>
      <p:ext uri="{BB962C8B-B14F-4D97-AF65-F5344CB8AC3E}">
        <p14:creationId xmlns:p14="http://schemas.microsoft.com/office/powerpoint/2010/main" val="2615625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5" name="Date Placeholder 4"/>
          <p:cNvSpPr>
            <a:spLocks noGrp="1"/>
          </p:cNvSpPr>
          <p:nvPr>
            <p:ph type="dt" sz="half" idx="10"/>
          </p:nvPr>
        </p:nvSpPr>
        <p:spPr/>
        <p:txBody>
          <a:bodyPr/>
          <a:lstStyle/>
          <a:p>
            <a:r>
              <a:rPr lang="en-US" dirty="0"/>
              <a:t>1 January 2014</a:t>
            </a: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04483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5" name="Date Placeholder 4"/>
          <p:cNvSpPr>
            <a:spLocks noGrp="1"/>
          </p:cNvSpPr>
          <p:nvPr>
            <p:ph type="dt" sz="half" idx="10"/>
          </p:nvPr>
        </p:nvSpPr>
        <p:spPr/>
        <p:txBody>
          <a:bodyPr/>
          <a:lstStyle/>
          <a:p>
            <a:r>
              <a:rPr lang="en-US" dirty="0"/>
              <a:t>1 January 2014</a:t>
            </a: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39308065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4"/>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Date Placeholder 5"/>
          <p:cNvSpPr>
            <a:spLocks noGrp="1"/>
          </p:cNvSpPr>
          <p:nvPr>
            <p:ph type="dt" sz="half" idx="10"/>
          </p:nvPr>
        </p:nvSpPr>
        <p:spPr/>
        <p:txBody>
          <a:bodyPr/>
          <a:lstStyle/>
          <a:p>
            <a:r>
              <a:rPr lang="en-US" dirty="0"/>
              <a:t>1 January 2014</a:t>
            </a: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39308065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dirty="0"/>
              <a:t>1 January 2014</a:t>
            </a:r>
          </a:p>
        </p:txBody>
      </p:sp>
      <p:sp>
        <p:nvSpPr>
          <p:cNvPr id="5" name="Footer Placeholder 4"/>
          <p:cNvSpPr>
            <a:spLocks noGrp="1"/>
          </p:cNvSpPr>
          <p:nvPr>
            <p:ph type="ftr" sz="quarter" idx="11"/>
          </p:nvPr>
        </p:nvSpPr>
        <p:spPr/>
        <p:txBody>
          <a:bodyPr/>
          <a:lstStyle/>
          <a:p>
            <a:r>
              <a:rPr lang="en-GB" dirty="0"/>
              <a:t>Presentation title</a:t>
            </a:r>
          </a:p>
        </p:txBody>
      </p:sp>
      <p:sp>
        <p:nvSpPr>
          <p:cNvPr id="6"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6611261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
        <p:nvSpPr>
          <p:cNvPr id="6"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2648" y="612648"/>
            <a:ext cx="7731674" cy="3575304"/>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
        <p:nvSpPr>
          <p:cNvPr id="18" name="Title 1"/>
          <p:cNvSpPr>
            <a:spLocks noGrp="1"/>
          </p:cNvSpPr>
          <p:nvPr>
            <p:ph type="ctrTitle"/>
          </p:nvPr>
        </p:nvSpPr>
        <p:spPr>
          <a:xfrm>
            <a:off x="1005840" y="2240280"/>
            <a:ext cx="6879463"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19"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929507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8861187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4838" y="385087"/>
            <a:ext cx="5413375" cy="4572000"/>
          </a:xfrm>
          <a:prstGeom prst="rect">
            <a:avLst/>
          </a:prstGeom>
        </p:spPr>
      </p:pic>
      <p:sp>
        <p:nvSpPr>
          <p:cNvPr id="21" name="Title 1"/>
          <p:cNvSpPr>
            <a:spLocks noGrp="1"/>
          </p:cNvSpPr>
          <p:nvPr>
            <p:ph type="ctrTitle"/>
          </p:nvPr>
        </p:nvSpPr>
        <p:spPr>
          <a:xfrm>
            <a:off x="996696" y="1691640"/>
            <a:ext cx="4597400"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22"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1752123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Cover with beam (legacy)">
    <p:spTree>
      <p:nvGrpSpPr>
        <p:cNvPr id="1" name=""/>
        <p:cNvGrpSpPr/>
        <p:nvPr/>
      </p:nvGrpSpPr>
      <p:grpSpPr>
        <a:xfrm>
          <a:off x="0" y="0"/>
          <a:ext cx="0" cy="0"/>
          <a:chOff x="0" y="0"/>
          <a:chExt cx="0" cy="0"/>
        </a:xfrm>
      </p:grpSpPr>
      <p:grpSp>
        <p:nvGrpSpPr>
          <p:cNvPr id="11" name="Group 10"/>
          <p:cNvGrpSpPr/>
          <p:nvPr userDrawn="1"/>
        </p:nvGrpSpPr>
        <p:grpSpPr>
          <a:xfrm>
            <a:off x="0" y="1628775"/>
            <a:ext cx="12208264" cy="4475445"/>
            <a:chOff x="0" y="1628775"/>
            <a:chExt cx="12208264" cy="4475445"/>
          </a:xfrm>
        </p:grpSpPr>
        <p:pic>
          <p:nvPicPr>
            <p:cNvPr id="13" name="Picture 2"/>
            <p:cNvPicPr>
              <a:picLocks noChangeAspect="1" noChangeArrowheads="1"/>
            </p:cNvPicPr>
            <p:nvPr userDrawn="1"/>
          </p:nvPicPr>
          <p:blipFill>
            <a:blip r:embed="rId2" cstate="print"/>
            <a:srcRect/>
            <a:stretch>
              <a:fillRect/>
            </a:stretch>
          </p:blipFill>
          <p:spPr bwMode="black">
            <a:xfrm>
              <a:off x="0" y="4291200"/>
              <a:ext cx="3088437" cy="1813020"/>
            </a:xfrm>
            <a:prstGeom prst="rect">
              <a:avLst/>
            </a:prstGeom>
            <a:noFill/>
            <a:ln w="9525">
              <a:noFill/>
              <a:miter lim="800000"/>
              <a:headEnd/>
              <a:tailEnd/>
            </a:ln>
            <a:effectLst/>
          </p:spPr>
        </p:pic>
        <p:sp>
          <p:nvSpPr>
            <p:cNvPr id="16" name="Freeform 8"/>
            <p:cNvSpPr>
              <a:spLocks/>
            </p:cNvSpPr>
            <p:nvPr userDrawn="1"/>
          </p:nvSpPr>
          <p:spPr bwMode="gray">
            <a:xfrm>
              <a:off x="3082575"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dirty="0"/>
              <a:t>1 January 2014</a:t>
            </a:r>
          </a:p>
        </p:txBody>
      </p:sp>
      <p:sp>
        <p:nvSpPr>
          <p:cNvPr id="10" name="Footer Placeholder 9"/>
          <p:cNvSpPr>
            <a:spLocks noGrp="1"/>
          </p:cNvSpPr>
          <p:nvPr>
            <p:ph type="ftr" sz="quarter" idx="11"/>
          </p:nvPr>
        </p:nvSpPr>
        <p:spPr/>
        <p:txBody>
          <a:bodyPr/>
          <a:lstStyle/>
          <a:p>
            <a:r>
              <a:rPr lang="en-GB" dirty="0"/>
              <a:t>Presentation title</a:t>
            </a:r>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11665512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3919315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dirty="0"/>
              <a:t>1 January 2014</a:t>
            </a:r>
          </a:p>
        </p:txBody>
      </p:sp>
      <p:sp>
        <p:nvSpPr>
          <p:cNvPr id="9" name="Footer Placeholder 8"/>
          <p:cNvSpPr>
            <a:spLocks noGrp="1"/>
          </p:cNvSpPr>
          <p:nvPr>
            <p:ph type="ftr" sz="quarter" idx="11"/>
          </p:nvPr>
        </p:nvSpPr>
        <p:spPr/>
        <p:txBody>
          <a:bodyPr/>
          <a:lstStyle/>
          <a:p>
            <a:r>
              <a:rPr lang="en-GB" dirty="0"/>
              <a:t>Presentation title</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dirty="0"/>
              <a:t>1 January 2014</a:t>
            </a:r>
          </a:p>
        </p:txBody>
      </p:sp>
      <p:sp>
        <p:nvSpPr>
          <p:cNvPr id="9" name="Footer Placeholder 8"/>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470838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dirty="0"/>
              <a:t>1 January 2014</a:t>
            </a:r>
          </a:p>
        </p:txBody>
      </p:sp>
      <p:sp>
        <p:nvSpPr>
          <p:cNvPr id="10" name="Footer Placeholder 9"/>
          <p:cNvSpPr>
            <a:spLocks noGrp="1"/>
          </p:cNvSpPr>
          <p:nvPr>
            <p:ph type="ftr" sz="quarter" idx="11"/>
          </p:nvPr>
        </p:nvSpPr>
        <p:spPr/>
        <p:txBody>
          <a:bodyPr/>
          <a:lstStyle/>
          <a:p>
            <a:r>
              <a:rPr lang="en-GB" dirty="0"/>
              <a:t>Presentation title</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5575"/>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425575"/>
            <a:ext cx="5393208"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3" name="Date Placeholder 12"/>
          <p:cNvSpPr>
            <a:spLocks noGrp="1"/>
          </p:cNvSpPr>
          <p:nvPr>
            <p:ph type="dt" sz="half" idx="14"/>
          </p:nvPr>
        </p:nvSpPr>
        <p:spPr/>
        <p:txBody>
          <a:bodyPr/>
          <a:lstStyle/>
          <a:p>
            <a:r>
              <a:rPr lang="en-US" dirty="0"/>
              <a:t>1 January 2014</a:t>
            </a:r>
          </a:p>
        </p:txBody>
      </p:sp>
      <p:sp>
        <p:nvSpPr>
          <p:cNvPr id="14" name="Footer Placeholder 13"/>
          <p:cNvSpPr>
            <a:spLocks noGrp="1"/>
          </p:cNvSpPr>
          <p:nvPr>
            <p:ph type="ftr" sz="quarter" idx="15"/>
          </p:nvPr>
        </p:nvSpPr>
        <p:spPr/>
        <p:txBody>
          <a:bodyPr/>
          <a:lstStyle/>
          <a:p>
            <a:r>
              <a:rPr lang="en-GB" dirty="0"/>
              <a:t>Presentation title</a:t>
            </a:r>
          </a:p>
        </p:txBody>
      </p:sp>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dirty="0"/>
              <a:t>1 January 2014</a:t>
            </a:r>
          </a:p>
        </p:txBody>
      </p:sp>
      <p:sp>
        <p:nvSpPr>
          <p:cNvPr id="7" name="Footer Placeholder 6"/>
          <p:cNvSpPr>
            <a:spLocks noGrp="1"/>
          </p:cNvSpPr>
          <p:nvPr>
            <p:ph type="ftr" sz="quarter" idx="13"/>
          </p:nvPr>
        </p:nvSpPr>
        <p:spPr/>
        <p:txBody>
          <a:bodyPr/>
          <a:lstStyle/>
          <a:p>
            <a:r>
              <a:rPr lang="en-GB" dirty="0"/>
              <a:t>Presentation title</a:t>
            </a:r>
          </a:p>
        </p:txBody>
      </p:sp>
    </p:spTree>
    <p:extLst>
      <p:ext uri="{BB962C8B-B14F-4D97-AF65-F5344CB8AC3E}">
        <p14:creationId xmlns:p14="http://schemas.microsoft.com/office/powerpoint/2010/main" val="3913011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41191799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5" name="Date Placeholder 4"/>
          <p:cNvSpPr>
            <a:spLocks noGrp="1"/>
          </p:cNvSpPr>
          <p:nvPr>
            <p:ph type="dt" sz="half" idx="10"/>
          </p:nvPr>
        </p:nvSpPr>
        <p:spPr/>
        <p:txBody>
          <a:bodyPr/>
          <a:lstStyle/>
          <a:p>
            <a:r>
              <a:rPr lang="en-US" dirty="0"/>
              <a:t>1 January 2014</a:t>
            </a: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199994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5" name="Date Placeholder 4"/>
          <p:cNvSpPr>
            <a:spLocks noGrp="1"/>
          </p:cNvSpPr>
          <p:nvPr>
            <p:ph type="dt" sz="half" idx="10"/>
          </p:nvPr>
        </p:nvSpPr>
        <p:spPr/>
        <p:txBody>
          <a:bodyPr/>
          <a:lstStyle/>
          <a:p>
            <a:r>
              <a:rPr lang="en-US" dirty="0"/>
              <a:t>1 January 2014</a:t>
            </a: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5286478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4"/>
          <p:cNvSpPr>
            <a:spLocks/>
          </p:cNvSpPr>
          <p:nvPr userDrawn="1"/>
        </p:nvSpPr>
        <p:spPr bwMode="gray">
          <a:xfrm>
            <a:off x="594996"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Date Placeholder 5"/>
          <p:cNvSpPr>
            <a:spLocks noGrp="1"/>
          </p:cNvSpPr>
          <p:nvPr>
            <p:ph type="dt" sz="half" idx="10"/>
          </p:nvPr>
        </p:nvSpPr>
        <p:spPr/>
        <p:txBody>
          <a:bodyPr/>
          <a:lstStyle/>
          <a:p>
            <a:r>
              <a:rPr lang="en-US" dirty="0"/>
              <a:t>1 January 2014</a:t>
            </a: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5286478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5" name="Footer Placeholder 4"/>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33506808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2648" y="612648"/>
            <a:ext cx="7731125" cy="3575050"/>
          </a:xfrm>
          <a:prstGeom prst="rect">
            <a:avLst/>
          </a:prstGeom>
        </p:spPr>
      </p:pic>
      <p:sp>
        <p:nvSpPr>
          <p:cNvPr id="15" name="Title 1"/>
          <p:cNvSpPr>
            <a:spLocks noGrp="1"/>
          </p:cNvSpPr>
          <p:nvPr>
            <p:ph type="ctrTitle"/>
          </p:nvPr>
        </p:nvSpPr>
        <p:spPr>
          <a:xfrm>
            <a:off x="1005840" y="2240280"/>
            <a:ext cx="6879463" cy="860400"/>
          </a:xfrm>
          <a:prstGeom prst="rect">
            <a:avLst/>
          </a:prstGeom>
        </p:spPr>
        <p:txBody>
          <a:bodyPr/>
          <a:lstStyle>
            <a:lvl1pPr>
              <a:defRPr>
                <a:solidFill>
                  <a:schemeClr val="tx1">
                    <a:lumMod val="75000"/>
                    <a:lumOff val="25000"/>
                  </a:schemeClr>
                </a:solidFill>
                <a:latin typeface="+mn-lt"/>
                <a:cs typeface="Arial" pitchFamily="34" charset="0"/>
              </a:defRPr>
            </a:lvl1pPr>
          </a:lstStyle>
          <a:p>
            <a:r>
              <a:rPr lang="en-US" dirty="0"/>
              <a:t>Click to edit Master title style</a:t>
            </a:r>
            <a:endParaRPr lang="en-GB" dirty="0"/>
          </a:p>
        </p:txBody>
      </p:sp>
      <p:sp>
        <p:nvSpPr>
          <p:cNvPr id="16"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chemeClr val="tx1">
                    <a:lumMod val="75000"/>
                    <a:lumOff val="25000"/>
                  </a:schemeClr>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29295070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503" y="384047"/>
            <a:ext cx="5413248" cy="4572744"/>
          </a:xfrm>
          <a:prstGeom prst="rect">
            <a:avLst/>
          </a:prstGeom>
        </p:spPr>
      </p:pic>
      <p:pic>
        <p:nvPicPr>
          <p:cNvPr id="9" name="Picture 8"/>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
        <p:nvSpPr>
          <p:cNvPr id="10" name="Title 1"/>
          <p:cNvSpPr>
            <a:spLocks noGrp="1"/>
          </p:cNvSpPr>
          <p:nvPr>
            <p:ph type="ctrTitle"/>
          </p:nvPr>
        </p:nvSpPr>
        <p:spPr>
          <a:xfrm>
            <a:off x="996696" y="1691640"/>
            <a:ext cx="4597400"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11"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1752123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a:t>Presentation title</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dirty="0"/>
              <a:t>1 January 2014</a:t>
            </a:r>
          </a:p>
        </p:txBody>
      </p:sp>
      <p:sp>
        <p:nvSpPr>
          <p:cNvPr id="10" name="Footer Placeholder 9"/>
          <p:cNvSpPr>
            <a:spLocks noGrp="1"/>
          </p:cNvSpPr>
          <p:nvPr>
            <p:ph type="ftr" sz="quarter" idx="11"/>
          </p:nvPr>
        </p:nvSpPr>
        <p:spPr/>
        <p:txBody>
          <a:bodyPr/>
          <a:lstStyle/>
          <a:p>
            <a:r>
              <a:rPr lang="en-GB" dirty="0"/>
              <a:t>Presentation title</a:t>
            </a:r>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665512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dirty="0"/>
              <a:t>1 January 2014</a:t>
            </a:r>
          </a:p>
        </p:txBody>
      </p:sp>
      <p:sp>
        <p:nvSpPr>
          <p:cNvPr id="6" name="Footer Placeholder 5"/>
          <p:cNvSpPr>
            <a:spLocks noGrp="1"/>
          </p:cNvSpPr>
          <p:nvPr>
            <p:ph type="ftr" sz="quarter" idx="11"/>
          </p:nvPr>
        </p:nvSpPr>
        <p:spPr/>
        <p:txBody>
          <a:bodyPr/>
          <a:lstStyle/>
          <a:p>
            <a:r>
              <a:rPr lang="en-GB" dirty="0"/>
              <a:t>Presentation title</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93151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dirty="0"/>
              <a:t>1 January 2014</a:t>
            </a:r>
          </a:p>
        </p:txBody>
      </p:sp>
      <p:sp>
        <p:nvSpPr>
          <p:cNvPr id="9" name="Footer Placeholder 8"/>
          <p:cNvSpPr>
            <a:spLocks noGrp="1"/>
          </p:cNvSpPr>
          <p:nvPr>
            <p:ph type="ftr" sz="quarter" idx="11"/>
          </p:nvPr>
        </p:nvSpPr>
        <p:spPr/>
        <p:txBody>
          <a:bodyPr/>
          <a:lstStyle/>
          <a:p>
            <a:r>
              <a:rPr lang="en-GB" dirty="0"/>
              <a:t>Presentation title</a:t>
            </a:r>
          </a:p>
        </p:txBody>
      </p:sp>
      <p:sp>
        <p:nvSpPr>
          <p:cNvPr id="10"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6" name="Date Placeholder 5"/>
          <p:cNvSpPr>
            <a:spLocks noGrp="1"/>
          </p:cNvSpPr>
          <p:nvPr>
            <p:ph type="dt" sz="half" idx="10"/>
          </p:nvPr>
        </p:nvSpPr>
        <p:spPr/>
        <p:txBody>
          <a:bodyPr/>
          <a:lstStyle/>
          <a:p>
            <a:r>
              <a:rPr lang="en-US" dirty="0"/>
              <a:t>1 January 2014</a:t>
            </a:r>
          </a:p>
        </p:txBody>
      </p:sp>
      <p:sp>
        <p:nvSpPr>
          <p:cNvPr id="9" name="Footer Placeholder 8"/>
          <p:cNvSpPr>
            <a:spLocks noGrp="1"/>
          </p:cNvSpPr>
          <p:nvPr>
            <p:ph type="ftr" sz="quarter" idx="11"/>
          </p:nvPr>
        </p:nvSpPr>
        <p:spPr/>
        <p:txBody>
          <a:bodyPr/>
          <a:lstStyle/>
          <a:p>
            <a:r>
              <a:rPr lang="en-GB" dirty="0"/>
              <a:t>Presentation title</a:t>
            </a:r>
          </a:p>
        </p:txBody>
      </p:sp>
      <p:sp>
        <p:nvSpPr>
          <p:cNvPr id="7"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2560200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8277" y="1425575"/>
            <a:ext cx="5387605" cy="4719638"/>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188" y="1425575"/>
            <a:ext cx="5387605" cy="4719638"/>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dirty="0"/>
              <a:t>1 January 2014</a:t>
            </a:r>
          </a:p>
        </p:txBody>
      </p:sp>
      <p:sp>
        <p:nvSpPr>
          <p:cNvPr id="10" name="Footer Placeholder 9"/>
          <p:cNvSpPr>
            <a:spLocks noGrp="1"/>
          </p:cNvSpPr>
          <p:nvPr>
            <p:ph type="ftr" sz="quarter" idx="11"/>
          </p:nvPr>
        </p:nvSpPr>
        <p:spPr/>
        <p:txBody>
          <a:bodyPr/>
          <a:lstStyle/>
          <a:p>
            <a:r>
              <a:rPr lang="en-GB" dirty="0"/>
              <a:t>Presentation title</a:t>
            </a:r>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12648"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5575"/>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425575"/>
            <a:ext cx="5393208" cy="640800"/>
          </a:xfrm>
        </p:spPr>
        <p:txBody>
          <a:bodyPr anchor="t" anchorCtr="0"/>
          <a:lstStyle>
            <a:lvl1pPr>
              <a:buNone/>
              <a:defRPr b="1">
                <a:solidFill>
                  <a:schemeClr val="bg1"/>
                </a:solidFill>
              </a:defRPr>
            </a:lvl1pPr>
          </a:lstStyle>
          <a:p>
            <a:pPr lvl="0"/>
            <a:endParaRPr lang="en-GB" dirty="0"/>
          </a:p>
        </p:txBody>
      </p:sp>
      <p:sp>
        <p:nvSpPr>
          <p:cNvPr id="12" name="Date Placeholder 11"/>
          <p:cNvSpPr>
            <a:spLocks noGrp="1"/>
          </p:cNvSpPr>
          <p:nvPr>
            <p:ph type="dt" sz="half" idx="14"/>
          </p:nvPr>
        </p:nvSpPr>
        <p:spPr/>
        <p:txBody>
          <a:bodyPr/>
          <a:lstStyle/>
          <a:p>
            <a:r>
              <a:rPr lang="en-US" dirty="0"/>
              <a:t>1 January 2014</a:t>
            </a:r>
          </a:p>
        </p:txBody>
      </p:sp>
      <p:sp>
        <p:nvSpPr>
          <p:cNvPr id="13" name="Footer Placeholder 12"/>
          <p:cNvSpPr>
            <a:spLocks noGrp="1"/>
          </p:cNvSpPr>
          <p:nvPr>
            <p:ph type="ftr" sz="quarter" idx="15"/>
          </p:nvPr>
        </p:nvSpPr>
        <p:spPr/>
        <p:txBody>
          <a:bodyPr/>
          <a:lstStyle/>
          <a:p>
            <a:r>
              <a:rPr lang="en-GB" dirty="0"/>
              <a:t>Presentation title</a:t>
            </a:r>
          </a:p>
        </p:txBody>
      </p:sp>
      <p:sp>
        <p:nvSpPr>
          <p:cNvPr id="14"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6" name="Date Placeholder 5"/>
          <p:cNvSpPr>
            <a:spLocks noGrp="1"/>
          </p:cNvSpPr>
          <p:nvPr>
            <p:ph type="dt" sz="half" idx="12"/>
          </p:nvPr>
        </p:nvSpPr>
        <p:spPr/>
        <p:txBody>
          <a:bodyPr/>
          <a:lstStyle/>
          <a:p>
            <a:r>
              <a:rPr lang="en-US" dirty="0"/>
              <a:t>1 January 2014</a:t>
            </a:r>
          </a:p>
        </p:txBody>
      </p:sp>
      <p:sp>
        <p:nvSpPr>
          <p:cNvPr id="7" name="Footer Placeholder 6"/>
          <p:cNvSpPr>
            <a:spLocks noGrp="1"/>
          </p:cNvSpPr>
          <p:nvPr>
            <p:ph type="ftr" sz="quarter" idx="13"/>
          </p:nvPr>
        </p:nvSpPr>
        <p:spPr/>
        <p:txBody>
          <a:bodyPr/>
          <a:lstStyle/>
          <a:p>
            <a:r>
              <a:rPr lang="en-GB" dirty="0"/>
              <a:t>Presentation title</a:t>
            </a: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5" name="Date Placeholder 4"/>
          <p:cNvSpPr>
            <a:spLocks noGrp="1"/>
          </p:cNvSpPr>
          <p:nvPr>
            <p:ph type="dt" sz="half" idx="10"/>
          </p:nvPr>
        </p:nvSpPr>
        <p:spPr/>
        <p:txBody>
          <a:bodyPr/>
          <a:lstStyle/>
          <a:p>
            <a:r>
              <a:rPr lang="en-US" dirty="0"/>
              <a:t>1 January 2014</a:t>
            </a: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19999408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5" name="Date Placeholder 4"/>
          <p:cNvSpPr>
            <a:spLocks noGrp="1"/>
          </p:cNvSpPr>
          <p:nvPr>
            <p:ph type="dt" sz="half" idx="10"/>
          </p:nvPr>
        </p:nvSpPr>
        <p:spPr/>
        <p:txBody>
          <a:bodyPr/>
          <a:lstStyle/>
          <a:p>
            <a:r>
              <a:rPr lang="en-US" dirty="0"/>
              <a:t>1 January 2014</a:t>
            </a: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5286478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a:t>Presentation title</a:t>
            </a:r>
          </a:p>
        </p:txBody>
      </p:sp>
    </p:spTree>
    <p:extLst>
      <p:ext uri="{BB962C8B-B14F-4D97-AF65-F5344CB8AC3E}">
        <p14:creationId xmlns:p14="http://schemas.microsoft.com/office/powerpoint/2010/main" val="340413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4"/>
          <p:cNvSpPr>
            <a:spLocks/>
          </p:cNvSpPr>
          <p:nvPr userDrawn="1"/>
        </p:nvSpPr>
        <p:spPr bwMode="gray">
          <a:xfrm>
            <a:off x="594996"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6" name="Date Placeholder 5"/>
          <p:cNvSpPr>
            <a:spLocks noGrp="1"/>
          </p:cNvSpPr>
          <p:nvPr>
            <p:ph type="dt" sz="half" idx="10"/>
          </p:nvPr>
        </p:nvSpPr>
        <p:spPr/>
        <p:txBody>
          <a:bodyPr/>
          <a:lstStyle/>
          <a:p>
            <a:r>
              <a:rPr lang="en-US" dirty="0"/>
              <a:t>1 January 2014</a:t>
            </a:r>
          </a:p>
        </p:txBody>
      </p:sp>
      <p:sp>
        <p:nvSpPr>
          <p:cNvPr id="7" name="Footer Placeholder 6"/>
          <p:cNvSpPr>
            <a:spLocks noGrp="1"/>
          </p:cNvSpPr>
          <p:nvPr>
            <p:ph type="ftr" sz="quarter" idx="11"/>
          </p:nvPr>
        </p:nvSpPr>
        <p:spPr/>
        <p:txBody>
          <a:bodyPr/>
          <a:lstStyle/>
          <a:p>
            <a:r>
              <a:rPr lang="en-GB" dirty="0"/>
              <a:t>Presentation title</a:t>
            </a:r>
          </a:p>
        </p:txBody>
      </p:sp>
    </p:spTree>
    <p:extLst>
      <p:ext uri="{BB962C8B-B14F-4D97-AF65-F5344CB8AC3E}">
        <p14:creationId xmlns:p14="http://schemas.microsoft.com/office/powerpoint/2010/main" val="25286478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dirty="0"/>
              <a:t>1 January 2014</a:t>
            </a:r>
          </a:p>
        </p:txBody>
      </p:sp>
      <p:sp>
        <p:nvSpPr>
          <p:cNvPr id="5" name="Footer Placeholder 4"/>
          <p:cNvSpPr>
            <a:spLocks noGrp="1"/>
          </p:cNvSpPr>
          <p:nvPr>
            <p:ph type="ftr" sz="quarter" idx="11"/>
          </p:nvPr>
        </p:nvSpPr>
        <p:spPr/>
        <p:txBody>
          <a:bodyPr/>
          <a:lstStyle/>
          <a:p>
            <a:r>
              <a:rPr lang="en-GB" dirty="0"/>
              <a:t>Presentation title</a:t>
            </a:r>
          </a:p>
        </p:txBody>
      </p:sp>
      <p:sp>
        <p:nvSpPr>
          <p:cNvPr id="6"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Cover_CleanImage">
    <p:spTree>
      <p:nvGrpSpPr>
        <p:cNvPr id="1" name=""/>
        <p:cNvGrpSpPr/>
        <p:nvPr/>
      </p:nvGrpSpPr>
      <p:grpSpPr>
        <a:xfrm>
          <a:off x="0" y="0"/>
          <a:ext cx="0" cy="0"/>
          <a:chOff x="0" y="0"/>
          <a:chExt cx="0" cy="0"/>
        </a:xfrm>
      </p:grpSpPr>
      <p:pic>
        <p:nvPicPr>
          <p:cNvPr id="35842" name="Picture 2" descr="C:\Users\grace.lee40\Desktop\EY\02 Internal\04 Design Resources\01 Images\02 Stock Photos\14H05623_RF.jp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0" y="0"/>
            <a:ext cx="12198350" cy="6858000"/>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itle 1"/>
          <p:cNvSpPr>
            <a:spLocks noGrp="1"/>
          </p:cNvSpPr>
          <p:nvPr>
            <p:ph type="ctrTitle"/>
          </p:nvPr>
        </p:nvSpPr>
        <p:spPr>
          <a:xfrm>
            <a:off x="609918" y="457200"/>
            <a:ext cx="8294878" cy="860400"/>
          </a:xfrm>
        </p:spPr>
        <p:txBody>
          <a:bodyPr/>
          <a:lstStyle>
            <a:lvl1pPr>
              <a:defRPr sz="2100" b="1">
                <a:solidFill>
                  <a:srgbClr val="404040"/>
                </a:solidFill>
                <a:latin typeface="+mn-lt"/>
                <a:cs typeface="Arial" pitchFamily="34" charset="0"/>
              </a:defRPr>
            </a:lvl1pPr>
          </a:lstStyle>
          <a:p>
            <a:r>
              <a:rPr lang="en-US"/>
              <a:t>Click to edit Master title style</a:t>
            </a:r>
            <a:endParaRPr lang="en-GB" dirty="0"/>
          </a:p>
        </p:txBody>
      </p:sp>
      <p:sp>
        <p:nvSpPr>
          <p:cNvPr id="15" name="Subtitle 2"/>
          <p:cNvSpPr>
            <a:spLocks noGrp="1"/>
          </p:cNvSpPr>
          <p:nvPr>
            <p:ph type="subTitle" idx="1"/>
          </p:nvPr>
        </p:nvSpPr>
        <p:spPr>
          <a:xfrm>
            <a:off x="609919" y="1463041"/>
            <a:ext cx="8294878" cy="645742"/>
          </a:xfrm>
        </p:spPr>
        <p:txBody>
          <a:bodyPr/>
          <a:lstStyle>
            <a:lvl1pPr marL="0" indent="0" algn="l">
              <a:buNone/>
              <a:defRPr sz="1500">
                <a:solidFill>
                  <a:srgbClr val="404040"/>
                </a:solidFill>
                <a:latin typeface="+mn-lt"/>
                <a:cs typeface="Arial" pitchFamily="34" charset="0"/>
              </a:defRPr>
            </a:lvl1pPr>
            <a:lvl2pPr marL="0" indent="0" algn="l">
              <a:buNone/>
              <a:defRPr sz="1200">
                <a:solidFill>
                  <a:srgbClr val="404040"/>
                </a:solidFill>
              </a:defRPr>
            </a:lvl2pPr>
            <a:lvl3pPr marL="685148" indent="0" algn="ctr">
              <a:buNone/>
              <a:defRPr>
                <a:solidFill>
                  <a:schemeClr val="tx1">
                    <a:tint val="75000"/>
                  </a:schemeClr>
                </a:solidFill>
              </a:defRPr>
            </a:lvl3pPr>
            <a:lvl4pPr marL="1027723" indent="0" algn="ctr">
              <a:buNone/>
              <a:defRPr>
                <a:solidFill>
                  <a:schemeClr val="tx1">
                    <a:tint val="75000"/>
                  </a:schemeClr>
                </a:solidFill>
              </a:defRPr>
            </a:lvl4pPr>
            <a:lvl5pPr marL="1370297" indent="0" algn="ctr">
              <a:buNone/>
              <a:defRPr>
                <a:solidFill>
                  <a:schemeClr val="tx1">
                    <a:tint val="75000"/>
                  </a:schemeClr>
                </a:solidFill>
              </a:defRPr>
            </a:lvl5pPr>
            <a:lvl6pPr marL="1712871" indent="0" algn="ctr">
              <a:buNone/>
              <a:defRPr>
                <a:solidFill>
                  <a:schemeClr val="tx1">
                    <a:tint val="75000"/>
                  </a:schemeClr>
                </a:solidFill>
              </a:defRPr>
            </a:lvl6pPr>
            <a:lvl7pPr marL="2055443" indent="0" algn="ctr">
              <a:buNone/>
              <a:defRPr>
                <a:solidFill>
                  <a:schemeClr val="tx1">
                    <a:tint val="75000"/>
                  </a:schemeClr>
                </a:solidFill>
              </a:defRPr>
            </a:lvl7pPr>
            <a:lvl8pPr marL="2398019" indent="0" algn="ctr">
              <a:buNone/>
              <a:defRPr>
                <a:solidFill>
                  <a:schemeClr val="tx1">
                    <a:tint val="75000"/>
                  </a:schemeClr>
                </a:solidFill>
              </a:defRPr>
            </a:lvl8pPr>
            <a:lvl9pPr marL="2740593" indent="0" algn="ctr">
              <a:buNone/>
              <a:defRPr>
                <a:solidFill>
                  <a:schemeClr val="tx1">
                    <a:tint val="75000"/>
                  </a:schemeClr>
                </a:solidFill>
              </a:defRPr>
            </a:lvl9pPr>
          </a:lstStyle>
          <a:p>
            <a:pPr lvl="0"/>
            <a:r>
              <a:rPr lang="en-US"/>
              <a:t>Click to edit Master subtitle style</a:t>
            </a:r>
            <a:endParaRPr lang="en-GB" dirty="0"/>
          </a:p>
        </p:txBody>
      </p:sp>
      <p:grpSp>
        <p:nvGrpSpPr>
          <p:cNvPr id="2" name="Group 4"/>
          <p:cNvGrpSpPr>
            <a:grpSpLocks noChangeAspect="1"/>
          </p:cNvGrpSpPr>
          <p:nvPr/>
        </p:nvGrpSpPr>
        <p:grpSpPr bwMode="auto">
          <a:xfrm>
            <a:off x="10283894" y="5340350"/>
            <a:ext cx="1317252" cy="1157288"/>
            <a:chOff x="4856" y="3364"/>
            <a:chExt cx="622" cy="729"/>
          </a:xfrm>
        </p:grpSpPr>
        <p:sp>
          <p:nvSpPr>
            <p:cNvPr id="4" name="Freeform 5"/>
            <p:cNvSpPr>
              <a:spLocks/>
            </p:cNvSpPr>
            <p:nvPr/>
          </p:nvSpPr>
          <p:spPr bwMode="auto">
            <a:xfrm>
              <a:off x="4856"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5" name="Freeform 6"/>
            <p:cNvSpPr>
              <a:spLocks noEditPoints="1"/>
            </p:cNvSpPr>
            <p:nvPr/>
          </p:nvSpPr>
          <p:spPr bwMode="auto">
            <a:xfrm>
              <a:off x="4856"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41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62"/>
                  </a:moveTo>
                  <a:lnTo>
                    <a:pt x="597" y="1874"/>
                  </a:lnTo>
                  <a:lnTo>
                    <a:pt x="541" y="1874"/>
                  </a:lnTo>
                  <a:lnTo>
                    <a:pt x="541" y="1651"/>
                  </a:lnTo>
                  <a:lnTo>
                    <a:pt x="597" y="1651"/>
                  </a:lnTo>
                  <a:lnTo>
                    <a:pt x="597" y="1762"/>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8"/>
                  </a:moveTo>
                  <a:lnTo>
                    <a:pt x="597" y="1619"/>
                  </a:lnTo>
                  <a:lnTo>
                    <a:pt x="541" y="1619"/>
                  </a:lnTo>
                  <a:lnTo>
                    <a:pt x="541" y="1563"/>
                  </a:lnTo>
                  <a:lnTo>
                    <a:pt x="597" y="1563"/>
                  </a:lnTo>
                  <a:lnTo>
                    <a:pt x="597" y="1598"/>
                  </a:lnTo>
                  <a:close/>
                  <a:moveTo>
                    <a:pt x="981" y="1651"/>
                  </a:moveTo>
                  <a:lnTo>
                    <a:pt x="1037" y="1651"/>
                  </a:lnTo>
                  <a:lnTo>
                    <a:pt x="1037" y="1765"/>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41"/>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51"/>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grpSp>
    </p:spTree>
    <p:extLst>
      <p:ext uri="{BB962C8B-B14F-4D97-AF65-F5344CB8AC3E}">
        <p14:creationId xmlns:p14="http://schemas.microsoft.com/office/powerpoint/2010/main" val="34567849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Cover_NewBeam">
    <p:spTree>
      <p:nvGrpSpPr>
        <p:cNvPr id="1" name=""/>
        <p:cNvGrpSpPr/>
        <p:nvPr/>
      </p:nvGrpSpPr>
      <p:grpSpPr>
        <a:xfrm>
          <a:off x="0" y="0"/>
          <a:ext cx="0" cy="0"/>
          <a:chOff x="0" y="0"/>
          <a:chExt cx="0" cy="0"/>
        </a:xfrm>
      </p:grpSpPr>
      <p:sp>
        <p:nvSpPr>
          <p:cNvPr id="10" name="Rectangle 1"/>
          <p:cNvSpPr>
            <a:spLocks noChangeAspect="1"/>
          </p:cNvSpPr>
          <p:nvPr/>
        </p:nvSpPr>
        <p:spPr>
          <a:xfrm>
            <a:off x="2578394" y="777246"/>
            <a:ext cx="901216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8516" tIns="34256" rIns="68516" bIns="34256" rtlCol="0" anchor="t" anchorCtr="0"/>
          <a:lstStyle/>
          <a:p>
            <a:pPr algn="ctr" defTabSz="685148"/>
            <a:endParaRPr lang="en-US" sz="900" dirty="0">
              <a:solidFill>
                <a:srgbClr val="000000"/>
              </a:solidFill>
            </a:endParaRPr>
          </a:p>
        </p:txBody>
      </p:sp>
      <p:sp>
        <p:nvSpPr>
          <p:cNvPr id="12" name="Title 1"/>
          <p:cNvSpPr>
            <a:spLocks noGrp="1"/>
          </p:cNvSpPr>
          <p:nvPr>
            <p:ph type="ctrTitle"/>
          </p:nvPr>
        </p:nvSpPr>
        <p:spPr>
          <a:xfrm>
            <a:off x="2951999" y="2240283"/>
            <a:ext cx="8294878" cy="860400"/>
          </a:xfrm>
        </p:spPr>
        <p:txBody>
          <a:bodyPr/>
          <a:lstStyle>
            <a:lvl1pPr>
              <a:defRPr sz="2100" b="1">
                <a:solidFill>
                  <a:schemeClr val="tx1">
                    <a:lumMod val="75000"/>
                    <a:lumOff val="25000"/>
                  </a:schemeClr>
                </a:solidFill>
                <a:latin typeface="+mn-lt"/>
                <a:cs typeface="Arial" pitchFamily="34" charset="0"/>
              </a:defRPr>
            </a:lvl1pPr>
          </a:lstStyle>
          <a:p>
            <a:r>
              <a:rPr lang="en-US"/>
              <a:t>Click to edit Master title style</a:t>
            </a:r>
            <a:endParaRPr lang="en-GB" dirty="0"/>
          </a:p>
        </p:txBody>
      </p:sp>
      <p:sp>
        <p:nvSpPr>
          <p:cNvPr id="15" name="Subtitle 2"/>
          <p:cNvSpPr>
            <a:spLocks noGrp="1"/>
          </p:cNvSpPr>
          <p:nvPr>
            <p:ph type="subTitle" idx="1"/>
          </p:nvPr>
        </p:nvSpPr>
        <p:spPr>
          <a:xfrm>
            <a:off x="2952001" y="3220754"/>
            <a:ext cx="8294878" cy="645742"/>
          </a:xfrm>
        </p:spPr>
        <p:txBody>
          <a:bodyPr/>
          <a:lstStyle>
            <a:lvl1pPr marL="0" indent="0" algn="l">
              <a:buNone/>
              <a:defRPr sz="1500">
                <a:solidFill>
                  <a:schemeClr val="tx1">
                    <a:lumMod val="75000"/>
                    <a:lumOff val="25000"/>
                  </a:schemeClr>
                </a:solidFill>
                <a:latin typeface="+mn-lt"/>
                <a:cs typeface="Arial" pitchFamily="34" charset="0"/>
              </a:defRPr>
            </a:lvl1pPr>
            <a:lvl2pPr marL="0" indent="0" algn="l">
              <a:buNone/>
              <a:defRPr sz="1200">
                <a:solidFill>
                  <a:srgbClr val="404040"/>
                </a:solidFill>
              </a:defRPr>
            </a:lvl2pPr>
            <a:lvl3pPr marL="685148" indent="0" algn="ctr">
              <a:buNone/>
              <a:defRPr>
                <a:solidFill>
                  <a:schemeClr val="tx1">
                    <a:tint val="75000"/>
                  </a:schemeClr>
                </a:solidFill>
              </a:defRPr>
            </a:lvl3pPr>
            <a:lvl4pPr marL="1027723" indent="0" algn="ctr">
              <a:buNone/>
              <a:defRPr>
                <a:solidFill>
                  <a:schemeClr val="tx1">
                    <a:tint val="75000"/>
                  </a:schemeClr>
                </a:solidFill>
              </a:defRPr>
            </a:lvl4pPr>
            <a:lvl5pPr marL="1370297" indent="0" algn="ctr">
              <a:buNone/>
              <a:defRPr>
                <a:solidFill>
                  <a:schemeClr val="tx1">
                    <a:tint val="75000"/>
                  </a:schemeClr>
                </a:solidFill>
              </a:defRPr>
            </a:lvl5pPr>
            <a:lvl6pPr marL="1712871" indent="0" algn="ctr">
              <a:buNone/>
              <a:defRPr>
                <a:solidFill>
                  <a:schemeClr val="tx1">
                    <a:tint val="75000"/>
                  </a:schemeClr>
                </a:solidFill>
              </a:defRPr>
            </a:lvl6pPr>
            <a:lvl7pPr marL="2055443" indent="0" algn="ctr">
              <a:buNone/>
              <a:defRPr>
                <a:solidFill>
                  <a:schemeClr val="tx1">
                    <a:tint val="75000"/>
                  </a:schemeClr>
                </a:solidFill>
              </a:defRPr>
            </a:lvl7pPr>
            <a:lvl8pPr marL="2398019" indent="0" algn="ctr">
              <a:buNone/>
              <a:defRPr>
                <a:solidFill>
                  <a:schemeClr val="tx1">
                    <a:tint val="75000"/>
                  </a:schemeClr>
                </a:solidFill>
              </a:defRPr>
            </a:lvl8pPr>
            <a:lvl9pPr marL="2740593" indent="0" algn="ctr">
              <a:buNone/>
              <a:defRPr>
                <a:solidFill>
                  <a:schemeClr val="tx1">
                    <a:tint val="75000"/>
                  </a:schemeClr>
                </a:solidFill>
              </a:defRPr>
            </a:lvl9pPr>
          </a:lstStyle>
          <a:p>
            <a:pPr lvl="0"/>
            <a:r>
              <a:rPr lang="en-US"/>
              <a:t>Click to edit Master subtitle style</a:t>
            </a:r>
            <a:endParaRPr lang="en-GB" dirty="0"/>
          </a:p>
        </p:txBody>
      </p:sp>
      <p:grpSp>
        <p:nvGrpSpPr>
          <p:cNvPr id="2" name="Group 4"/>
          <p:cNvGrpSpPr>
            <a:grpSpLocks noChangeAspect="1"/>
          </p:cNvGrpSpPr>
          <p:nvPr/>
        </p:nvGrpSpPr>
        <p:grpSpPr bwMode="auto">
          <a:xfrm>
            <a:off x="10370716" y="5340354"/>
            <a:ext cx="1219835" cy="1071701"/>
            <a:chOff x="4856" y="3364"/>
            <a:chExt cx="622" cy="729"/>
          </a:xfrm>
        </p:grpSpPr>
        <p:sp>
          <p:nvSpPr>
            <p:cNvPr id="4" name="Freeform 5"/>
            <p:cNvSpPr>
              <a:spLocks/>
            </p:cNvSpPr>
            <p:nvPr/>
          </p:nvSpPr>
          <p:spPr bwMode="auto">
            <a:xfrm>
              <a:off x="4856"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5" name="Freeform 6"/>
            <p:cNvSpPr>
              <a:spLocks noEditPoints="1"/>
            </p:cNvSpPr>
            <p:nvPr/>
          </p:nvSpPr>
          <p:spPr bwMode="auto">
            <a:xfrm>
              <a:off x="4856"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41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62"/>
                  </a:moveTo>
                  <a:lnTo>
                    <a:pt x="597" y="1874"/>
                  </a:lnTo>
                  <a:lnTo>
                    <a:pt x="541" y="1874"/>
                  </a:lnTo>
                  <a:lnTo>
                    <a:pt x="541" y="1651"/>
                  </a:lnTo>
                  <a:lnTo>
                    <a:pt x="597" y="1651"/>
                  </a:lnTo>
                  <a:lnTo>
                    <a:pt x="597" y="1762"/>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8"/>
                  </a:moveTo>
                  <a:lnTo>
                    <a:pt x="597" y="1619"/>
                  </a:lnTo>
                  <a:lnTo>
                    <a:pt x="541" y="1619"/>
                  </a:lnTo>
                  <a:lnTo>
                    <a:pt x="541" y="1563"/>
                  </a:lnTo>
                  <a:lnTo>
                    <a:pt x="597" y="1563"/>
                  </a:lnTo>
                  <a:lnTo>
                    <a:pt x="597" y="1598"/>
                  </a:lnTo>
                  <a:close/>
                  <a:moveTo>
                    <a:pt x="981" y="1651"/>
                  </a:moveTo>
                  <a:lnTo>
                    <a:pt x="1037" y="1651"/>
                  </a:lnTo>
                  <a:lnTo>
                    <a:pt x="1037" y="1765"/>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41"/>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51"/>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grpSp>
    </p:spTree>
    <p:extLst>
      <p:ext uri="{BB962C8B-B14F-4D97-AF65-F5344CB8AC3E}">
        <p14:creationId xmlns:p14="http://schemas.microsoft.com/office/powerpoint/2010/main" val="34550415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over_ClassicBeam">
    <p:spTree>
      <p:nvGrpSpPr>
        <p:cNvPr id="1" name=""/>
        <p:cNvGrpSpPr/>
        <p:nvPr/>
      </p:nvGrpSpPr>
      <p:grpSpPr>
        <a:xfrm>
          <a:off x="0" y="0"/>
          <a:ext cx="0" cy="0"/>
          <a:chOff x="0" y="0"/>
          <a:chExt cx="0" cy="0"/>
        </a:xfrm>
      </p:grpSpPr>
      <p:sp>
        <p:nvSpPr>
          <p:cNvPr id="2" name="Title 1"/>
          <p:cNvSpPr>
            <a:spLocks noGrp="1"/>
          </p:cNvSpPr>
          <p:nvPr>
            <p:ph type="ctrTitle"/>
          </p:nvPr>
        </p:nvSpPr>
        <p:spPr>
          <a:xfrm>
            <a:off x="3112020" y="777603"/>
            <a:ext cx="7323813" cy="860400"/>
          </a:xfrm>
        </p:spPr>
        <p:txBody>
          <a:bodyPr/>
          <a:lstStyle>
            <a:lvl1pPr>
              <a:defRPr sz="2100">
                <a:solidFill>
                  <a:schemeClr val="tx1">
                    <a:lumMod val="75000"/>
                    <a:lumOff val="25000"/>
                  </a:schemeClr>
                </a:solidFill>
              </a:defRPr>
            </a:lvl1pPr>
          </a:lstStyle>
          <a:p>
            <a:r>
              <a:rPr lang="en-US"/>
              <a:t>Click to edit Master title style</a:t>
            </a:r>
            <a:endParaRPr lang="en-GB" dirty="0"/>
          </a:p>
        </p:txBody>
      </p:sp>
      <p:sp>
        <p:nvSpPr>
          <p:cNvPr id="3" name="Subtitle 2"/>
          <p:cNvSpPr>
            <a:spLocks noGrp="1"/>
          </p:cNvSpPr>
          <p:nvPr>
            <p:ph type="subTitle" idx="1"/>
          </p:nvPr>
        </p:nvSpPr>
        <p:spPr>
          <a:xfrm>
            <a:off x="3112020" y="1753200"/>
            <a:ext cx="7323813" cy="968400"/>
          </a:xfrm>
        </p:spPr>
        <p:txBody>
          <a:bodyPr/>
          <a:lstStyle>
            <a:lvl1pPr marL="0" indent="0" algn="l">
              <a:buNone/>
              <a:defRPr sz="1500">
                <a:solidFill>
                  <a:schemeClr val="tx1">
                    <a:lumMod val="75000"/>
                    <a:lumOff val="25000"/>
                  </a:schemeClr>
                </a:solidFill>
              </a:defRPr>
            </a:lvl1pPr>
            <a:lvl2pPr marL="0" indent="0" algn="l">
              <a:buNone/>
              <a:defRPr sz="1200">
                <a:solidFill>
                  <a:schemeClr val="tx1">
                    <a:tint val="75000"/>
                  </a:schemeClr>
                </a:solidFill>
              </a:defRPr>
            </a:lvl2pPr>
            <a:lvl3pPr marL="685148" indent="0" algn="ctr">
              <a:buNone/>
              <a:defRPr>
                <a:solidFill>
                  <a:schemeClr val="tx1">
                    <a:tint val="75000"/>
                  </a:schemeClr>
                </a:solidFill>
              </a:defRPr>
            </a:lvl3pPr>
            <a:lvl4pPr marL="1027723" indent="0" algn="ctr">
              <a:buNone/>
              <a:defRPr>
                <a:solidFill>
                  <a:schemeClr val="tx1">
                    <a:tint val="75000"/>
                  </a:schemeClr>
                </a:solidFill>
              </a:defRPr>
            </a:lvl4pPr>
            <a:lvl5pPr marL="1370297" indent="0" algn="ctr">
              <a:buNone/>
              <a:defRPr>
                <a:solidFill>
                  <a:schemeClr val="tx1">
                    <a:tint val="75000"/>
                  </a:schemeClr>
                </a:solidFill>
              </a:defRPr>
            </a:lvl5pPr>
            <a:lvl6pPr marL="1712871" indent="0" algn="ctr">
              <a:buNone/>
              <a:defRPr>
                <a:solidFill>
                  <a:schemeClr val="tx1">
                    <a:tint val="75000"/>
                  </a:schemeClr>
                </a:solidFill>
              </a:defRPr>
            </a:lvl6pPr>
            <a:lvl7pPr marL="2055443" indent="0" algn="ctr">
              <a:buNone/>
              <a:defRPr>
                <a:solidFill>
                  <a:schemeClr val="tx1">
                    <a:tint val="75000"/>
                  </a:schemeClr>
                </a:solidFill>
              </a:defRPr>
            </a:lvl7pPr>
            <a:lvl8pPr marL="2398019" indent="0" algn="ctr">
              <a:buNone/>
              <a:defRPr>
                <a:solidFill>
                  <a:schemeClr val="tx1">
                    <a:tint val="75000"/>
                  </a:schemeClr>
                </a:solidFill>
              </a:defRPr>
            </a:lvl8pPr>
            <a:lvl9pPr marL="2740593" indent="0" algn="ctr">
              <a:buNone/>
              <a:defRPr>
                <a:solidFill>
                  <a:schemeClr val="tx1">
                    <a:tint val="75000"/>
                  </a:schemeClr>
                </a:solidFill>
              </a:defRPr>
            </a:lvl9pPr>
          </a:lstStyle>
          <a:p>
            <a:r>
              <a:rPr lang="en-US"/>
              <a:t>Click to edit Master subtitle style</a:t>
            </a:r>
            <a:endParaRPr lang="en-GB" dirty="0"/>
          </a:p>
        </p:txBody>
      </p:sp>
      <p:grpSp>
        <p:nvGrpSpPr>
          <p:cNvPr id="12" name="Group 11"/>
          <p:cNvGrpSpPr/>
          <p:nvPr/>
        </p:nvGrpSpPr>
        <p:grpSpPr>
          <a:xfrm>
            <a:off x="-8714" y="2405087"/>
            <a:ext cx="12207064" cy="3349170"/>
            <a:chOff x="-6532" y="2405084"/>
            <a:chExt cx="9150532" cy="3349170"/>
          </a:xfrm>
        </p:grpSpPr>
        <p:sp>
          <p:nvSpPr>
            <p:cNvPr id="1032" name="Freeform 8"/>
            <p:cNvSpPr>
              <a:spLocks/>
            </p:cNvSpPr>
            <p:nvPr/>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GB" sz="1350" dirty="0">
                <a:solidFill>
                  <a:srgbClr val="000000"/>
                </a:solidFill>
              </a:endParaRPr>
            </a:p>
          </p:txBody>
        </p:sp>
        <p:pic>
          <p:nvPicPr>
            <p:cNvPr id="8" name="Picture 3"/>
            <p:cNvPicPr>
              <a:picLocks noChangeAspect="1" noChangeArrowheads="1"/>
            </p:cNvPicPr>
            <p:nvPr/>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5" name="Text Placeholder 4"/>
          <p:cNvSpPr>
            <a:spLocks noGrp="1"/>
          </p:cNvSpPr>
          <p:nvPr>
            <p:ph type="body" sz="quarter" idx="10"/>
          </p:nvPr>
        </p:nvSpPr>
        <p:spPr>
          <a:xfrm>
            <a:off x="3112020" y="2858135"/>
            <a:ext cx="3659505" cy="274320"/>
          </a:xfrm>
        </p:spPr>
        <p:txBody>
          <a:bodyPr/>
          <a:lstStyle>
            <a:lvl1pPr marL="0" indent="0">
              <a:buNone/>
              <a:defRPr>
                <a:solidFill>
                  <a:schemeClr val="tx1">
                    <a:lumMod val="75000"/>
                    <a:lumOff val="25000"/>
                  </a:schemeClr>
                </a:solidFill>
              </a:defRPr>
            </a:lvl1pPr>
          </a:lstStyle>
          <a:p>
            <a:pPr lvl="0"/>
            <a:r>
              <a:rPr lang="en-US"/>
              <a:t>Click to edit Master text styles</a:t>
            </a:r>
          </a:p>
        </p:txBody>
      </p:sp>
      <p:grpSp>
        <p:nvGrpSpPr>
          <p:cNvPr id="4" name="Group 4"/>
          <p:cNvGrpSpPr>
            <a:grpSpLocks noChangeAspect="1"/>
          </p:cNvGrpSpPr>
          <p:nvPr/>
        </p:nvGrpSpPr>
        <p:grpSpPr bwMode="auto">
          <a:xfrm>
            <a:off x="3030528" y="5748347"/>
            <a:ext cx="1219835" cy="692817"/>
            <a:chOff x="1431" y="3621"/>
            <a:chExt cx="619" cy="469"/>
          </a:xfrm>
        </p:grpSpPr>
        <p:sp>
          <p:nvSpPr>
            <p:cNvPr id="7" name="Freeform 5"/>
            <p:cNvSpPr>
              <a:spLocks/>
            </p:cNvSpPr>
            <p:nvPr/>
          </p:nvSpPr>
          <p:spPr bwMode="auto">
            <a:xfrm>
              <a:off x="1436" y="3621"/>
              <a:ext cx="200" cy="251"/>
            </a:xfrm>
            <a:custGeom>
              <a:avLst/>
              <a:gdLst>
                <a:gd name="T0" fmla="*/ 75 w 200"/>
                <a:gd name="T1" fmla="*/ 152 h 251"/>
                <a:gd name="T2" fmla="*/ 165 w 200"/>
                <a:gd name="T3" fmla="*/ 152 h 251"/>
                <a:gd name="T4" fmla="*/ 165 w 200"/>
                <a:gd name="T5" fmla="*/ 99 h 251"/>
                <a:gd name="T6" fmla="*/ 75 w 200"/>
                <a:gd name="T7" fmla="*/ 99 h 251"/>
                <a:gd name="T8" fmla="*/ 75 w 200"/>
                <a:gd name="T9" fmla="*/ 58 h 251"/>
                <a:gd name="T10" fmla="*/ 175 w 200"/>
                <a:gd name="T11" fmla="*/ 58 h 251"/>
                <a:gd name="T12" fmla="*/ 142 w 200"/>
                <a:gd name="T13" fmla="*/ 0 h 251"/>
                <a:gd name="T14" fmla="*/ 0 w 200"/>
                <a:gd name="T15" fmla="*/ 0 h 251"/>
                <a:gd name="T16" fmla="*/ 0 w 200"/>
                <a:gd name="T17" fmla="*/ 251 h 251"/>
                <a:gd name="T18" fmla="*/ 200 w 200"/>
                <a:gd name="T19" fmla="*/ 251 h 251"/>
                <a:gd name="T20" fmla="*/ 200 w 200"/>
                <a:gd name="T21" fmla="*/ 193 h 251"/>
                <a:gd name="T22" fmla="*/ 75 w 200"/>
                <a:gd name="T23" fmla="*/ 193 h 251"/>
                <a:gd name="T24" fmla="*/ 75 w 200"/>
                <a:gd name="T25" fmla="*/ 152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51">
                  <a:moveTo>
                    <a:pt x="75" y="152"/>
                  </a:moveTo>
                  <a:lnTo>
                    <a:pt x="165" y="152"/>
                  </a:lnTo>
                  <a:lnTo>
                    <a:pt x="165" y="99"/>
                  </a:lnTo>
                  <a:lnTo>
                    <a:pt x="75" y="99"/>
                  </a:lnTo>
                  <a:lnTo>
                    <a:pt x="75" y="58"/>
                  </a:lnTo>
                  <a:lnTo>
                    <a:pt x="175" y="58"/>
                  </a:lnTo>
                  <a:lnTo>
                    <a:pt x="142" y="0"/>
                  </a:lnTo>
                  <a:lnTo>
                    <a:pt x="0" y="0"/>
                  </a:lnTo>
                  <a:lnTo>
                    <a:pt x="0" y="251"/>
                  </a:lnTo>
                  <a:lnTo>
                    <a:pt x="200" y="251"/>
                  </a:lnTo>
                  <a:lnTo>
                    <a:pt x="200" y="193"/>
                  </a:lnTo>
                  <a:lnTo>
                    <a:pt x="75" y="193"/>
                  </a:lnTo>
                  <a:lnTo>
                    <a:pt x="75" y="152"/>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 name="Freeform 6"/>
            <p:cNvSpPr>
              <a:spLocks/>
            </p:cNvSpPr>
            <p:nvPr/>
          </p:nvSpPr>
          <p:spPr bwMode="auto">
            <a:xfrm>
              <a:off x="1601" y="3621"/>
              <a:ext cx="251" cy="251"/>
            </a:xfrm>
            <a:custGeom>
              <a:avLst/>
              <a:gdLst>
                <a:gd name="T0" fmla="*/ 169 w 251"/>
                <a:gd name="T1" fmla="*/ 0 h 251"/>
                <a:gd name="T2" fmla="*/ 126 w 251"/>
                <a:gd name="T3" fmla="*/ 82 h 251"/>
                <a:gd name="T4" fmla="*/ 84 w 251"/>
                <a:gd name="T5" fmla="*/ 0 h 251"/>
                <a:gd name="T6" fmla="*/ 0 w 251"/>
                <a:gd name="T7" fmla="*/ 0 h 251"/>
                <a:gd name="T8" fmla="*/ 88 w 251"/>
                <a:gd name="T9" fmla="*/ 152 h 251"/>
                <a:gd name="T10" fmla="*/ 88 w 251"/>
                <a:gd name="T11" fmla="*/ 251 h 251"/>
                <a:gd name="T12" fmla="*/ 163 w 251"/>
                <a:gd name="T13" fmla="*/ 251 h 251"/>
                <a:gd name="T14" fmla="*/ 163 w 251"/>
                <a:gd name="T15" fmla="*/ 152 h 251"/>
                <a:gd name="T16" fmla="*/ 251 w 251"/>
                <a:gd name="T17" fmla="*/ 0 h 251"/>
                <a:gd name="T18" fmla="*/ 169 w 251"/>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251">
                  <a:moveTo>
                    <a:pt x="169" y="0"/>
                  </a:moveTo>
                  <a:lnTo>
                    <a:pt x="126" y="82"/>
                  </a:lnTo>
                  <a:lnTo>
                    <a:pt x="84" y="0"/>
                  </a:lnTo>
                  <a:lnTo>
                    <a:pt x="0" y="0"/>
                  </a:lnTo>
                  <a:lnTo>
                    <a:pt x="88" y="152"/>
                  </a:lnTo>
                  <a:lnTo>
                    <a:pt x="88" y="251"/>
                  </a:lnTo>
                  <a:lnTo>
                    <a:pt x="163" y="251"/>
                  </a:lnTo>
                  <a:lnTo>
                    <a:pt x="163" y="152"/>
                  </a:lnTo>
                  <a:lnTo>
                    <a:pt x="251" y="0"/>
                  </a:lnTo>
                  <a:lnTo>
                    <a:pt x="169"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1" name="Freeform 7"/>
            <p:cNvSpPr>
              <a:spLocks noEditPoints="1"/>
            </p:cNvSpPr>
            <p:nvPr/>
          </p:nvSpPr>
          <p:spPr bwMode="auto">
            <a:xfrm>
              <a:off x="1436" y="3933"/>
              <a:ext cx="47" cy="61"/>
            </a:xfrm>
            <a:custGeom>
              <a:avLst/>
              <a:gdLst>
                <a:gd name="T0" fmla="*/ 850 w 850"/>
                <a:gd name="T1" fmla="*/ 751 h 1104"/>
                <a:gd name="T2" fmla="*/ 687 w 850"/>
                <a:gd name="T3" fmla="*/ 506 h 1104"/>
                <a:gd name="T4" fmla="*/ 813 w 850"/>
                <a:gd name="T5" fmla="*/ 288 h 1104"/>
                <a:gd name="T6" fmla="*/ 470 w 850"/>
                <a:gd name="T7" fmla="*/ 0 h 1104"/>
                <a:gd name="T8" fmla="*/ 0 w 850"/>
                <a:gd name="T9" fmla="*/ 0 h 1104"/>
                <a:gd name="T10" fmla="*/ 0 w 850"/>
                <a:gd name="T11" fmla="*/ 1104 h 1104"/>
                <a:gd name="T12" fmla="*/ 465 w 850"/>
                <a:gd name="T13" fmla="*/ 1104 h 1104"/>
                <a:gd name="T14" fmla="*/ 850 w 850"/>
                <a:gd name="T15" fmla="*/ 751 h 1104"/>
                <a:gd name="T16" fmla="*/ 466 w 850"/>
                <a:gd name="T17" fmla="*/ 917 h 1104"/>
                <a:gd name="T18" fmla="*/ 205 w 850"/>
                <a:gd name="T19" fmla="*/ 917 h 1104"/>
                <a:gd name="T20" fmla="*/ 205 w 850"/>
                <a:gd name="T21" fmla="*/ 603 h 1104"/>
                <a:gd name="T22" fmla="*/ 466 w 850"/>
                <a:gd name="T23" fmla="*/ 603 h 1104"/>
                <a:gd name="T24" fmla="*/ 633 w 850"/>
                <a:gd name="T25" fmla="*/ 759 h 1104"/>
                <a:gd name="T26" fmla="*/ 466 w 850"/>
                <a:gd name="T27" fmla="*/ 917 h 1104"/>
                <a:gd name="T28" fmla="*/ 464 w 850"/>
                <a:gd name="T29" fmla="*/ 423 h 1104"/>
                <a:gd name="T30" fmla="*/ 204 w 850"/>
                <a:gd name="T31" fmla="*/ 423 h 1104"/>
                <a:gd name="T32" fmla="*/ 204 w 850"/>
                <a:gd name="T33" fmla="*/ 187 h 1104"/>
                <a:gd name="T34" fmla="*/ 453 w 850"/>
                <a:gd name="T35" fmla="*/ 187 h 1104"/>
                <a:gd name="T36" fmla="*/ 599 w 850"/>
                <a:gd name="T37" fmla="*/ 306 h 1104"/>
                <a:gd name="T38" fmla="*/ 464 w 850"/>
                <a:gd name="T39" fmla="*/ 423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0" h="1104">
                  <a:moveTo>
                    <a:pt x="850" y="751"/>
                  </a:moveTo>
                  <a:cubicBezTo>
                    <a:pt x="850" y="598"/>
                    <a:pt x="744" y="531"/>
                    <a:pt x="687" y="506"/>
                  </a:cubicBezTo>
                  <a:cubicBezTo>
                    <a:pt x="763" y="465"/>
                    <a:pt x="813" y="379"/>
                    <a:pt x="813" y="288"/>
                  </a:cubicBezTo>
                  <a:cubicBezTo>
                    <a:pt x="813" y="105"/>
                    <a:pt x="688" y="0"/>
                    <a:pt x="470" y="0"/>
                  </a:cubicBezTo>
                  <a:cubicBezTo>
                    <a:pt x="0" y="0"/>
                    <a:pt x="0" y="0"/>
                    <a:pt x="0" y="0"/>
                  </a:cubicBezTo>
                  <a:cubicBezTo>
                    <a:pt x="0" y="1104"/>
                    <a:pt x="0" y="1104"/>
                    <a:pt x="0" y="1104"/>
                  </a:cubicBezTo>
                  <a:cubicBezTo>
                    <a:pt x="465" y="1104"/>
                    <a:pt x="465" y="1104"/>
                    <a:pt x="465" y="1104"/>
                  </a:cubicBezTo>
                  <a:cubicBezTo>
                    <a:pt x="706" y="1104"/>
                    <a:pt x="850" y="972"/>
                    <a:pt x="850" y="751"/>
                  </a:cubicBezTo>
                  <a:close/>
                  <a:moveTo>
                    <a:pt x="466" y="917"/>
                  </a:moveTo>
                  <a:cubicBezTo>
                    <a:pt x="205" y="917"/>
                    <a:pt x="205" y="917"/>
                    <a:pt x="205" y="917"/>
                  </a:cubicBezTo>
                  <a:cubicBezTo>
                    <a:pt x="205" y="603"/>
                    <a:pt x="205" y="603"/>
                    <a:pt x="205" y="603"/>
                  </a:cubicBezTo>
                  <a:cubicBezTo>
                    <a:pt x="466" y="603"/>
                    <a:pt x="466" y="603"/>
                    <a:pt x="466" y="603"/>
                  </a:cubicBezTo>
                  <a:cubicBezTo>
                    <a:pt x="577" y="603"/>
                    <a:pt x="633" y="655"/>
                    <a:pt x="633" y="759"/>
                  </a:cubicBezTo>
                  <a:cubicBezTo>
                    <a:pt x="633" y="860"/>
                    <a:pt x="572" y="917"/>
                    <a:pt x="466" y="917"/>
                  </a:cubicBezTo>
                  <a:close/>
                  <a:moveTo>
                    <a:pt x="464" y="423"/>
                  </a:moveTo>
                  <a:cubicBezTo>
                    <a:pt x="204" y="423"/>
                    <a:pt x="204" y="423"/>
                    <a:pt x="204" y="423"/>
                  </a:cubicBezTo>
                  <a:cubicBezTo>
                    <a:pt x="204" y="187"/>
                    <a:pt x="204" y="187"/>
                    <a:pt x="204" y="187"/>
                  </a:cubicBezTo>
                  <a:cubicBezTo>
                    <a:pt x="453" y="187"/>
                    <a:pt x="453" y="187"/>
                    <a:pt x="453" y="187"/>
                  </a:cubicBezTo>
                  <a:cubicBezTo>
                    <a:pt x="551" y="187"/>
                    <a:pt x="599" y="226"/>
                    <a:pt x="599" y="306"/>
                  </a:cubicBezTo>
                  <a:cubicBezTo>
                    <a:pt x="599" y="359"/>
                    <a:pt x="576" y="423"/>
                    <a:pt x="464" y="423"/>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3" name="Freeform 8"/>
            <p:cNvSpPr>
              <a:spLocks/>
            </p:cNvSpPr>
            <p:nvPr/>
          </p:nvSpPr>
          <p:spPr bwMode="auto">
            <a:xfrm>
              <a:off x="1490" y="3949"/>
              <a:ext cx="39" cy="46"/>
            </a:xfrm>
            <a:custGeom>
              <a:avLst/>
              <a:gdLst>
                <a:gd name="T0" fmla="*/ 305 w 697"/>
                <a:gd name="T1" fmla="*/ 823 h 823"/>
                <a:gd name="T2" fmla="*/ 497 w 697"/>
                <a:gd name="T3" fmla="*/ 741 h 823"/>
                <a:gd name="T4" fmla="*/ 497 w 697"/>
                <a:gd name="T5" fmla="*/ 806 h 823"/>
                <a:gd name="T6" fmla="*/ 697 w 697"/>
                <a:gd name="T7" fmla="*/ 806 h 823"/>
                <a:gd name="T8" fmla="*/ 697 w 697"/>
                <a:gd name="T9" fmla="*/ 0 h 823"/>
                <a:gd name="T10" fmla="*/ 497 w 697"/>
                <a:gd name="T11" fmla="*/ 0 h 823"/>
                <a:gd name="T12" fmla="*/ 497 w 697"/>
                <a:gd name="T13" fmla="*/ 445 h 823"/>
                <a:gd name="T14" fmla="*/ 347 w 697"/>
                <a:gd name="T15" fmla="*/ 641 h 823"/>
                <a:gd name="T16" fmla="*/ 199 w 697"/>
                <a:gd name="T17" fmla="*/ 444 h 823"/>
                <a:gd name="T18" fmla="*/ 199 w 697"/>
                <a:gd name="T19" fmla="*/ 0 h 823"/>
                <a:gd name="T20" fmla="*/ 0 w 697"/>
                <a:gd name="T21" fmla="*/ 0 h 823"/>
                <a:gd name="T22" fmla="*/ 0 w 697"/>
                <a:gd name="T23" fmla="*/ 455 h 823"/>
                <a:gd name="T24" fmla="*/ 305 w 697"/>
                <a:gd name="T25" fmla="*/ 823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3">
                  <a:moveTo>
                    <a:pt x="305" y="823"/>
                  </a:moveTo>
                  <a:cubicBezTo>
                    <a:pt x="384" y="823"/>
                    <a:pt x="448" y="796"/>
                    <a:pt x="497" y="741"/>
                  </a:cubicBezTo>
                  <a:cubicBezTo>
                    <a:pt x="497" y="806"/>
                    <a:pt x="497" y="806"/>
                    <a:pt x="497" y="806"/>
                  </a:cubicBezTo>
                  <a:cubicBezTo>
                    <a:pt x="697" y="806"/>
                    <a:pt x="697" y="806"/>
                    <a:pt x="697" y="806"/>
                  </a:cubicBezTo>
                  <a:cubicBezTo>
                    <a:pt x="697" y="0"/>
                    <a:pt x="697" y="0"/>
                    <a:pt x="697" y="0"/>
                  </a:cubicBezTo>
                  <a:cubicBezTo>
                    <a:pt x="497" y="0"/>
                    <a:pt x="497" y="0"/>
                    <a:pt x="497" y="0"/>
                  </a:cubicBezTo>
                  <a:cubicBezTo>
                    <a:pt x="497" y="445"/>
                    <a:pt x="497" y="445"/>
                    <a:pt x="497" y="445"/>
                  </a:cubicBezTo>
                  <a:cubicBezTo>
                    <a:pt x="497" y="575"/>
                    <a:pt x="447" y="641"/>
                    <a:pt x="347" y="641"/>
                  </a:cubicBezTo>
                  <a:cubicBezTo>
                    <a:pt x="246" y="641"/>
                    <a:pt x="199" y="578"/>
                    <a:pt x="199" y="444"/>
                  </a:cubicBezTo>
                  <a:cubicBezTo>
                    <a:pt x="199" y="0"/>
                    <a:pt x="199" y="0"/>
                    <a:pt x="199" y="0"/>
                  </a:cubicBezTo>
                  <a:cubicBezTo>
                    <a:pt x="0" y="0"/>
                    <a:pt x="0" y="0"/>
                    <a:pt x="0" y="0"/>
                  </a:cubicBezTo>
                  <a:cubicBezTo>
                    <a:pt x="0" y="455"/>
                    <a:pt x="0" y="455"/>
                    <a:pt x="0" y="455"/>
                  </a:cubicBezTo>
                  <a:cubicBezTo>
                    <a:pt x="0" y="593"/>
                    <a:pt x="40" y="823"/>
                    <a:pt x="305" y="823"/>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4" name="Freeform 9"/>
            <p:cNvSpPr>
              <a:spLocks/>
            </p:cNvSpPr>
            <p:nvPr/>
          </p:nvSpPr>
          <p:spPr bwMode="auto">
            <a:xfrm>
              <a:off x="1647" y="3948"/>
              <a:ext cx="39" cy="46"/>
            </a:xfrm>
            <a:custGeom>
              <a:avLst/>
              <a:gdLst>
                <a:gd name="T0" fmla="*/ 199 w 696"/>
                <a:gd name="T1" fmla="*/ 378 h 824"/>
                <a:gd name="T2" fmla="*/ 352 w 696"/>
                <a:gd name="T3" fmla="*/ 183 h 824"/>
                <a:gd name="T4" fmla="*/ 497 w 696"/>
                <a:gd name="T5" fmla="*/ 380 h 824"/>
                <a:gd name="T6" fmla="*/ 497 w 696"/>
                <a:gd name="T7" fmla="*/ 824 h 824"/>
                <a:gd name="T8" fmla="*/ 696 w 696"/>
                <a:gd name="T9" fmla="*/ 824 h 824"/>
                <a:gd name="T10" fmla="*/ 696 w 696"/>
                <a:gd name="T11" fmla="*/ 368 h 824"/>
                <a:gd name="T12" fmla="*/ 401 w 696"/>
                <a:gd name="T13" fmla="*/ 0 h 824"/>
                <a:gd name="T14" fmla="*/ 199 w 696"/>
                <a:gd name="T15" fmla="*/ 86 h 824"/>
                <a:gd name="T16" fmla="*/ 199 w 696"/>
                <a:gd name="T17" fmla="*/ 18 h 824"/>
                <a:gd name="T18" fmla="*/ 0 w 696"/>
                <a:gd name="T19" fmla="*/ 18 h 824"/>
                <a:gd name="T20" fmla="*/ 0 w 696"/>
                <a:gd name="T21" fmla="*/ 824 h 824"/>
                <a:gd name="T22" fmla="*/ 199 w 696"/>
                <a:gd name="T23" fmla="*/ 824 h 824"/>
                <a:gd name="T24" fmla="*/ 199 w 696"/>
                <a:gd name="T25"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6" h="824">
                  <a:moveTo>
                    <a:pt x="199" y="378"/>
                  </a:moveTo>
                  <a:cubicBezTo>
                    <a:pt x="199" y="250"/>
                    <a:pt x="252" y="183"/>
                    <a:pt x="352" y="183"/>
                  </a:cubicBezTo>
                  <a:cubicBezTo>
                    <a:pt x="451" y="183"/>
                    <a:pt x="497" y="245"/>
                    <a:pt x="497" y="380"/>
                  </a:cubicBezTo>
                  <a:cubicBezTo>
                    <a:pt x="497" y="824"/>
                    <a:pt x="497" y="824"/>
                    <a:pt x="497" y="824"/>
                  </a:cubicBezTo>
                  <a:cubicBezTo>
                    <a:pt x="696" y="824"/>
                    <a:pt x="696" y="824"/>
                    <a:pt x="696" y="824"/>
                  </a:cubicBezTo>
                  <a:cubicBezTo>
                    <a:pt x="696" y="368"/>
                    <a:pt x="696" y="368"/>
                    <a:pt x="696" y="368"/>
                  </a:cubicBezTo>
                  <a:cubicBezTo>
                    <a:pt x="696" y="127"/>
                    <a:pt x="594" y="0"/>
                    <a:pt x="401" y="0"/>
                  </a:cubicBezTo>
                  <a:cubicBezTo>
                    <a:pt x="319" y="0"/>
                    <a:pt x="248" y="30"/>
                    <a:pt x="199" y="86"/>
                  </a:cubicBezTo>
                  <a:cubicBezTo>
                    <a:pt x="199" y="18"/>
                    <a:pt x="199" y="18"/>
                    <a:pt x="199" y="18"/>
                  </a:cubicBezTo>
                  <a:cubicBezTo>
                    <a:pt x="0" y="18"/>
                    <a:pt x="0" y="18"/>
                    <a:pt x="0" y="18"/>
                  </a:cubicBezTo>
                  <a:cubicBezTo>
                    <a:pt x="0" y="824"/>
                    <a:pt x="0" y="824"/>
                    <a:pt x="0" y="824"/>
                  </a:cubicBezTo>
                  <a:cubicBezTo>
                    <a:pt x="199" y="824"/>
                    <a:pt x="199" y="824"/>
                    <a:pt x="199" y="824"/>
                  </a:cubicBezTo>
                  <a:lnTo>
                    <a:pt x="199" y="378"/>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5" name="Rectangle 10"/>
            <p:cNvSpPr>
              <a:spLocks noChangeArrowheads="1"/>
            </p:cNvSpPr>
            <p:nvPr/>
          </p:nvSpPr>
          <p:spPr bwMode="auto">
            <a:xfrm>
              <a:off x="1539" y="3949"/>
              <a:ext cx="11" cy="45"/>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6" name="Freeform 11"/>
            <p:cNvSpPr>
              <a:spLocks/>
            </p:cNvSpPr>
            <p:nvPr/>
          </p:nvSpPr>
          <p:spPr bwMode="auto">
            <a:xfrm>
              <a:off x="1560" y="3931"/>
              <a:ext cx="11" cy="63"/>
            </a:xfrm>
            <a:custGeom>
              <a:avLst/>
              <a:gdLst>
                <a:gd name="T0" fmla="*/ 0 w 11"/>
                <a:gd name="T1" fmla="*/ 63 h 63"/>
                <a:gd name="T2" fmla="*/ 11 w 11"/>
                <a:gd name="T3" fmla="*/ 63 h 63"/>
                <a:gd name="T4" fmla="*/ 11 w 11"/>
                <a:gd name="T5" fmla="*/ 0 h 63"/>
                <a:gd name="T6" fmla="*/ 0 w 11"/>
                <a:gd name="T7" fmla="*/ 5 h 63"/>
                <a:gd name="T8" fmla="*/ 0 w 11"/>
                <a:gd name="T9" fmla="*/ 63 h 63"/>
              </a:gdLst>
              <a:ahLst/>
              <a:cxnLst>
                <a:cxn ang="0">
                  <a:pos x="T0" y="T1"/>
                </a:cxn>
                <a:cxn ang="0">
                  <a:pos x="T2" y="T3"/>
                </a:cxn>
                <a:cxn ang="0">
                  <a:pos x="T4" y="T5"/>
                </a:cxn>
                <a:cxn ang="0">
                  <a:pos x="T6" y="T7"/>
                </a:cxn>
                <a:cxn ang="0">
                  <a:pos x="T8" y="T9"/>
                </a:cxn>
              </a:cxnLst>
              <a:rect l="0" t="0" r="r" b="b"/>
              <a:pathLst>
                <a:path w="11" h="63">
                  <a:moveTo>
                    <a:pt x="0" y="63"/>
                  </a:moveTo>
                  <a:lnTo>
                    <a:pt x="11" y="63"/>
                  </a:lnTo>
                  <a:lnTo>
                    <a:pt x="11" y="0"/>
                  </a:lnTo>
                  <a:lnTo>
                    <a:pt x="0" y="5"/>
                  </a:lnTo>
                  <a:lnTo>
                    <a:pt x="0" y="63"/>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7" name="Freeform 12"/>
            <p:cNvSpPr>
              <a:spLocks noEditPoints="1"/>
            </p:cNvSpPr>
            <p:nvPr/>
          </p:nvSpPr>
          <p:spPr bwMode="auto">
            <a:xfrm>
              <a:off x="1578" y="3931"/>
              <a:ext cx="39" cy="64"/>
            </a:xfrm>
            <a:custGeom>
              <a:avLst/>
              <a:gdLst>
                <a:gd name="T0" fmla="*/ 495 w 694"/>
                <a:gd name="T1" fmla="*/ 392 h 1159"/>
                <a:gd name="T2" fmla="*/ 316 w 694"/>
                <a:gd name="T3" fmla="*/ 318 h 1159"/>
                <a:gd name="T4" fmla="*/ 0 w 694"/>
                <a:gd name="T5" fmla="*/ 731 h 1159"/>
                <a:gd name="T6" fmla="*/ 312 w 694"/>
                <a:gd name="T7" fmla="*/ 1159 h 1159"/>
                <a:gd name="T8" fmla="*/ 495 w 694"/>
                <a:gd name="T9" fmla="*/ 1080 h 1159"/>
                <a:gd name="T10" fmla="*/ 495 w 694"/>
                <a:gd name="T11" fmla="*/ 1142 h 1159"/>
                <a:gd name="T12" fmla="*/ 694 w 694"/>
                <a:gd name="T13" fmla="*/ 1142 h 1159"/>
                <a:gd name="T14" fmla="*/ 694 w 694"/>
                <a:gd name="T15" fmla="*/ 0 h 1159"/>
                <a:gd name="T16" fmla="*/ 495 w 694"/>
                <a:gd name="T17" fmla="*/ 100 h 1159"/>
                <a:gd name="T18" fmla="*/ 495 w 694"/>
                <a:gd name="T19" fmla="*/ 392 h 1159"/>
                <a:gd name="T20" fmla="*/ 355 w 694"/>
                <a:gd name="T21" fmla="*/ 976 h 1159"/>
                <a:gd name="T22" fmla="*/ 203 w 694"/>
                <a:gd name="T23" fmla="*/ 726 h 1159"/>
                <a:gd name="T24" fmla="*/ 352 w 694"/>
                <a:gd name="T25" fmla="*/ 501 h 1159"/>
                <a:gd name="T26" fmla="*/ 495 w 694"/>
                <a:gd name="T27" fmla="*/ 579 h 1159"/>
                <a:gd name="T28" fmla="*/ 495 w 694"/>
                <a:gd name="T29" fmla="*/ 896 h 1159"/>
                <a:gd name="T30" fmla="*/ 355 w 694"/>
                <a:gd name="T31" fmla="*/ 976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4" h="1159">
                  <a:moveTo>
                    <a:pt x="495" y="392"/>
                  </a:moveTo>
                  <a:cubicBezTo>
                    <a:pt x="446" y="342"/>
                    <a:pt x="384" y="318"/>
                    <a:pt x="316" y="318"/>
                  </a:cubicBezTo>
                  <a:cubicBezTo>
                    <a:pt x="121" y="318"/>
                    <a:pt x="0" y="476"/>
                    <a:pt x="0" y="731"/>
                  </a:cubicBezTo>
                  <a:cubicBezTo>
                    <a:pt x="0" y="999"/>
                    <a:pt x="117" y="1159"/>
                    <a:pt x="312" y="1159"/>
                  </a:cubicBezTo>
                  <a:cubicBezTo>
                    <a:pt x="379" y="1159"/>
                    <a:pt x="442" y="1134"/>
                    <a:pt x="495" y="1080"/>
                  </a:cubicBezTo>
                  <a:cubicBezTo>
                    <a:pt x="495" y="1142"/>
                    <a:pt x="495" y="1142"/>
                    <a:pt x="495" y="1142"/>
                  </a:cubicBezTo>
                  <a:cubicBezTo>
                    <a:pt x="694" y="1142"/>
                    <a:pt x="694" y="1142"/>
                    <a:pt x="694" y="1142"/>
                  </a:cubicBezTo>
                  <a:cubicBezTo>
                    <a:pt x="694" y="0"/>
                    <a:pt x="694" y="0"/>
                    <a:pt x="694" y="0"/>
                  </a:cubicBezTo>
                  <a:cubicBezTo>
                    <a:pt x="495" y="100"/>
                    <a:pt x="495" y="100"/>
                    <a:pt x="495" y="100"/>
                  </a:cubicBezTo>
                  <a:lnTo>
                    <a:pt x="495" y="392"/>
                  </a:lnTo>
                  <a:close/>
                  <a:moveTo>
                    <a:pt x="355" y="976"/>
                  </a:moveTo>
                  <a:cubicBezTo>
                    <a:pt x="286" y="976"/>
                    <a:pt x="203" y="932"/>
                    <a:pt x="203" y="726"/>
                  </a:cubicBezTo>
                  <a:cubicBezTo>
                    <a:pt x="203" y="540"/>
                    <a:pt x="284" y="501"/>
                    <a:pt x="352" y="501"/>
                  </a:cubicBezTo>
                  <a:cubicBezTo>
                    <a:pt x="427" y="501"/>
                    <a:pt x="472" y="545"/>
                    <a:pt x="495" y="579"/>
                  </a:cubicBezTo>
                  <a:cubicBezTo>
                    <a:pt x="495" y="896"/>
                    <a:pt x="495" y="896"/>
                    <a:pt x="495" y="896"/>
                  </a:cubicBezTo>
                  <a:cubicBezTo>
                    <a:pt x="465" y="935"/>
                    <a:pt x="429" y="976"/>
                    <a:pt x="355" y="976"/>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8" name="Freeform 13"/>
            <p:cNvSpPr>
              <a:spLocks noEditPoints="1"/>
            </p:cNvSpPr>
            <p:nvPr/>
          </p:nvSpPr>
          <p:spPr bwMode="auto">
            <a:xfrm>
              <a:off x="1825" y="3932"/>
              <a:ext cx="38" cy="63"/>
            </a:xfrm>
            <a:custGeom>
              <a:avLst/>
              <a:gdLst>
                <a:gd name="T0" fmla="*/ 378 w 695"/>
                <a:gd name="T1" fmla="*/ 297 h 1138"/>
                <a:gd name="T2" fmla="*/ 199 w 695"/>
                <a:gd name="T3" fmla="*/ 372 h 1138"/>
                <a:gd name="T4" fmla="*/ 199 w 695"/>
                <a:gd name="T5" fmla="*/ 0 h 1138"/>
                <a:gd name="T6" fmla="*/ 0 w 695"/>
                <a:gd name="T7" fmla="*/ 99 h 1138"/>
                <a:gd name="T8" fmla="*/ 0 w 695"/>
                <a:gd name="T9" fmla="*/ 1121 h 1138"/>
                <a:gd name="T10" fmla="*/ 199 w 695"/>
                <a:gd name="T11" fmla="*/ 1121 h 1138"/>
                <a:gd name="T12" fmla="*/ 199 w 695"/>
                <a:gd name="T13" fmla="*/ 1061 h 1138"/>
                <a:gd name="T14" fmla="*/ 382 w 695"/>
                <a:gd name="T15" fmla="*/ 1138 h 1138"/>
                <a:gd name="T16" fmla="*/ 695 w 695"/>
                <a:gd name="T17" fmla="*/ 710 h 1138"/>
                <a:gd name="T18" fmla="*/ 378 w 695"/>
                <a:gd name="T19" fmla="*/ 297 h 1138"/>
                <a:gd name="T20" fmla="*/ 341 w 695"/>
                <a:gd name="T21" fmla="*/ 480 h 1138"/>
                <a:gd name="T22" fmla="*/ 491 w 695"/>
                <a:gd name="T23" fmla="*/ 705 h 1138"/>
                <a:gd name="T24" fmla="*/ 345 w 695"/>
                <a:gd name="T25" fmla="*/ 955 h 1138"/>
                <a:gd name="T26" fmla="*/ 199 w 695"/>
                <a:gd name="T27" fmla="*/ 879 h 1138"/>
                <a:gd name="T28" fmla="*/ 199 w 695"/>
                <a:gd name="T29" fmla="*/ 562 h 1138"/>
                <a:gd name="T30" fmla="*/ 341 w 695"/>
                <a:gd name="T31" fmla="*/ 48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5" h="1138">
                  <a:moveTo>
                    <a:pt x="378" y="297"/>
                  </a:moveTo>
                  <a:cubicBezTo>
                    <a:pt x="316" y="297"/>
                    <a:pt x="250" y="325"/>
                    <a:pt x="199" y="372"/>
                  </a:cubicBezTo>
                  <a:cubicBezTo>
                    <a:pt x="199" y="0"/>
                    <a:pt x="199" y="0"/>
                    <a:pt x="199" y="0"/>
                  </a:cubicBezTo>
                  <a:cubicBezTo>
                    <a:pt x="0" y="99"/>
                    <a:pt x="0" y="99"/>
                    <a:pt x="0" y="99"/>
                  </a:cubicBezTo>
                  <a:cubicBezTo>
                    <a:pt x="0" y="1121"/>
                    <a:pt x="0" y="1121"/>
                    <a:pt x="0" y="1121"/>
                  </a:cubicBezTo>
                  <a:cubicBezTo>
                    <a:pt x="199" y="1121"/>
                    <a:pt x="199" y="1121"/>
                    <a:pt x="199" y="1121"/>
                  </a:cubicBezTo>
                  <a:cubicBezTo>
                    <a:pt x="199" y="1061"/>
                    <a:pt x="199" y="1061"/>
                    <a:pt x="199" y="1061"/>
                  </a:cubicBezTo>
                  <a:cubicBezTo>
                    <a:pt x="248" y="1111"/>
                    <a:pt x="311" y="1138"/>
                    <a:pt x="382" y="1138"/>
                  </a:cubicBezTo>
                  <a:cubicBezTo>
                    <a:pt x="581" y="1138"/>
                    <a:pt x="695" y="982"/>
                    <a:pt x="695" y="710"/>
                  </a:cubicBezTo>
                  <a:cubicBezTo>
                    <a:pt x="695" y="455"/>
                    <a:pt x="573" y="297"/>
                    <a:pt x="378" y="297"/>
                  </a:cubicBezTo>
                  <a:close/>
                  <a:moveTo>
                    <a:pt x="341" y="480"/>
                  </a:moveTo>
                  <a:cubicBezTo>
                    <a:pt x="414" y="480"/>
                    <a:pt x="491" y="539"/>
                    <a:pt x="491" y="705"/>
                  </a:cubicBezTo>
                  <a:cubicBezTo>
                    <a:pt x="491" y="873"/>
                    <a:pt x="443" y="955"/>
                    <a:pt x="345" y="955"/>
                  </a:cubicBezTo>
                  <a:cubicBezTo>
                    <a:pt x="270" y="955"/>
                    <a:pt x="221" y="905"/>
                    <a:pt x="199" y="879"/>
                  </a:cubicBezTo>
                  <a:cubicBezTo>
                    <a:pt x="199" y="562"/>
                    <a:pt x="199" y="562"/>
                    <a:pt x="199" y="562"/>
                  </a:cubicBezTo>
                  <a:cubicBezTo>
                    <a:pt x="232" y="511"/>
                    <a:pt x="282" y="480"/>
                    <a:pt x="341" y="48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9" name="Freeform 14"/>
            <p:cNvSpPr>
              <a:spLocks noEditPoints="1"/>
            </p:cNvSpPr>
            <p:nvPr/>
          </p:nvSpPr>
          <p:spPr bwMode="auto">
            <a:xfrm>
              <a:off x="1693" y="3948"/>
              <a:ext cx="39" cy="64"/>
            </a:xfrm>
            <a:custGeom>
              <a:avLst/>
              <a:gdLst>
                <a:gd name="T0" fmla="*/ 495 w 694"/>
                <a:gd name="T1" fmla="*/ 74 h 1152"/>
                <a:gd name="T2" fmla="*/ 316 w 694"/>
                <a:gd name="T3" fmla="*/ 0 h 1152"/>
                <a:gd name="T4" fmla="*/ 0 w 694"/>
                <a:gd name="T5" fmla="*/ 412 h 1152"/>
                <a:gd name="T6" fmla="*/ 312 w 694"/>
                <a:gd name="T7" fmla="*/ 841 h 1152"/>
                <a:gd name="T8" fmla="*/ 495 w 694"/>
                <a:gd name="T9" fmla="*/ 763 h 1152"/>
                <a:gd name="T10" fmla="*/ 495 w 694"/>
                <a:gd name="T11" fmla="*/ 782 h 1152"/>
                <a:gd name="T12" fmla="*/ 237 w 694"/>
                <a:gd name="T13" fmla="*/ 995 h 1152"/>
                <a:gd name="T14" fmla="*/ 228 w 694"/>
                <a:gd name="T15" fmla="*/ 996 h 1152"/>
                <a:gd name="T16" fmla="*/ 299 w 694"/>
                <a:gd name="T17" fmla="*/ 1152 h 1152"/>
                <a:gd name="T18" fmla="*/ 303 w 694"/>
                <a:gd name="T19" fmla="*/ 1152 h 1152"/>
                <a:gd name="T20" fmla="*/ 694 w 694"/>
                <a:gd name="T21" fmla="*/ 749 h 1152"/>
                <a:gd name="T22" fmla="*/ 694 w 694"/>
                <a:gd name="T23" fmla="*/ 17 h 1152"/>
                <a:gd name="T24" fmla="*/ 495 w 694"/>
                <a:gd name="T25" fmla="*/ 17 h 1152"/>
                <a:gd name="T26" fmla="*/ 495 w 694"/>
                <a:gd name="T27" fmla="*/ 74 h 1152"/>
                <a:gd name="T28" fmla="*/ 495 w 694"/>
                <a:gd name="T29" fmla="*/ 261 h 1152"/>
                <a:gd name="T30" fmla="*/ 495 w 694"/>
                <a:gd name="T31" fmla="*/ 578 h 1152"/>
                <a:gd name="T32" fmla="*/ 354 w 694"/>
                <a:gd name="T33" fmla="*/ 657 h 1152"/>
                <a:gd name="T34" fmla="*/ 203 w 694"/>
                <a:gd name="T35" fmla="*/ 408 h 1152"/>
                <a:gd name="T36" fmla="*/ 352 w 694"/>
                <a:gd name="T37" fmla="*/ 182 h 1152"/>
                <a:gd name="T38" fmla="*/ 495 w 694"/>
                <a:gd name="T39" fmla="*/ 261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4" h="1152">
                  <a:moveTo>
                    <a:pt x="495" y="74"/>
                  </a:moveTo>
                  <a:cubicBezTo>
                    <a:pt x="447" y="26"/>
                    <a:pt x="384" y="0"/>
                    <a:pt x="316" y="0"/>
                  </a:cubicBezTo>
                  <a:cubicBezTo>
                    <a:pt x="121" y="0"/>
                    <a:pt x="0" y="158"/>
                    <a:pt x="0" y="412"/>
                  </a:cubicBezTo>
                  <a:cubicBezTo>
                    <a:pt x="0" y="681"/>
                    <a:pt x="116" y="841"/>
                    <a:pt x="312" y="841"/>
                  </a:cubicBezTo>
                  <a:cubicBezTo>
                    <a:pt x="382" y="841"/>
                    <a:pt x="444" y="815"/>
                    <a:pt x="495" y="763"/>
                  </a:cubicBezTo>
                  <a:cubicBezTo>
                    <a:pt x="495" y="782"/>
                    <a:pt x="495" y="782"/>
                    <a:pt x="495" y="782"/>
                  </a:cubicBezTo>
                  <a:cubicBezTo>
                    <a:pt x="495" y="870"/>
                    <a:pt x="495" y="991"/>
                    <a:pt x="237" y="995"/>
                  </a:cubicBezTo>
                  <a:cubicBezTo>
                    <a:pt x="228" y="996"/>
                    <a:pt x="228" y="996"/>
                    <a:pt x="228" y="996"/>
                  </a:cubicBezTo>
                  <a:cubicBezTo>
                    <a:pt x="299" y="1152"/>
                    <a:pt x="299" y="1152"/>
                    <a:pt x="299" y="1152"/>
                  </a:cubicBezTo>
                  <a:cubicBezTo>
                    <a:pt x="303" y="1152"/>
                    <a:pt x="303" y="1152"/>
                    <a:pt x="303" y="1152"/>
                  </a:cubicBezTo>
                  <a:cubicBezTo>
                    <a:pt x="566" y="1148"/>
                    <a:pt x="694" y="1016"/>
                    <a:pt x="694" y="749"/>
                  </a:cubicBezTo>
                  <a:cubicBezTo>
                    <a:pt x="694" y="17"/>
                    <a:pt x="694" y="17"/>
                    <a:pt x="694" y="17"/>
                  </a:cubicBezTo>
                  <a:cubicBezTo>
                    <a:pt x="495" y="17"/>
                    <a:pt x="495" y="17"/>
                    <a:pt x="495" y="17"/>
                  </a:cubicBezTo>
                  <a:lnTo>
                    <a:pt x="495" y="74"/>
                  </a:lnTo>
                  <a:close/>
                  <a:moveTo>
                    <a:pt x="495" y="261"/>
                  </a:moveTo>
                  <a:cubicBezTo>
                    <a:pt x="495" y="578"/>
                    <a:pt x="495" y="578"/>
                    <a:pt x="495" y="578"/>
                  </a:cubicBezTo>
                  <a:cubicBezTo>
                    <a:pt x="463" y="619"/>
                    <a:pt x="425" y="657"/>
                    <a:pt x="354" y="657"/>
                  </a:cubicBezTo>
                  <a:cubicBezTo>
                    <a:pt x="285" y="657"/>
                    <a:pt x="203" y="614"/>
                    <a:pt x="203" y="408"/>
                  </a:cubicBezTo>
                  <a:cubicBezTo>
                    <a:pt x="203" y="222"/>
                    <a:pt x="284" y="182"/>
                    <a:pt x="352" y="182"/>
                  </a:cubicBezTo>
                  <a:cubicBezTo>
                    <a:pt x="427" y="182"/>
                    <a:pt x="472" y="227"/>
                    <a:pt x="495" y="261"/>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0" name="Freeform 15"/>
            <p:cNvSpPr>
              <a:spLocks noEditPoints="1"/>
            </p:cNvSpPr>
            <p:nvPr/>
          </p:nvSpPr>
          <p:spPr bwMode="auto">
            <a:xfrm>
              <a:off x="1758" y="3948"/>
              <a:ext cx="38" cy="47"/>
            </a:xfrm>
            <a:custGeom>
              <a:avLst/>
              <a:gdLst>
                <a:gd name="T0" fmla="*/ 143 w 692"/>
                <a:gd name="T1" fmla="*/ 215 h 841"/>
                <a:gd name="T2" fmla="*/ 349 w 692"/>
                <a:gd name="T3" fmla="*/ 160 h 841"/>
                <a:gd name="T4" fmla="*/ 493 w 692"/>
                <a:gd name="T5" fmla="*/ 276 h 841"/>
                <a:gd name="T6" fmla="*/ 493 w 692"/>
                <a:gd name="T7" fmla="*/ 330 h 841"/>
                <a:gd name="T8" fmla="*/ 322 w 692"/>
                <a:gd name="T9" fmla="*/ 292 h 841"/>
                <a:gd name="T10" fmla="*/ 0 w 692"/>
                <a:gd name="T11" fmla="*/ 556 h 841"/>
                <a:gd name="T12" fmla="*/ 299 w 692"/>
                <a:gd name="T13" fmla="*/ 841 h 841"/>
                <a:gd name="T14" fmla="*/ 493 w 692"/>
                <a:gd name="T15" fmla="*/ 758 h 841"/>
                <a:gd name="T16" fmla="*/ 493 w 692"/>
                <a:gd name="T17" fmla="*/ 824 h 841"/>
                <a:gd name="T18" fmla="*/ 692 w 692"/>
                <a:gd name="T19" fmla="*/ 824 h 841"/>
                <a:gd name="T20" fmla="*/ 692 w 692"/>
                <a:gd name="T21" fmla="*/ 280 h 841"/>
                <a:gd name="T22" fmla="*/ 366 w 692"/>
                <a:gd name="T23" fmla="*/ 0 h 841"/>
                <a:gd name="T24" fmla="*/ 65 w 692"/>
                <a:gd name="T25" fmla="*/ 78 h 841"/>
                <a:gd name="T26" fmla="*/ 143 w 692"/>
                <a:gd name="T27" fmla="*/ 215 h 841"/>
                <a:gd name="T28" fmla="*/ 199 w 692"/>
                <a:gd name="T29" fmla="*/ 556 h 841"/>
                <a:gd name="T30" fmla="*/ 337 w 692"/>
                <a:gd name="T31" fmla="*/ 442 h 841"/>
                <a:gd name="T32" fmla="*/ 493 w 692"/>
                <a:gd name="T33" fmla="*/ 482 h 841"/>
                <a:gd name="T34" fmla="*/ 493 w 692"/>
                <a:gd name="T35" fmla="*/ 592 h 841"/>
                <a:gd name="T36" fmla="*/ 337 w 692"/>
                <a:gd name="T37" fmla="*/ 677 h 841"/>
                <a:gd name="T38" fmla="*/ 199 w 692"/>
                <a:gd name="T39" fmla="*/ 556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2" h="841">
                  <a:moveTo>
                    <a:pt x="143" y="215"/>
                  </a:moveTo>
                  <a:cubicBezTo>
                    <a:pt x="206" y="180"/>
                    <a:pt x="266" y="160"/>
                    <a:pt x="349" y="160"/>
                  </a:cubicBezTo>
                  <a:cubicBezTo>
                    <a:pt x="443" y="160"/>
                    <a:pt x="493" y="200"/>
                    <a:pt x="493" y="276"/>
                  </a:cubicBezTo>
                  <a:cubicBezTo>
                    <a:pt x="493" y="330"/>
                    <a:pt x="493" y="330"/>
                    <a:pt x="493" y="330"/>
                  </a:cubicBezTo>
                  <a:cubicBezTo>
                    <a:pt x="447" y="307"/>
                    <a:pt x="381" y="292"/>
                    <a:pt x="322" y="292"/>
                  </a:cubicBezTo>
                  <a:cubicBezTo>
                    <a:pt x="173" y="292"/>
                    <a:pt x="0" y="361"/>
                    <a:pt x="0" y="556"/>
                  </a:cubicBezTo>
                  <a:cubicBezTo>
                    <a:pt x="0" y="767"/>
                    <a:pt x="161" y="841"/>
                    <a:pt x="299" y="841"/>
                  </a:cubicBezTo>
                  <a:cubicBezTo>
                    <a:pt x="356" y="841"/>
                    <a:pt x="438" y="819"/>
                    <a:pt x="493" y="758"/>
                  </a:cubicBezTo>
                  <a:cubicBezTo>
                    <a:pt x="493" y="824"/>
                    <a:pt x="493" y="824"/>
                    <a:pt x="493" y="824"/>
                  </a:cubicBezTo>
                  <a:cubicBezTo>
                    <a:pt x="692" y="824"/>
                    <a:pt x="692" y="824"/>
                    <a:pt x="692" y="824"/>
                  </a:cubicBezTo>
                  <a:cubicBezTo>
                    <a:pt x="692" y="280"/>
                    <a:pt x="692" y="280"/>
                    <a:pt x="692" y="280"/>
                  </a:cubicBezTo>
                  <a:cubicBezTo>
                    <a:pt x="692" y="105"/>
                    <a:pt x="570" y="0"/>
                    <a:pt x="366" y="0"/>
                  </a:cubicBezTo>
                  <a:cubicBezTo>
                    <a:pt x="256" y="0"/>
                    <a:pt x="158" y="25"/>
                    <a:pt x="65" y="78"/>
                  </a:cubicBezTo>
                  <a:lnTo>
                    <a:pt x="143" y="215"/>
                  </a:lnTo>
                  <a:close/>
                  <a:moveTo>
                    <a:pt x="199" y="556"/>
                  </a:moveTo>
                  <a:cubicBezTo>
                    <a:pt x="199" y="485"/>
                    <a:pt x="251" y="442"/>
                    <a:pt x="337" y="442"/>
                  </a:cubicBezTo>
                  <a:cubicBezTo>
                    <a:pt x="396" y="442"/>
                    <a:pt x="447" y="453"/>
                    <a:pt x="493" y="482"/>
                  </a:cubicBezTo>
                  <a:cubicBezTo>
                    <a:pt x="493" y="592"/>
                    <a:pt x="493" y="592"/>
                    <a:pt x="493" y="592"/>
                  </a:cubicBezTo>
                  <a:cubicBezTo>
                    <a:pt x="468" y="634"/>
                    <a:pt x="410" y="677"/>
                    <a:pt x="337" y="677"/>
                  </a:cubicBezTo>
                  <a:cubicBezTo>
                    <a:pt x="252" y="677"/>
                    <a:pt x="199" y="631"/>
                    <a:pt x="199" y="556"/>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1" name="Freeform 16"/>
            <p:cNvSpPr>
              <a:spLocks noEditPoints="1"/>
            </p:cNvSpPr>
            <p:nvPr/>
          </p:nvSpPr>
          <p:spPr bwMode="auto">
            <a:xfrm>
              <a:off x="1869" y="3948"/>
              <a:ext cx="38" cy="47"/>
            </a:xfrm>
            <a:custGeom>
              <a:avLst/>
              <a:gdLst>
                <a:gd name="T0" fmla="*/ 541 w 700"/>
                <a:gd name="T1" fmla="*/ 590 h 841"/>
                <a:gd name="T2" fmla="*/ 382 w 700"/>
                <a:gd name="T3" fmla="*/ 658 h 841"/>
                <a:gd name="T4" fmla="*/ 203 w 700"/>
                <a:gd name="T5" fmla="*/ 482 h 841"/>
                <a:gd name="T6" fmla="*/ 698 w 700"/>
                <a:gd name="T7" fmla="*/ 482 h 841"/>
                <a:gd name="T8" fmla="*/ 700 w 700"/>
                <a:gd name="T9" fmla="*/ 422 h 841"/>
                <a:gd name="T10" fmla="*/ 362 w 700"/>
                <a:gd name="T11" fmla="*/ 0 h 841"/>
                <a:gd name="T12" fmla="*/ 0 w 700"/>
                <a:gd name="T13" fmla="*/ 422 h 841"/>
                <a:gd name="T14" fmla="*/ 382 w 700"/>
                <a:gd name="T15" fmla="*/ 841 h 841"/>
                <a:gd name="T16" fmla="*/ 667 w 700"/>
                <a:gd name="T17" fmla="*/ 715 h 841"/>
                <a:gd name="T18" fmla="*/ 541 w 700"/>
                <a:gd name="T19" fmla="*/ 590 h 841"/>
                <a:gd name="T20" fmla="*/ 206 w 700"/>
                <a:gd name="T21" fmla="*/ 336 h 841"/>
                <a:gd name="T22" fmla="*/ 356 w 700"/>
                <a:gd name="T23" fmla="*/ 169 h 841"/>
                <a:gd name="T24" fmla="*/ 508 w 700"/>
                <a:gd name="T25" fmla="*/ 336 h 841"/>
                <a:gd name="T26" fmla="*/ 206 w 700"/>
                <a:gd name="T27" fmla="*/ 336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0" h="841">
                  <a:moveTo>
                    <a:pt x="541" y="590"/>
                  </a:moveTo>
                  <a:cubicBezTo>
                    <a:pt x="505" y="623"/>
                    <a:pt x="456" y="658"/>
                    <a:pt x="382" y="658"/>
                  </a:cubicBezTo>
                  <a:cubicBezTo>
                    <a:pt x="342" y="658"/>
                    <a:pt x="213" y="645"/>
                    <a:pt x="203" y="482"/>
                  </a:cubicBezTo>
                  <a:cubicBezTo>
                    <a:pt x="698" y="482"/>
                    <a:pt x="698" y="482"/>
                    <a:pt x="698" y="482"/>
                  </a:cubicBezTo>
                  <a:cubicBezTo>
                    <a:pt x="699" y="465"/>
                    <a:pt x="700" y="442"/>
                    <a:pt x="700" y="422"/>
                  </a:cubicBezTo>
                  <a:cubicBezTo>
                    <a:pt x="700" y="166"/>
                    <a:pt x="567" y="0"/>
                    <a:pt x="362" y="0"/>
                  </a:cubicBezTo>
                  <a:cubicBezTo>
                    <a:pt x="152" y="0"/>
                    <a:pt x="0" y="178"/>
                    <a:pt x="0" y="422"/>
                  </a:cubicBezTo>
                  <a:cubicBezTo>
                    <a:pt x="0" y="676"/>
                    <a:pt x="150" y="841"/>
                    <a:pt x="382" y="841"/>
                  </a:cubicBezTo>
                  <a:cubicBezTo>
                    <a:pt x="489" y="841"/>
                    <a:pt x="591" y="800"/>
                    <a:pt x="667" y="715"/>
                  </a:cubicBezTo>
                  <a:lnTo>
                    <a:pt x="541" y="590"/>
                  </a:lnTo>
                  <a:close/>
                  <a:moveTo>
                    <a:pt x="206" y="336"/>
                  </a:moveTo>
                  <a:cubicBezTo>
                    <a:pt x="211" y="238"/>
                    <a:pt x="272" y="169"/>
                    <a:pt x="356" y="169"/>
                  </a:cubicBezTo>
                  <a:cubicBezTo>
                    <a:pt x="461" y="169"/>
                    <a:pt x="503" y="254"/>
                    <a:pt x="508" y="336"/>
                  </a:cubicBezTo>
                  <a:lnTo>
                    <a:pt x="206" y="33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2" name="Freeform 17"/>
            <p:cNvSpPr>
              <a:spLocks noEditPoints="1"/>
            </p:cNvSpPr>
            <p:nvPr/>
          </p:nvSpPr>
          <p:spPr bwMode="auto">
            <a:xfrm>
              <a:off x="1975" y="3948"/>
              <a:ext cx="39" cy="47"/>
            </a:xfrm>
            <a:custGeom>
              <a:avLst/>
              <a:gdLst>
                <a:gd name="T0" fmla="*/ 541 w 700"/>
                <a:gd name="T1" fmla="*/ 590 h 841"/>
                <a:gd name="T2" fmla="*/ 382 w 700"/>
                <a:gd name="T3" fmla="*/ 658 h 841"/>
                <a:gd name="T4" fmla="*/ 203 w 700"/>
                <a:gd name="T5" fmla="*/ 482 h 841"/>
                <a:gd name="T6" fmla="*/ 697 w 700"/>
                <a:gd name="T7" fmla="*/ 482 h 841"/>
                <a:gd name="T8" fmla="*/ 700 w 700"/>
                <a:gd name="T9" fmla="*/ 422 h 841"/>
                <a:gd name="T10" fmla="*/ 362 w 700"/>
                <a:gd name="T11" fmla="*/ 0 h 841"/>
                <a:gd name="T12" fmla="*/ 0 w 700"/>
                <a:gd name="T13" fmla="*/ 422 h 841"/>
                <a:gd name="T14" fmla="*/ 382 w 700"/>
                <a:gd name="T15" fmla="*/ 841 h 841"/>
                <a:gd name="T16" fmla="*/ 667 w 700"/>
                <a:gd name="T17" fmla="*/ 715 h 841"/>
                <a:gd name="T18" fmla="*/ 541 w 700"/>
                <a:gd name="T19" fmla="*/ 590 h 841"/>
                <a:gd name="T20" fmla="*/ 206 w 700"/>
                <a:gd name="T21" fmla="*/ 336 h 841"/>
                <a:gd name="T22" fmla="*/ 356 w 700"/>
                <a:gd name="T23" fmla="*/ 169 h 841"/>
                <a:gd name="T24" fmla="*/ 508 w 700"/>
                <a:gd name="T25" fmla="*/ 336 h 841"/>
                <a:gd name="T26" fmla="*/ 206 w 700"/>
                <a:gd name="T27" fmla="*/ 336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0" h="841">
                  <a:moveTo>
                    <a:pt x="541" y="590"/>
                  </a:moveTo>
                  <a:cubicBezTo>
                    <a:pt x="505" y="623"/>
                    <a:pt x="456" y="658"/>
                    <a:pt x="382" y="658"/>
                  </a:cubicBezTo>
                  <a:cubicBezTo>
                    <a:pt x="342" y="658"/>
                    <a:pt x="213" y="645"/>
                    <a:pt x="203" y="482"/>
                  </a:cubicBezTo>
                  <a:cubicBezTo>
                    <a:pt x="697" y="482"/>
                    <a:pt x="697" y="482"/>
                    <a:pt x="697" y="482"/>
                  </a:cubicBezTo>
                  <a:cubicBezTo>
                    <a:pt x="699" y="465"/>
                    <a:pt x="700" y="442"/>
                    <a:pt x="700" y="422"/>
                  </a:cubicBezTo>
                  <a:cubicBezTo>
                    <a:pt x="700" y="166"/>
                    <a:pt x="567" y="0"/>
                    <a:pt x="362" y="0"/>
                  </a:cubicBezTo>
                  <a:cubicBezTo>
                    <a:pt x="152" y="0"/>
                    <a:pt x="0" y="178"/>
                    <a:pt x="0" y="422"/>
                  </a:cubicBezTo>
                  <a:cubicBezTo>
                    <a:pt x="0" y="676"/>
                    <a:pt x="150" y="841"/>
                    <a:pt x="382" y="841"/>
                  </a:cubicBezTo>
                  <a:cubicBezTo>
                    <a:pt x="489" y="841"/>
                    <a:pt x="589" y="800"/>
                    <a:pt x="667" y="715"/>
                  </a:cubicBezTo>
                  <a:lnTo>
                    <a:pt x="541" y="590"/>
                  </a:lnTo>
                  <a:close/>
                  <a:moveTo>
                    <a:pt x="206" y="336"/>
                  </a:moveTo>
                  <a:cubicBezTo>
                    <a:pt x="211" y="238"/>
                    <a:pt x="272" y="169"/>
                    <a:pt x="356" y="169"/>
                  </a:cubicBezTo>
                  <a:cubicBezTo>
                    <a:pt x="461" y="169"/>
                    <a:pt x="503" y="254"/>
                    <a:pt x="508" y="336"/>
                  </a:cubicBezTo>
                  <a:lnTo>
                    <a:pt x="206" y="33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3" name="Freeform 18"/>
            <p:cNvSpPr>
              <a:spLocks/>
            </p:cNvSpPr>
            <p:nvPr/>
          </p:nvSpPr>
          <p:spPr bwMode="auto">
            <a:xfrm>
              <a:off x="1942" y="3932"/>
              <a:ext cx="29" cy="63"/>
            </a:xfrm>
            <a:custGeom>
              <a:avLst/>
              <a:gdLst>
                <a:gd name="T0" fmla="*/ 323 w 529"/>
                <a:gd name="T1" fmla="*/ 493 h 1130"/>
                <a:gd name="T2" fmla="*/ 504 w 529"/>
                <a:gd name="T3" fmla="*/ 493 h 1130"/>
                <a:gd name="T4" fmla="*/ 504 w 529"/>
                <a:gd name="T5" fmla="*/ 307 h 1130"/>
                <a:gd name="T6" fmla="*/ 323 w 529"/>
                <a:gd name="T7" fmla="*/ 307 h 1130"/>
                <a:gd name="T8" fmla="*/ 323 w 529"/>
                <a:gd name="T9" fmla="*/ 0 h 1130"/>
                <a:gd name="T10" fmla="*/ 123 w 529"/>
                <a:gd name="T11" fmla="*/ 100 h 1130"/>
                <a:gd name="T12" fmla="*/ 123 w 529"/>
                <a:gd name="T13" fmla="*/ 307 h 1130"/>
                <a:gd name="T14" fmla="*/ 0 w 529"/>
                <a:gd name="T15" fmla="*/ 307 h 1130"/>
                <a:gd name="T16" fmla="*/ 0 w 529"/>
                <a:gd name="T17" fmla="*/ 493 h 1130"/>
                <a:gd name="T18" fmla="*/ 123 w 529"/>
                <a:gd name="T19" fmla="*/ 493 h 1130"/>
                <a:gd name="T20" fmla="*/ 123 w 529"/>
                <a:gd name="T21" fmla="*/ 883 h 1130"/>
                <a:gd name="T22" fmla="*/ 338 w 529"/>
                <a:gd name="T23" fmla="*/ 1130 h 1130"/>
                <a:gd name="T24" fmla="*/ 506 w 529"/>
                <a:gd name="T25" fmla="*/ 1093 h 1130"/>
                <a:gd name="T26" fmla="*/ 529 w 529"/>
                <a:gd name="T27" fmla="*/ 905 h 1130"/>
                <a:gd name="T28" fmla="*/ 409 w 529"/>
                <a:gd name="T29" fmla="*/ 942 h 1130"/>
                <a:gd name="T30" fmla="*/ 323 w 529"/>
                <a:gd name="T31" fmla="*/ 833 h 1130"/>
                <a:gd name="T32" fmla="*/ 323 w 529"/>
                <a:gd name="T33" fmla="*/ 493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9" h="1130">
                  <a:moveTo>
                    <a:pt x="323" y="493"/>
                  </a:moveTo>
                  <a:cubicBezTo>
                    <a:pt x="504" y="493"/>
                    <a:pt x="504" y="493"/>
                    <a:pt x="504" y="493"/>
                  </a:cubicBezTo>
                  <a:cubicBezTo>
                    <a:pt x="504" y="307"/>
                    <a:pt x="504" y="307"/>
                    <a:pt x="504" y="307"/>
                  </a:cubicBezTo>
                  <a:cubicBezTo>
                    <a:pt x="323" y="307"/>
                    <a:pt x="323" y="307"/>
                    <a:pt x="323" y="307"/>
                  </a:cubicBezTo>
                  <a:cubicBezTo>
                    <a:pt x="323" y="0"/>
                    <a:pt x="323" y="0"/>
                    <a:pt x="323" y="0"/>
                  </a:cubicBezTo>
                  <a:cubicBezTo>
                    <a:pt x="123" y="100"/>
                    <a:pt x="123" y="100"/>
                    <a:pt x="123" y="100"/>
                  </a:cubicBezTo>
                  <a:cubicBezTo>
                    <a:pt x="123" y="307"/>
                    <a:pt x="123" y="307"/>
                    <a:pt x="123" y="307"/>
                  </a:cubicBezTo>
                  <a:cubicBezTo>
                    <a:pt x="0" y="307"/>
                    <a:pt x="0" y="307"/>
                    <a:pt x="0" y="307"/>
                  </a:cubicBezTo>
                  <a:cubicBezTo>
                    <a:pt x="0" y="493"/>
                    <a:pt x="0" y="493"/>
                    <a:pt x="0" y="493"/>
                  </a:cubicBezTo>
                  <a:cubicBezTo>
                    <a:pt x="123" y="493"/>
                    <a:pt x="123" y="493"/>
                    <a:pt x="123" y="493"/>
                  </a:cubicBezTo>
                  <a:cubicBezTo>
                    <a:pt x="123" y="883"/>
                    <a:pt x="123" y="883"/>
                    <a:pt x="123" y="883"/>
                  </a:cubicBezTo>
                  <a:cubicBezTo>
                    <a:pt x="123" y="997"/>
                    <a:pt x="180" y="1130"/>
                    <a:pt x="338" y="1130"/>
                  </a:cubicBezTo>
                  <a:cubicBezTo>
                    <a:pt x="401" y="1130"/>
                    <a:pt x="459" y="1117"/>
                    <a:pt x="506" y="1093"/>
                  </a:cubicBezTo>
                  <a:cubicBezTo>
                    <a:pt x="529" y="905"/>
                    <a:pt x="529" y="905"/>
                    <a:pt x="529" y="905"/>
                  </a:cubicBezTo>
                  <a:cubicBezTo>
                    <a:pt x="493" y="925"/>
                    <a:pt x="451" y="942"/>
                    <a:pt x="409" y="942"/>
                  </a:cubicBezTo>
                  <a:cubicBezTo>
                    <a:pt x="350" y="942"/>
                    <a:pt x="323" y="905"/>
                    <a:pt x="323" y="833"/>
                  </a:cubicBezTo>
                  <a:lnTo>
                    <a:pt x="323" y="493"/>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4" name="Freeform 19"/>
            <p:cNvSpPr>
              <a:spLocks/>
            </p:cNvSpPr>
            <p:nvPr/>
          </p:nvSpPr>
          <p:spPr bwMode="auto">
            <a:xfrm>
              <a:off x="1910" y="3932"/>
              <a:ext cx="30" cy="63"/>
            </a:xfrm>
            <a:custGeom>
              <a:avLst/>
              <a:gdLst>
                <a:gd name="T0" fmla="*/ 531 w 531"/>
                <a:gd name="T1" fmla="*/ 905 h 1130"/>
                <a:gd name="T2" fmla="*/ 410 w 531"/>
                <a:gd name="T3" fmla="*/ 942 h 1130"/>
                <a:gd name="T4" fmla="*/ 324 w 531"/>
                <a:gd name="T5" fmla="*/ 833 h 1130"/>
                <a:gd name="T6" fmla="*/ 324 w 531"/>
                <a:gd name="T7" fmla="*/ 493 h 1130"/>
                <a:gd name="T8" fmla="*/ 494 w 531"/>
                <a:gd name="T9" fmla="*/ 493 h 1130"/>
                <a:gd name="T10" fmla="*/ 494 w 531"/>
                <a:gd name="T11" fmla="*/ 307 h 1130"/>
                <a:gd name="T12" fmla="*/ 324 w 531"/>
                <a:gd name="T13" fmla="*/ 307 h 1130"/>
                <a:gd name="T14" fmla="*/ 324 w 531"/>
                <a:gd name="T15" fmla="*/ 0 h 1130"/>
                <a:gd name="T16" fmla="*/ 125 w 531"/>
                <a:gd name="T17" fmla="*/ 100 h 1130"/>
                <a:gd name="T18" fmla="*/ 125 w 531"/>
                <a:gd name="T19" fmla="*/ 307 h 1130"/>
                <a:gd name="T20" fmla="*/ 0 w 531"/>
                <a:gd name="T21" fmla="*/ 307 h 1130"/>
                <a:gd name="T22" fmla="*/ 0 w 531"/>
                <a:gd name="T23" fmla="*/ 493 h 1130"/>
                <a:gd name="T24" fmla="*/ 125 w 531"/>
                <a:gd name="T25" fmla="*/ 493 h 1130"/>
                <a:gd name="T26" fmla="*/ 125 w 531"/>
                <a:gd name="T27" fmla="*/ 883 h 1130"/>
                <a:gd name="T28" fmla="*/ 340 w 531"/>
                <a:gd name="T29" fmla="*/ 1130 h 1130"/>
                <a:gd name="T30" fmla="*/ 507 w 531"/>
                <a:gd name="T31" fmla="*/ 1093 h 1130"/>
                <a:gd name="T32" fmla="*/ 531 w 531"/>
                <a:gd name="T33" fmla="*/ 905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1130">
                  <a:moveTo>
                    <a:pt x="531" y="905"/>
                  </a:moveTo>
                  <a:cubicBezTo>
                    <a:pt x="494" y="925"/>
                    <a:pt x="452" y="942"/>
                    <a:pt x="410" y="942"/>
                  </a:cubicBezTo>
                  <a:cubicBezTo>
                    <a:pt x="351" y="942"/>
                    <a:pt x="324" y="905"/>
                    <a:pt x="324" y="833"/>
                  </a:cubicBezTo>
                  <a:cubicBezTo>
                    <a:pt x="324" y="493"/>
                    <a:pt x="324" y="493"/>
                    <a:pt x="324" y="493"/>
                  </a:cubicBezTo>
                  <a:cubicBezTo>
                    <a:pt x="494" y="493"/>
                    <a:pt x="494" y="493"/>
                    <a:pt x="494" y="493"/>
                  </a:cubicBezTo>
                  <a:cubicBezTo>
                    <a:pt x="494" y="307"/>
                    <a:pt x="494" y="307"/>
                    <a:pt x="494" y="307"/>
                  </a:cubicBezTo>
                  <a:cubicBezTo>
                    <a:pt x="324" y="307"/>
                    <a:pt x="324" y="307"/>
                    <a:pt x="324" y="307"/>
                  </a:cubicBezTo>
                  <a:cubicBezTo>
                    <a:pt x="324" y="0"/>
                    <a:pt x="324" y="0"/>
                    <a:pt x="324" y="0"/>
                  </a:cubicBezTo>
                  <a:cubicBezTo>
                    <a:pt x="125" y="100"/>
                    <a:pt x="125" y="100"/>
                    <a:pt x="125" y="100"/>
                  </a:cubicBezTo>
                  <a:cubicBezTo>
                    <a:pt x="125" y="307"/>
                    <a:pt x="125" y="307"/>
                    <a:pt x="125" y="307"/>
                  </a:cubicBezTo>
                  <a:cubicBezTo>
                    <a:pt x="0" y="307"/>
                    <a:pt x="0" y="307"/>
                    <a:pt x="0" y="307"/>
                  </a:cubicBezTo>
                  <a:cubicBezTo>
                    <a:pt x="0" y="493"/>
                    <a:pt x="0" y="493"/>
                    <a:pt x="0" y="493"/>
                  </a:cubicBezTo>
                  <a:cubicBezTo>
                    <a:pt x="125" y="493"/>
                    <a:pt x="125" y="493"/>
                    <a:pt x="125" y="493"/>
                  </a:cubicBezTo>
                  <a:cubicBezTo>
                    <a:pt x="125" y="883"/>
                    <a:pt x="125" y="883"/>
                    <a:pt x="125" y="883"/>
                  </a:cubicBezTo>
                  <a:cubicBezTo>
                    <a:pt x="125" y="997"/>
                    <a:pt x="181" y="1130"/>
                    <a:pt x="340" y="1130"/>
                  </a:cubicBezTo>
                  <a:cubicBezTo>
                    <a:pt x="403" y="1130"/>
                    <a:pt x="461" y="1117"/>
                    <a:pt x="507" y="1093"/>
                  </a:cubicBezTo>
                  <a:lnTo>
                    <a:pt x="531" y="905"/>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5" name="Freeform 20"/>
            <p:cNvSpPr>
              <a:spLocks/>
            </p:cNvSpPr>
            <p:nvPr/>
          </p:nvSpPr>
          <p:spPr bwMode="auto">
            <a:xfrm>
              <a:off x="2021" y="3948"/>
              <a:ext cx="29" cy="46"/>
            </a:xfrm>
            <a:custGeom>
              <a:avLst/>
              <a:gdLst>
                <a:gd name="T0" fmla="*/ 527 w 527"/>
                <a:gd name="T1" fmla="*/ 49 h 824"/>
                <a:gd name="T2" fmla="*/ 377 w 527"/>
                <a:gd name="T3" fmla="*/ 0 h 824"/>
                <a:gd name="T4" fmla="*/ 199 w 527"/>
                <a:gd name="T5" fmla="*/ 87 h 824"/>
                <a:gd name="T6" fmla="*/ 199 w 527"/>
                <a:gd name="T7" fmla="*/ 18 h 824"/>
                <a:gd name="T8" fmla="*/ 0 w 527"/>
                <a:gd name="T9" fmla="*/ 18 h 824"/>
                <a:gd name="T10" fmla="*/ 0 w 527"/>
                <a:gd name="T11" fmla="*/ 824 h 824"/>
                <a:gd name="T12" fmla="*/ 199 w 527"/>
                <a:gd name="T13" fmla="*/ 824 h 824"/>
                <a:gd name="T14" fmla="*/ 199 w 527"/>
                <a:gd name="T15" fmla="*/ 387 h 824"/>
                <a:gd name="T16" fmla="*/ 343 w 527"/>
                <a:gd name="T17" fmla="*/ 199 h 824"/>
                <a:gd name="T18" fmla="*/ 475 w 527"/>
                <a:gd name="T19" fmla="*/ 243 h 824"/>
                <a:gd name="T20" fmla="*/ 527 w 527"/>
                <a:gd name="T21" fmla="*/ 49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7" h="824">
                  <a:moveTo>
                    <a:pt x="527" y="49"/>
                  </a:moveTo>
                  <a:cubicBezTo>
                    <a:pt x="489" y="19"/>
                    <a:pt x="430" y="0"/>
                    <a:pt x="377" y="0"/>
                  </a:cubicBezTo>
                  <a:cubicBezTo>
                    <a:pt x="307" y="0"/>
                    <a:pt x="247" y="27"/>
                    <a:pt x="199" y="87"/>
                  </a:cubicBezTo>
                  <a:cubicBezTo>
                    <a:pt x="199" y="18"/>
                    <a:pt x="199" y="18"/>
                    <a:pt x="199" y="18"/>
                  </a:cubicBezTo>
                  <a:cubicBezTo>
                    <a:pt x="0" y="18"/>
                    <a:pt x="0" y="18"/>
                    <a:pt x="0" y="18"/>
                  </a:cubicBezTo>
                  <a:cubicBezTo>
                    <a:pt x="0" y="824"/>
                    <a:pt x="0" y="824"/>
                    <a:pt x="0" y="824"/>
                  </a:cubicBezTo>
                  <a:cubicBezTo>
                    <a:pt x="199" y="824"/>
                    <a:pt x="199" y="824"/>
                    <a:pt x="199" y="824"/>
                  </a:cubicBezTo>
                  <a:cubicBezTo>
                    <a:pt x="199" y="387"/>
                    <a:pt x="199" y="387"/>
                    <a:pt x="199" y="387"/>
                  </a:cubicBezTo>
                  <a:cubicBezTo>
                    <a:pt x="199" y="259"/>
                    <a:pt x="245" y="199"/>
                    <a:pt x="343" y="199"/>
                  </a:cubicBezTo>
                  <a:cubicBezTo>
                    <a:pt x="390" y="199"/>
                    <a:pt x="435" y="216"/>
                    <a:pt x="475" y="243"/>
                  </a:cubicBezTo>
                  <a:lnTo>
                    <a:pt x="527" y="4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6" name="Rectangle 21"/>
            <p:cNvSpPr>
              <a:spLocks noChangeArrowheads="1"/>
            </p:cNvSpPr>
            <p:nvPr/>
          </p:nvSpPr>
          <p:spPr bwMode="auto">
            <a:xfrm>
              <a:off x="1539" y="3932"/>
              <a:ext cx="11" cy="11"/>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7" name="Rectangle 22"/>
            <p:cNvSpPr>
              <a:spLocks noChangeArrowheads="1"/>
            </p:cNvSpPr>
            <p:nvPr/>
          </p:nvSpPr>
          <p:spPr bwMode="auto">
            <a:xfrm>
              <a:off x="1627" y="3949"/>
              <a:ext cx="11" cy="45"/>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8" name="Rectangle 23"/>
            <p:cNvSpPr>
              <a:spLocks noChangeArrowheads="1"/>
            </p:cNvSpPr>
            <p:nvPr/>
          </p:nvSpPr>
          <p:spPr bwMode="auto">
            <a:xfrm>
              <a:off x="1627" y="3932"/>
              <a:ext cx="10" cy="11"/>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9" name="Freeform 24"/>
            <p:cNvSpPr>
              <a:spLocks noEditPoints="1"/>
            </p:cNvSpPr>
            <p:nvPr/>
          </p:nvSpPr>
          <p:spPr bwMode="auto">
            <a:xfrm>
              <a:off x="1913" y="4009"/>
              <a:ext cx="38" cy="64"/>
            </a:xfrm>
            <a:custGeom>
              <a:avLst/>
              <a:gdLst>
                <a:gd name="T0" fmla="*/ 495 w 694"/>
                <a:gd name="T1" fmla="*/ 392 h 1159"/>
                <a:gd name="T2" fmla="*/ 316 w 694"/>
                <a:gd name="T3" fmla="*/ 318 h 1159"/>
                <a:gd name="T4" fmla="*/ 0 w 694"/>
                <a:gd name="T5" fmla="*/ 730 h 1159"/>
                <a:gd name="T6" fmla="*/ 312 w 694"/>
                <a:gd name="T7" fmla="*/ 1159 h 1159"/>
                <a:gd name="T8" fmla="*/ 495 w 694"/>
                <a:gd name="T9" fmla="*/ 1080 h 1159"/>
                <a:gd name="T10" fmla="*/ 495 w 694"/>
                <a:gd name="T11" fmla="*/ 1141 h 1159"/>
                <a:gd name="T12" fmla="*/ 694 w 694"/>
                <a:gd name="T13" fmla="*/ 1141 h 1159"/>
                <a:gd name="T14" fmla="*/ 694 w 694"/>
                <a:gd name="T15" fmla="*/ 0 h 1159"/>
                <a:gd name="T16" fmla="*/ 495 w 694"/>
                <a:gd name="T17" fmla="*/ 99 h 1159"/>
                <a:gd name="T18" fmla="*/ 495 w 694"/>
                <a:gd name="T19" fmla="*/ 392 h 1159"/>
                <a:gd name="T20" fmla="*/ 354 w 694"/>
                <a:gd name="T21" fmla="*/ 975 h 1159"/>
                <a:gd name="T22" fmla="*/ 203 w 694"/>
                <a:gd name="T23" fmla="*/ 725 h 1159"/>
                <a:gd name="T24" fmla="*/ 352 w 694"/>
                <a:gd name="T25" fmla="*/ 500 h 1159"/>
                <a:gd name="T26" fmla="*/ 495 w 694"/>
                <a:gd name="T27" fmla="*/ 579 h 1159"/>
                <a:gd name="T28" fmla="*/ 495 w 694"/>
                <a:gd name="T29" fmla="*/ 896 h 1159"/>
                <a:gd name="T30" fmla="*/ 354 w 694"/>
                <a:gd name="T31" fmla="*/ 975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4" h="1159">
                  <a:moveTo>
                    <a:pt x="495" y="392"/>
                  </a:moveTo>
                  <a:cubicBezTo>
                    <a:pt x="446" y="342"/>
                    <a:pt x="383" y="318"/>
                    <a:pt x="316" y="318"/>
                  </a:cubicBezTo>
                  <a:cubicBezTo>
                    <a:pt x="121" y="318"/>
                    <a:pt x="0" y="476"/>
                    <a:pt x="0" y="730"/>
                  </a:cubicBezTo>
                  <a:cubicBezTo>
                    <a:pt x="0" y="998"/>
                    <a:pt x="116" y="1159"/>
                    <a:pt x="312" y="1159"/>
                  </a:cubicBezTo>
                  <a:cubicBezTo>
                    <a:pt x="379" y="1159"/>
                    <a:pt x="441" y="1134"/>
                    <a:pt x="495" y="1080"/>
                  </a:cubicBezTo>
                  <a:cubicBezTo>
                    <a:pt x="495" y="1141"/>
                    <a:pt x="495" y="1141"/>
                    <a:pt x="495" y="1141"/>
                  </a:cubicBezTo>
                  <a:cubicBezTo>
                    <a:pt x="694" y="1141"/>
                    <a:pt x="694" y="1141"/>
                    <a:pt x="694" y="1141"/>
                  </a:cubicBezTo>
                  <a:cubicBezTo>
                    <a:pt x="694" y="0"/>
                    <a:pt x="694" y="0"/>
                    <a:pt x="694" y="0"/>
                  </a:cubicBezTo>
                  <a:cubicBezTo>
                    <a:pt x="495" y="99"/>
                    <a:pt x="495" y="99"/>
                    <a:pt x="495" y="99"/>
                  </a:cubicBezTo>
                  <a:lnTo>
                    <a:pt x="495" y="392"/>
                  </a:lnTo>
                  <a:close/>
                  <a:moveTo>
                    <a:pt x="354" y="975"/>
                  </a:moveTo>
                  <a:cubicBezTo>
                    <a:pt x="285" y="975"/>
                    <a:pt x="203" y="932"/>
                    <a:pt x="203" y="725"/>
                  </a:cubicBezTo>
                  <a:cubicBezTo>
                    <a:pt x="203" y="539"/>
                    <a:pt x="284" y="500"/>
                    <a:pt x="352" y="500"/>
                  </a:cubicBezTo>
                  <a:cubicBezTo>
                    <a:pt x="427" y="500"/>
                    <a:pt x="471" y="545"/>
                    <a:pt x="495" y="579"/>
                  </a:cubicBezTo>
                  <a:cubicBezTo>
                    <a:pt x="495" y="896"/>
                    <a:pt x="495" y="896"/>
                    <a:pt x="495" y="896"/>
                  </a:cubicBezTo>
                  <a:cubicBezTo>
                    <a:pt x="465" y="934"/>
                    <a:pt x="428" y="975"/>
                    <a:pt x="354" y="975"/>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30" name="Freeform 25"/>
            <p:cNvSpPr>
              <a:spLocks/>
            </p:cNvSpPr>
            <p:nvPr/>
          </p:nvSpPr>
          <p:spPr bwMode="auto">
            <a:xfrm>
              <a:off x="1540" y="4026"/>
              <a:ext cx="29" cy="46"/>
            </a:xfrm>
            <a:custGeom>
              <a:avLst/>
              <a:gdLst>
                <a:gd name="T0" fmla="*/ 527 w 527"/>
                <a:gd name="T1" fmla="*/ 49 h 824"/>
                <a:gd name="T2" fmla="*/ 377 w 527"/>
                <a:gd name="T3" fmla="*/ 0 h 824"/>
                <a:gd name="T4" fmla="*/ 199 w 527"/>
                <a:gd name="T5" fmla="*/ 87 h 824"/>
                <a:gd name="T6" fmla="*/ 199 w 527"/>
                <a:gd name="T7" fmla="*/ 17 h 824"/>
                <a:gd name="T8" fmla="*/ 0 w 527"/>
                <a:gd name="T9" fmla="*/ 17 h 824"/>
                <a:gd name="T10" fmla="*/ 0 w 527"/>
                <a:gd name="T11" fmla="*/ 824 h 824"/>
                <a:gd name="T12" fmla="*/ 199 w 527"/>
                <a:gd name="T13" fmla="*/ 824 h 824"/>
                <a:gd name="T14" fmla="*/ 199 w 527"/>
                <a:gd name="T15" fmla="*/ 387 h 824"/>
                <a:gd name="T16" fmla="*/ 343 w 527"/>
                <a:gd name="T17" fmla="*/ 199 h 824"/>
                <a:gd name="T18" fmla="*/ 475 w 527"/>
                <a:gd name="T19" fmla="*/ 243 h 824"/>
                <a:gd name="T20" fmla="*/ 527 w 527"/>
                <a:gd name="T21" fmla="*/ 49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7" h="824">
                  <a:moveTo>
                    <a:pt x="527" y="49"/>
                  </a:moveTo>
                  <a:cubicBezTo>
                    <a:pt x="489" y="19"/>
                    <a:pt x="430" y="0"/>
                    <a:pt x="377" y="0"/>
                  </a:cubicBezTo>
                  <a:cubicBezTo>
                    <a:pt x="306" y="0"/>
                    <a:pt x="247" y="27"/>
                    <a:pt x="199" y="87"/>
                  </a:cubicBezTo>
                  <a:cubicBezTo>
                    <a:pt x="199" y="17"/>
                    <a:pt x="199" y="17"/>
                    <a:pt x="199" y="17"/>
                  </a:cubicBezTo>
                  <a:cubicBezTo>
                    <a:pt x="0" y="17"/>
                    <a:pt x="0" y="17"/>
                    <a:pt x="0" y="17"/>
                  </a:cubicBezTo>
                  <a:cubicBezTo>
                    <a:pt x="0" y="824"/>
                    <a:pt x="0" y="824"/>
                    <a:pt x="0" y="824"/>
                  </a:cubicBezTo>
                  <a:cubicBezTo>
                    <a:pt x="199" y="824"/>
                    <a:pt x="199" y="824"/>
                    <a:pt x="199" y="824"/>
                  </a:cubicBezTo>
                  <a:cubicBezTo>
                    <a:pt x="199" y="387"/>
                    <a:pt x="199" y="387"/>
                    <a:pt x="199" y="387"/>
                  </a:cubicBezTo>
                  <a:cubicBezTo>
                    <a:pt x="199" y="259"/>
                    <a:pt x="244" y="199"/>
                    <a:pt x="343" y="199"/>
                  </a:cubicBezTo>
                  <a:cubicBezTo>
                    <a:pt x="390" y="199"/>
                    <a:pt x="434" y="216"/>
                    <a:pt x="475" y="243"/>
                  </a:cubicBezTo>
                  <a:lnTo>
                    <a:pt x="527" y="4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31" name="Freeform 26"/>
            <p:cNvSpPr>
              <a:spLocks/>
            </p:cNvSpPr>
            <p:nvPr/>
          </p:nvSpPr>
          <p:spPr bwMode="auto">
            <a:xfrm>
              <a:off x="1431" y="4027"/>
              <a:ext cx="59" cy="45"/>
            </a:xfrm>
            <a:custGeom>
              <a:avLst/>
              <a:gdLst>
                <a:gd name="T0" fmla="*/ 796 w 1066"/>
                <a:gd name="T1" fmla="*/ 297 h 806"/>
                <a:gd name="T2" fmla="*/ 754 w 1066"/>
                <a:gd name="T3" fmla="*/ 500 h 806"/>
                <a:gd name="T4" fmla="*/ 706 w 1066"/>
                <a:gd name="T5" fmla="*/ 297 h 806"/>
                <a:gd name="T6" fmla="*/ 622 w 1066"/>
                <a:gd name="T7" fmla="*/ 0 h 806"/>
                <a:gd name="T8" fmla="*/ 452 w 1066"/>
                <a:gd name="T9" fmla="*/ 0 h 806"/>
                <a:gd name="T10" fmla="*/ 368 w 1066"/>
                <a:gd name="T11" fmla="*/ 297 h 806"/>
                <a:gd name="T12" fmla="*/ 320 w 1066"/>
                <a:gd name="T13" fmla="*/ 499 h 806"/>
                <a:gd name="T14" fmla="*/ 280 w 1066"/>
                <a:gd name="T15" fmla="*/ 301 h 806"/>
                <a:gd name="T16" fmla="*/ 206 w 1066"/>
                <a:gd name="T17" fmla="*/ 0 h 806"/>
                <a:gd name="T18" fmla="*/ 0 w 1066"/>
                <a:gd name="T19" fmla="*/ 0 h 806"/>
                <a:gd name="T20" fmla="*/ 227 w 1066"/>
                <a:gd name="T21" fmla="*/ 802 h 806"/>
                <a:gd name="T22" fmla="*/ 228 w 1066"/>
                <a:gd name="T23" fmla="*/ 806 h 806"/>
                <a:gd name="T24" fmla="*/ 400 w 1066"/>
                <a:gd name="T25" fmla="*/ 806 h 806"/>
                <a:gd name="T26" fmla="*/ 489 w 1066"/>
                <a:gd name="T27" fmla="*/ 478 h 806"/>
                <a:gd name="T28" fmla="*/ 534 w 1066"/>
                <a:gd name="T29" fmla="*/ 296 h 806"/>
                <a:gd name="T30" fmla="*/ 578 w 1066"/>
                <a:gd name="T31" fmla="*/ 472 h 806"/>
                <a:gd name="T32" fmla="*/ 667 w 1066"/>
                <a:gd name="T33" fmla="*/ 806 h 806"/>
                <a:gd name="T34" fmla="*/ 838 w 1066"/>
                <a:gd name="T35" fmla="*/ 806 h 806"/>
                <a:gd name="T36" fmla="*/ 1066 w 1066"/>
                <a:gd name="T37" fmla="*/ 0 h 806"/>
                <a:gd name="T38" fmla="*/ 869 w 1066"/>
                <a:gd name="T39" fmla="*/ 0 h 806"/>
                <a:gd name="T40" fmla="*/ 796 w 1066"/>
                <a:gd name="T41" fmla="*/ 29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6" h="806">
                  <a:moveTo>
                    <a:pt x="796" y="297"/>
                  </a:moveTo>
                  <a:cubicBezTo>
                    <a:pt x="779" y="373"/>
                    <a:pt x="763" y="448"/>
                    <a:pt x="754" y="500"/>
                  </a:cubicBezTo>
                  <a:cubicBezTo>
                    <a:pt x="742" y="437"/>
                    <a:pt x="720" y="350"/>
                    <a:pt x="706" y="297"/>
                  </a:cubicBezTo>
                  <a:cubicBezTo>
                    <a:pt x="622" y="0"/>
                    <a:pt x="622" y="0"/>
                    <a:pt x="622" y="0"/>
                  </a:cubicBezTo>
                  <a:cubicBezTo>
                    <a:pt x="452" y="0"/>
                    <a:pt x="452" y="0"/>
                    <a:pt x="452" y="0"/>
                  </a:cubicBezTo>
                  <a:cubicBezTo>
                    <a:pt x="368" y="297"/>
                    <a:pt x="368" y="297"/>
                    <a:pt x="368" y="297"/>
                  </a:cubicBezTo>
                  <a:cubicBezTo>
                    <a:pt x="353" y="352"/>
                    <a:pt x="331" y="439"/>
                    <a:pt x="320" y="499"/>
                  </a:cubicBezTo>
                  <a:cubicBezTo>
                    <a:pt x="310" y="438"/>
                    <a:pt x="291" y="348"/>
                    <a:pt x="280" y="301"/>
                  </a:cubicBezTo>
                  <a:cubicBezTo>
                    <a:pt x="206" y="0"/>
                    <a:pt x="206" y="0"/>
                    <a:pt x="206" y="0"/>
                  </a:cubicBezTo>
                  <a:cubicBezTo>
                    <a:pt x="0" y="0"/>
                    <a:pt x="0" y="0"/>
                    <a:pt x="0" y="0"/>
                  </a:cubicBezTo>
                  <a:cubicBezTo>
                    <a:pt x="227" y="802"/>
                    <a:pt x="227" y="802"/>
                    <a:pt x="227" y="802"/>
                  </a:cubicBezTo>
                  <a:cubicBezTo>
                    <a:pt x="228" y="806"/>
                    <a:pt x="228" y="806"/>
                    <a:pt x="228" y="806"/>
                  </a:cubicBezTo>
                  <a:cubicBezTo>
                    <a:pt x="400" y="806"/>
                    <a:pt x="400" y="806"/>
                    <a:pt x="400" y="806"/>
                  </a:cubicBezTo>
                  <a:cubicBezTo>
                    <a:pt x="489" y="478"/>
                    <a:pt x="489" y="478"/>
                    <a:pt x="489" y="478"/>
                  </a:cubicBezTo>
                  <a:cubicBezTo>
                    <a:pt x="504" y="428"/>
                    <a:pt x="526" y="329"/>
                    <a:pt x="534" y="296"/>
                  </a:cubicBezTo>
                  <a:cubicBezTo>
                    <a:pt x="544" y="342"/>
                    <a:pt x="563" y="413"/>
                    <a:pt x="578" y="472"/>
                  </a:cubicBezTo>
                  <a:cubicBezTo>
                    <a:pt x="667" y="806"/>
                    <a:pt x="667" y="806"/>
                    <a:pt x="667" y="806"/>
                  </a:cubicBezTo>
                  <a:cubicBezTo>
                    <a:pt x="838" y="806"/>
                    <a:pt x="838" y="806"/>
                    <a:pt x="838" y="806"/>
                  </a:cubicBezTo>
                  <a:cubicBezTo>
                    <a:pt x="1066" y="0"/>
                    <a:pt x="1066" y="0"/>
                    <a:pt x="1066" y="0"/>
                  </a:cubicBezTo>
                  <a:cubicBezTo>
                    <a:pt x="869" y="0"/>
                    <a:pt x="869" y="0"/>
                    <a:pt x="869" y="0"/>
                  </a:cubicBezTo>
                  <a:lnTo>
                    <a:pt x="796" y="297"/>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4" name="Freeform 27"/>
            <p:cNvSpPr>
              <a:spLocks noEditPoints="1"/>
            </p:cNvSpPr>
            <p:nvPr/>
          </p:nvSpPr>
          <p:spPr bwMode="auto">
            <a:xfrm>
              <a:off x="1492" y="4026"/>
              <a:ext cx="41" cy="47"/>
            </a:xfrm>
            <a:custGeom>
              <a:avLst/>
              <a:gdLst>
                <a:gd name="T0" fmla="*/ 366 w 733"/>
                <a:gd name="T1" fmla="*/ 0 h 842"/>
                <a:gd name="T2" fmla="*/ 0 w 733"/>
                <a:gd name="T3" fmla="*/ 421 h 842"/>
                <a:gd name="T4" fmla="*/ 366 w 733"/>
                <a:gd name="T5" fmla="*/ 842 h 842"/>
                <a:gd name="T6" fmla="*/ 733 w 733"/>
                <a:gd name="T7" fmla="*/ 421 h 842"/>
                <a:gd name="T8" fmla="*/ 366 w 733"/>
                <a:gd name="T9" fmla="*/ 0 h 842"/>
                <a:gd name="T10" fmla="*/ 366 w 733"/>
                <a:gd name="T11" fmla="*/ 654 h 842"/>
                <a:gd name="T12" fmla="*/ 203 w 733"/>
                <a:gd name="T13" fmla="*/ 421 h 842"/>
                <a:gd name="T14" fmla="*/ 366 w 733"/>
                <a:gd name="T15" fmla="*/ 188 h 842"/>
                <a:gd name="T16" fmla="*/ 530 w 733"/>
                <a:gd name="T17" fmla="*/ 421 h 842"/>
                <a:gd name="T18" fmla="*/ 366 w 733"/>
                <a:gd name="T19" fmla="*/ 654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842">
                  <a:moveTo>
                    <a:pt x="366" y="0"/>
                  </a:moveTo>
                  <a:cubicBezTo>
                    <a:pt x="154" y="0"/>
                    <a:pt x="0" y="177"/>
                    <a:pt x="0" y="421"/>
                  </a:cubicBezTo>
                  <a:cubicBezTo>
                    <a:pt x="0" y="665"/>
                    <a:pt x="154" y="842"/>
                    <a:pt x="366" y="842"/>
                  </a:cubicBezTo>
                  <a:cubicBezTo>
                    <a:pt x="579" y="842"/>
                    <a:pt x="733" y="665"/>
                    <a:pt x="733" y="421"/>
                  </a:cubicBezTo>
                  <a:cubicBezTo>
                    <a:pt x="733" y="177"/>
                    <a:pt x="579" y="0"/>
                    <a:pt x="366" y="0"/>
                  </a:cubicBezTo>
                  <a:close/>
                  <a:moveTo>
                    <a:pt x="366" y="654"/>
                  </a:moveTo>
                  <a:cubicBezTo>
                    <a:pt x="267" y="654"/>
                    <a:pt x="203" y="563"/>
                    <a:pt x="203" y="421"/>
                  </a:cubicBezTo>
                  <a:cubicBezTo>
                    <a:pt x="203" y="279"/>
                    <a:pt x="267" y="188"/>
                    <a:pt x="366" y="188"/>
                  </a:cubicBezTo>
                  <a:cubicBezTo>
                    <a:pt x="465" y="188"/>
                    <a:pt x="530" y="279"/>
                    <a:pt x="530" y="421"/>
                  </a:cubicBezTo>
                  <a:cubicBezTo>
                    <a:pt x="530" y="563"/>
                    <a:pt x="465" y="654"/>
                    <a:pt x="366" y="654"/>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5" name="Freeform 28"/>
            <p:cNvSpPr>
              <a:spLocks/>
            </p:cNvSpPr>
            <p:nvPr/>
          </p:nvSpPr>
          <p:spPr bwMode="auto">
            <a:xfrm>
              <a:off x="1859" y="4026"/>
              <a:ext cx="30" cy="46"/>
            </a:xfrm>
            <a:custGeom>
              <a:avLst/>
              <a:gdLst>
                <a:gd name="T0" fmla="*/ 527 w 527"/>
                <a:gd name="T1" fmla="*/ 49 h 824"/>
                <a:gd name="T2" fmla="*/ 377 w 527"/>
                <a:gd name="T3" fmla="*/ 0 h 824"/>
                <a:gd name="T4" fmla="*/ 199 w 527"/>
                <a:gd name="T5" fmla="*/ 87 h 824"/>
                <a:gd name="T6" fmla="*/ 199 w 527"/>
                <a:gd name="T7" fmla="*/ 17 h 824"/>
                <a:gd name="T8" fmla="*/ 0 w 527"/>
                <a:gd name="T9" fmla="*/ 17 h 824"/>
                <a:gd name="T10" fmla="*/ 0 w 527"/>
                <a:gd name="T11" fmla="*/ 824 h 824"/>
                <a:gd name="T12" fmla="*/ 199 w 527"/>
                <a:gd name="T13" fmla="*/ 824 h 824"/>
                <a:gd name="T14" fmla="*/ 199 w 527"/>
                <a:gd name="T15" fmla="*/ 387 h 824"/>
                <a:gd name="T16" fmla="*/ 343 w 527"/>
                <a:gd name="T17" fmla="*/ 199 h 824"/>
                <a:gd name="T18" fmla="*/ 475 w 527"/>
                <a:gd name="T19" fmla="*/ 243 h 824"/>
                <a:gd name="T20" fmla="*/ 527 w 527"/>
                <a:gd name="T21" fmla="*/ 49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7" h="824">
                  <a:moveTo>
                    <a:pt x="527" y="49"/>
                  </a:moveTo>
                  <a:cubicBezTo>
                    <a:pt x="489" y="19"/>
                    <a:pt x="430" y="0"/>
                    <a:pt x="377" y="0"/>
                  </a:cubicBezTo>
                  <a:cubicBezTo>
                    <a:pt x="307" y="0"/>
                    <a:pt x="247" y="27"/>
                    <a:pt x="199" y="87"/>
                  </a:cubicBezTo>
                  <a:cubicBezTo>
                    <a:pt x="199" y="17"/>
                    <a:pt x="199" y="17"/>
                    <a:pt x="199" y="17"/>
                  </a:cubicBezTo>
                  <a:cubicBezTo>
                    <a:pt x="0" y="17"/>
                    <a:pt x="0" y="17"/>
                    <a:pt x="0" y="17"/>
                  </a:cubicBezTo>
                  <a:cubicBezTo>
                    <a:pt x="0" y="824"/>
                    <a:pt x="0" y="824"/>
                    <a:pt x="0" y="824"/>
                  </a:cubicBezTo>
                  <a:cubicBezTo>
                    <a:pt x="199" y="824"/>
                    <a:pt x="199" y="824"/>
                    <a:pt x="199" y="824"/>
                  </a:cubicBezTo>
                  <a:cubicBezTo>
                    <a:pt x="199" y="387"/>
                    <a:pt x="199" y="387"/>
                    <a:pt x="199" y="387"/>
                  </a:cubicBezTo>
                  <a:cubicBezTo>
                    <a:pt x="199" y="259"/>
                    <a:pt x="245" y="199"/>
                    <a:pt x="343" y="199"/>
                  </a:cubicBezTo>
                  <a:cubicBezTo>
                    <a:pt x="390" y="199"/>
                    <a:pt x="435" y="216"/>
                    <a:pt x="475" y="243"/>
                  </a:cubicBezTo>
                  <a:lnTo>
                    <a:pt x="527" y="4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6" name="Freeform 29"/>
            <p:cNvSpPr>
              <a:spLocks/>
            </p:cNvSpPr>
            <p:nvPr/>
          </p:nvSpPr>
          <p:spPr bwMode="auto">
            <a:xfrm>
              <a:off x="1751" y="4027"/>
              <a:ext cx="59" cy="45"/>
            </a:xfrm>
            <a:custGeom>
              <a:avLst/>
              <a:gdLst>
                <a:gd name="T0" fmla="*/ 796 w 1065"/>
                <a:gd name="T1" fmla="*/ 297 h 806"/>
                <a:gd name="T2" fmla="*/ 753 w 1065"/>
                <a:gd name="T3" fmla="*/ 500 h 806"/>
                <a:gd name="T4" fmla="*/ 705 w 1065"/>
                <a:gd name="T5" fmla="*/ 297 h 806"/>
                <a:gd name="T6" fmla="*/ 621 w 1065"/>
                <a:gd name="T7" fmla="*/ 0 h 806"/>
                <a:gd name="T8" fmla="*/ 452 w 1065"/>
                <a:gd name="T9" fmla="*/ 0 h 806"/>
                <a:gd name="T10" fmla="*/ 368 w 1065"/>
                <a:gd name="T11" fmla="*/ 297 h 806"/>
                <a:gd name="T12" fmla="*/ 320 w 1065"/>
                <a:gd name="T13" fmla="*/ 499 h 806"/>
                <a:gd name="T14" fmla="*/ 279 w 1065"/>
                <a:gd name="T15" fmla="*/ 301 h 806"/>
                <a:gd name="T16" fmla="*/ 205 w 1065"/>
                <a:gd name="T17" fmla="*/ 0 h 806"/>
                <a:gd name="T18" fmla="*/ 0 w 1065"/>
                <a:gd name="T19" fmla="*/ 0 h 806"/>
                <a:gd name="T20" fmla="*/ 226 w 1065"/>
                <a:gd name="T21" fmla="*/ 802 h 806"/>
                <a:gd name="T22" fmla="*/ 228 w 1065"/>
                <a:gd name="T23" fmla="*/ 806 h 806"/>
                <a:gd name="T24" fmla="*/ 400 w 1065"/>
                <a:gd name="T25" fmla="*/ 806 h 806"/>
                <a:gd name="T26" fmla="*/ 488 w 1065"/>
                <a:gd name="T27" fmla="*/ 478 h 806"/>
                <a:gd name="T28" fmla="*/ 533 w 1065"/>
                <a:gd name="T29" fmla="*/ 296 h 806"/>
                <a:gd name="T30" fmla="*/ 577 w 1065"/>
                <a:gd name="T31" fmla="*/ 472 h 806"/>
                <a:gd name="T32" fmla="*/ 667 w 1065"/>
                <a:gd name="T33" fmla="*/ 806 h 806"/>
                <a:gd name="T34" fmla="*/ 838 w 1065"/>
                <a:gd name="T35" fmla="*/ 806 h 806"/>
                <a:gd name="T36" fmla="*/ 1065 w 1065"/>
                <a:gd name="T37" fmla="*/ 0 h 806"/>
                <a:gd name="T38" fmla="*/ 868 w 1065"/>
                <a:gd name="T39" fmla="*/ 0 h 806"/>
                <a:gd name="T40" fmla="*/ 796 w 1065"/>
                <a:gd name="T41" fmla="*/ 29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5" h="806">
                  <a:moveTo>
                    <a:pt x="796" y="297"/>
                  </a:moveTo>
                  <a:cubicBezTo>
                    <a:pt x="779" y="373"/>
                    <a:pt x="762" y="448"/>
                    <a:pt x="753" y="500"/>
                  </a:cubicBezTo>
                  <a:cubicBezTo>
                    <a:pt x="741" y="437"/>
                    <a:pt x="719" y="350"/>
                    <a:pt x="705" y="297"/>
                  </a:cubicBezTo>
                  <a:cubicBezTo>
                    <a:pt x="621" y="0"/>
                    <a:pt x="621" y="0"/>
                    <a:pt x="621" y="0"/>
                  </a:cubicBezTo>
                  <a:cubicBezTo>
                    <a:pt x="452" y="0"/>
                    <a:pt x="452" y="0"/>
                    <a:pt x="452" y="0"/>
                  </a:cubicBezTo>
                  <a:cubicBezTo>
                    <a:pt x="368" y="297"/>
                    <a:pt x="368" y="297"/>
                    <a:pt x="368" y="297"/>
                  </a:cubicBezTo>
                  <a:cubicBezTo>
                    <a:pt x="353" y="352"/>
                    <a:pt x="331" y="439"/>
                    <a:pt x="320" y="499"/>
                  </a:cubicBezTo>
                  <a:cubicBezTo>
                    <a:pt x="310" y="438"/>
                    <a:pt x="291" y="348"/>
                    <a:pt x="279" y="301"/>
                  </a:cubicBezTo>
                  <a:cubicBezTo>
                    <a:pt x="205" y="0"/>
                    <a:pt x="205" y="0"/>
                    <a:pt x="205" y="0"/>
                  </a:cubicBezTo>
                  <a:cubicBezTo>
                    <a:pt x="0" y="0"/>
                    <a:pt x="0" y="0"/>
                    <a:pt x="0" y="0"/>
                  </a:cubicBezTo>
                  <a:cubicBezTo>
                    <a:pt x="226" y="802"/>
                    <a:pt x="226" y="802"/>
                    <a:pt x="226" y="802"/>
                  </a:cubicBezTo>
                  <a:cubicBezTo>
                    <a:pt x="228" y="806"/>
                    <a:pt x="228" y="806"/>
                    <a:pt x="228" y="806"/>
                  </a:cubicBezTo>
                  <a:cubicBezTo>
                    <a:pt x="400" y="806"/>
                    <a:pt x="400" y="806"/>
                    <a:pt x="400" y="806"/>
                  </a:cubicBezTo>
                  <a:cubicBezTo>
                    <a:pt x="488" y="478"/>
                    <a:pt x="488" y="478"/>
                    <a:pt x="488" y="478"/>
                  </a:cubicBezTo>
                  <a:cubicBezTo>
                    <a:pt x="503" y="428"/>
                    <a:pt x="525" y="329"/>
                    <a:pt x="533" y="296"/>
                  </a:cubicBezTo>
                  <a:cubicBezTo>
                    <a:pt x="544" y="342"/>
                    <a:pt x="562" y="413"/>
                    <a:pt x="577" y="472"/>
                  </a:cubicBezTo>
                  <a:cubicBezTo>
                    <a:pt x="667" y="806"/>
                    <a:pt x="667" y="806"/>
                    <a:pt x="667" y="806"/>
                  </a:cubicBezTo>
                  <a:cubicBezTo>
                    <a:pt x="838" y="806"/>
                    <a:pt x="838" y="806"/>
                    <a:pt x="838" y="806"/>
                  </a:cubicBezTo>
                  <a:cubicBezTo>
                    <a:pt x="1065" y="0"/>
                    <a:pt x="1065" y="0"/>
                    <a:pt x="1065" y="0"/>
                  </a:cubicBezTo>
                  <a:cubicBezTo>
                    <a:pt x="868" y="0"/>
                    <a:pt x="868" y="0"/>
                    <a:pt x="868" y="0"/>
                  </a:cubicBezTo>
                  <a:lnTo>
                    <a:pt x="796" y="297"/>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7" name="Freeform 30"/>
            <p:cNvSpPr>
              <a:spLocks noEditPoints="1"/>
            </p:cNvSpPr>
            <p:nvPr/>
          </p:nvSpPr>
          <p:spPr bwMode="auto">
            <a:xfrm>
              <a:off x="1812" y="4026"/>
              <a:ext cx="41" cy="47"/>
            </a:xfrm>
            <a:custGeom>
              <a:avLst/>
              <a:gdLst>
                <a:gd name="T0" fmla="*/ 366 w 733"/>
                <a:gd name="T1" fmla="*/ 0 h 843"/>
                <a:gd name="T2" fmla="*/ 0 w 733"/>
                <a:gd name="T3" fmla="*/ 421 h 843"/>
                <a:gd name="T4" fmla="*/ 366 w 733"/>
                <a:gd name="T5" fmla="*/ 843 h 843"/>
                <a:gd name="T6" fmla="*/ 733 w 733"/>
                <a:gd name="T7" fmla="*/ 421 h 843"/>
                <a:gd name="T8" fmla="*/ 366 w 733"/>
                <a:gd name="T9" fmla="*/ 0 h 843"/>
                <a:gd name="T10" fmla="*/ 366 w 733"/>
                <a:gd name="T11" fmla="*/ 655 h 843"/>
                <a:gd name="T12" fmla="*/ 203 w 733"/>
                <a:gd name="T13" fmla="*/ 421 h 843"/>
                <a:gd name="T14" fmla="*/ 366 w 733"/>
                <a:gd name="T15" fmla="*/ 188 h 843"/>
                <a:gd name="T16" fmla="*/ 529 w 733"/>
                <a:gd name="T17" fmla="*/ 421 h 843"/>
                <a:gd name="T18" fmla="*/ 366 w 733"/>
                <a:gd name="T19" fmla="*/ 655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843">
                  <a:moveTo>
                    <a:pt x="366" y="0"/>
                  </a:moveTo>
                  <a:cubicBezTo>
                    <a:pt x="154" y="0"/>
                    <a:pt x="0" y="177"/>
                    <a:pt x="0" y="421"/>
                  </a:cubicBezTo>
                  <a:cubicBezTo>
                    <a:pt x="0" y="666"/>
                    <a:pt x="154" y="843"/>
                    <a:pt x="366" y="843"/>
                  </a:cubicBezTo>
                  <a:cubicBezTo>
                    <a:pt x="578" y="843"/>
                    <a:pt x="733" y="666"/>
                    <a:pt x="733" y="421"/>
                  </a:cubicBezTo>
                  <a:cubicBezTo>
                    <a:pt x="733" y="177"/>
                    <a:pt x="578" y="0"/>
                    <a:pt x="366" y="0"/>
                  </a:cubicBezTo>
                  <a:close/>
                  <a:moveTo>
                    <a:pt x="366" y="655"/>
                  </a:moveTo>
                  <a:cubicBezTo>
                    <a:pt x="267" y="655"/>
                    <a:pt x="203" y="563"/>
                    <a:pt x="203" y="421"/>
                  </a:cubicBezTo>
                  <a:cubicBezTo>
                    <a:pt x="203" y="280"/>
                    <a:pt x="267" y="188"/>
                    <a:pt x="366" y="188"/>
                  </a:cubicBezTo>
                  <a:cubicBezTo>
                    <a:pt x="465" y="188"/>
                    <a:pt x="529" y="280"/>
                    <a:pt x="529" y="421"/>
                  </a:cubicBezTo>
                  <a:cubicBezTo>
                    <a:pt x="529" y="563"/>
                    <a:pt x="465" y="655"/>
                    <a:pt x="366" y="655"/>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8" name="Freeform 31"/>
            <p:cNvSpPr>
              <a:spLocks/>
            </p:cNvSpPr>
            <p:nvPr/>
          </p:nvSpPr>
          <p:spPr bwMode="auto">
            <a:xfrm>
              <a:off x="1574" y="4009"/>
              <a:ext cx="38" cy="63"/>
            </a:xfrm>
            <a:custGeom>
              <a:avLst/>
              <a:gdLst>
                <a:gd name="T0" fmla="*/ 663 w 693"/>
                <a:gd name="T1" fmla="*/ 334 h 1140"/>
                <a:gd name="T2" fmla="*/ 433 w 693"/>
                <a:gd name="T3" fmla="*/ 334 h 1140"/>
                <a:gd name="T4" fmla="*/ 274 w 693"/>
                <a:gd name="T5" fmla="*/ 541 h 1140"/>
                <a:gd name="T6" fmla="*/ 198 w 693"/>
                <a:gd name="T7" fmla="*/ 642 h 1140"/>
                <a:gd name="T8" fmla="*/ 198 w 693"/>
                <a:gd name="T9" fmla="*/ 0 h 1140"/>
                <a:gd name="T10" fmla="*/ 0 w 693"/>
                <a:gd name="T11" fmla="*/ 99 h 1140"/>
                <a:gd name="T12" fmla="*/ 0 w 693"/>
                <a:gd name="T13" fmla="*/ 1140 h 1140"/>
                <a:gd name="T14" fmla="*/ 198 w 693"/>
                <a:gd name="T15" fmla="*/ 1140 h 1140"/>
                <a:gd name="T16" fmla="*/ 198 w 693"/>
                <a:gd name="T17" fmla="*/ 899 h 1140"/>
                <a:gd name="T18" fmla="*/ 304 w 693"/>
                <a:gd name="T19" fmla="*/ 766 h 1140"/>
                <a:gd name="T20" fmla="*/ 473 w 693"/>
                <a:gd name="T21" fmla="*/ 1140 h 1140"/>
                <a:gd name="T22" fmla="*/ 693 w 693"/>
                <a:gd name="T23" fmla="*/ 1140 h 1140"/>
                <a:gd name="T24" fmla="*/ 448 w 693"/>
                <a:gd name="T25" fmla="*/ 600 h 1140"/>
                <a:gd name="T26" fmla="*/ 663 w 693"/>
                <a:gd name="T27" fmla="*/ 334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3" h="1140">
                  <a:moveTo>
                    <a:pt x="663" y="334"/>
                  </a:moveTo>
                  <a:cubicBezTo>
                    <a:pt x="433" y="334"/>
                    <a:pt x="433" y="334"/>
                    <a:pt x="433" y="334"/>
                  </a:cubicBezTo>
                  <a:cubicBezTo>
                    <a:pt x="274" y="541"/>
                    <a:pt x="274" y="541"/>
                    <a:pt x="274" y="541"/>
                  </a:cubicBezTo>
                  <a:cubicBezTo>
                    <a:pt x="252" y="568"/>
                    <a:pt x="223" y="606"/>
                    <a:pt x="198" y="642"/>
                  </a:cubicBezTo>
                  <a:cubicBezTo>
                    <a:pt x="198" y="0"/>
                    <a:pt x="198" y="0"/>
                    <a:pt x="198" y="0"/>
                  </a:cubicBezTo>
                  <a:cubicBezTo>
                    <a:pt x="0" y="99"/>
                    <a:pt x="0" y="99"/>
                    <a:pt x="0" y="99"/>
                  </a:cubicBezTo>
                  <a:cubicBezTo>
                    <a:pt x="0" y="1140"/>
                    <a:pt x="0" y="1140"/>
                    <a:pt x="0" y="1140"/>
                  </a:cubicBezTo>
                  <a:cubicBezTo>
                    <a:pt x="198" y="1140"/>
                    <a:pt x="198" y="1140"/>
                    <a:pt x="198" y="1140"/>
                  </a:cubicBezTo>
                  <a:cubicBezTo>
                    <a:pt x="198" y="899"/>
                    <a:pt x="198" y="899"/>
                    <a:pt x="198" y="899"/>
                  </a:cubicBezTo>
                  <a:cubicBezTo>
                    <a:pt x="304" y="766"/>
                    <a:pt x="304" y="766"/>
                    <a:pt x="304" y="766"/>
                  </a:cubicBezTo>
                  <a:cubicBezTo>
                    <a:pt x="473" y="1140"/>
                    <a:pt x="473" y="1140"/>
                    <a:pt x="473" y="1140"/>
                  </a:cubicBezTo>
                  <a:cubicBezTo>
                    <a:pt x="693" y="1140"/>
                    <a:pt x="693" y="1140"/>
                    <a:pt x="693" y="1140"/>
                  </a:cubicBezTo>
                  <a:cubicBezTo>
                    <a:pt x="448" y="600"/>
                    <a:pt x="448" y="600"/>
                    <a:pt x="448" y="600"/>
                  </a:cubicBezTo>
                  <a:lnTo>
                    <a:pt x="663" y="334"/>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9" name="Freeform 32"/>
            <p:cNvSpPr>
              <a:spLocks/>
            </p:cNvSpPr>
            <p:nvPr/>
          </p:nvSpPr>
          <p:spPr bwMode="auto">
            <a:xfrm>
              <a:off x="1640" y="4026"/>
              <a:ext cx="38" cy="46"/>
            </a:xfrm>
            <a:custGeom>
              <a:avLst/>
              <a:gdLst>
                <a:gd name="T0" fmla="*/ 199 w 697"/>
                <a:gd name="T1" fmla="*/ 378 h 824"/>
                <a:gd name="T2" fmla="*/ 353 w 697"/>
                <a:gd name="T3" fmla="*/ 182 h 824"/>
                <a:gd name="T4" fmla="*/ 498 w 697"/>
                <a:gd name="T5" fmla="*/ 379 h 824"/>
                <a:gd name="T6" fmla="*/ 498 w 697"/>
                <a:gd name="T7" fmla="*/ 824 h 824"/>
                <a:gd name="T8" fmla="*/ 697 w 697"/>
                <a:gd name="T9" fmla="*/ 824 h 824"/>
                <a:gd name="T10" fmla="*/ 697 w 697"/>
                <a:gd name="T11" fmla="*/ 368 h 824"/>
                <a:gd name="T12" fmla="*/ 402 w 697"/>
                <a:gd name="T13" fmla="*/ 0 h 824"/>
                <a:gd name="T14" fmla="*/ 199 w 697"/>
                <a:gd name="T15" fmla="*/ 85 h 824"/>
                <a:gd name="T16" fmla="*/ 199 w 697"/>
                <a:gd name="T17" fmla="*/ 17 h 824"/>
                <a:gd name="T18" fmla="*/ 0 w 697"/>
                <a:gd name="T19" fmla="*/ 17 h 824"/>
                <a:gd name="T20" fmla="*/ 0 w 697"/>
                <a:gd name="T21" fmla="*/ 824 h 824"/>
                <a:gd name="T22" fmla="*/ 199 w 697"/>
                <a:gd name="T23" fmla="*/ 824 h 824"/>
                <a:gd name="T24" fmla="*/ 199 w 697"/>
                <a:gd name="T25"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4">
                  <a:moveTo>
                    <a:pt x="199" y="378"/>
                  </a:moveTo>
                  <a:cubicBezTo>
                    <a:pt x="199" y="250"/>
                    <a:pt x="252" y="182"/>
                    <a:pt x="353" y="182"/>
                  </a:cubicBezTo>
                  <a:cubicBezTo>
                    <a:pt x="452" y="182"/>
                    <a:pt x="498" y="245"/>
                    <a:pt x="498" y="379"/>
                  </a:cubicBezTo>
                  <a:cubicBezTo>
                    <a:pt x="498" y="824"/>
                    <a:pt x="498" y="824"/>
                    <a:pt x="498" y="824"/>
                  </a:cubicBezTo>
                  <a:cubicBezTo>
                    <a:pt x="697" y="824"/>
                    <a:pt x="697" y="824"/>
                    <a:pt x="697" y="824"/>
                  </a:cubicBezTo>
                  <a:cubicBezTo>
                    <a:pt x="697" y="368"/>
                    <a:pt x="697" y="368"/>
                    <a:pt x="697" y="368"/>
                  </a:cubicBezTo>
                  <a:cubicBezTo>
                    <a:pt x="697" y="127"/>
                    <a:pt x="595" y="0"/>
                    <a:pt x="402" y="0"/>
                  </a:cubicBezTo>
                  <a:cubicBezTo>
                    <a:pt x="319" y="0"/>
                    <a:pt x="248" y="30"/>
                    <a:pt x="199" y="85"/>
                  </a:cubicBezTo>
                  <a:cubicBezTo>
                    <a:pt x="199" y="17"/>
                    <a:pt x="199" y="17"/>
                    <a:pt x="199" y="17"/>
                  </a:cubicBezTo>
                  <a:cubicBezTo>
                    <a:pt x="0" y="17"/>
                    <a:pt x="0" y="17"/>
                    <a:pt x="0" y="17"/>
                  </a:cubicBezTo>
                  <a:cubicBezTo>
                    <a:pt x="0" y="824"/>
                    <a:pt x="0" y="824"/>
                    <a:pt x="0" y="824"/>
                  </a:cubicBezTo>
                  <a:cubicBezTo>
                    <a:pt x="199" y="824"/>
                    <a:pt x="199" y="824"/>
                    <a:pt x="199" y="824"/>
                  </a:cubicBezTo>
                  <a:lnTo>
                    <a:pt x="199" y="378"/>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30" name="Freeform 33"/>
            <p:cNvSpPr>
              <a:spLocks noEditPoints="1"/>
            </p:cNvSpPr>
            <p:nvPr/>
          </p:nvSpPr>
          <p:spPr bwMode="auto">
            <a:xfrm>
              <a:off x="1686" y="4026"/>
              <a:ext cx="38" cy="64"/>
            </a:xfrm>
            <a:custGeom>
              <a:avLst/>
              <a:gdLst>
                <a:gd name="T0" fmla="*/ 496 w 695"/>
                <a:gd name="T1" fmla="*/ 74 h 1152"/>
                <a:gd name="T2" fmla="*/ 317 w 695"/>
                <a:gd name="T3" fmla="*/ 0 h 1152"/>
                <a:gd name="T4" fmla="*/ 0 w 695"/>
                <a:gd name="T5" fmla="*/ 412 h 1152"/>
                <a:gd name="T6" fmla="*/ 313 w 695"/>
                <a:gd name="T7" fmla="*/ 840 h 1152"/>
                <a:gd name="T8" fmla="*/ 496 w 695"/>
                <a:gd name="T9" fmla="*/ 763 h 1152"/>
                <a:gd name="T10" fmla="*/ 496 w 695"/>
                <a:gd name="T11" fmla="*/ 781 h 1152"/>
                <a:gd name="T12" fmla="*/ 238 w 695"/>
                <a:gd name="T13" fmla="*/ 995 h 1152"/>
                <a:gd name="T14" fmla="*/ 229 w 695"/>
                <a:gd name="T15" fmla="*/ 995 h 1152"/>
                <a:gd name="T16" fmla="*/ 300 w 695"/>
                <a:gd name="T17" fmla="*/ 1152 h 1152"/>
                <a:gd name="T18" fmla="*/ 304 w 695"/>
                <a:gd name="T19" fmla="*/ 1152 h 1152"/>
                <a:gd name="T20" fmla="*/ 695 w 695"/>
                <a:gd name="T21" fmla="*/ 748 h 1152"/>
                <a:gd name="T22" fmla="*/ 695 w 695"/>
                <a:gd name="T23" fmla="*/ 17 h 1152"/>
                <a:gd name="T24" fmla="*/ 496 w 695"/>
                <a:gd name="T25" fmla="*/ 17 h 1152"/>
                <a:gd name="T26" fmla="*/ 496 w 695"/>
                <a:gd name="T27" fmla="*/ 74 h 1152"/>
                <a:gd name="T28" fmla="*/ 496 w 695"/>
                <a:gd name="T29" fmla="*/ 261 h 1152"/>
                <a:gd name="T30" fmla="*/ 496 w 695"/>
                <a:gd name="T31" fmla="*/ 577 h 1152"/>
                <a:gd name="T32" fmla="*/ 355 w 695"/>
                <a:gd name="T33" fmla="*/ 657 h 1152"/>
                <a:gd name="T34" fmla="*/ 204 w 695"/>
                <a:gd name="T35" fmla="*/ 407 h 1152"/>
                <a:gd name="T36" fmla="*/ 353 w 695"/>
                <a:gd name="T37" fmla="*/ 182 h 1152"/>
                <a:gd name="T38" fmla="*/ 496 w 695"/>
                <a:gd name="T39" fmla="*/ 261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1152">
                  <a:moveTo>
                    <a:pt x="496" y="74"/>
                  </a:moveTo>
                  <a:cubicBezTo>
                    <a:pt x="448" y="26"/>
                    <a:pt x="385" y="0"/>
                    <a:pt x="317" y="0"/>
                  </a:cubicBezTo>
                  <a:cubicBezTo>
                    <a:pt x="122" y="0"/>
                    <a:pt x="0" y="158"/>
                    <a:pt x="0" y="412"/>
                  </a:cubicBezTo>
                  <a:cubicBezTo>
                    <a:pt x="0" y="680"/>
                    <a:pt x="117" y="840"/>
                    <a:pt x="313" y="840"/>
                  </a:cubicBezTo>
                  <a:cubicBezTo>
                    <a:pt x="383" y="840"/>
                    <a:pt x="445" y="814"/>
                    <a:pt x="496" y="763"/>
                  </a:cubicBezTo>
                  <a:cubicBezTo>
                    <a:pt x="496" y="781"/>
                    <a:pt x="496" y="781"/>
                    <a:pt x="496" y="781"/>
                  </a:cubicBezTo>
                  <a:cubicBezTo>
                    <a:pt x="496" y="870"/>
                    <a:pt x="496" y="990"/>
                    <a:pt x="238" y="995"/>
                  </a:cubicBezTo>
                  <a:cubicBezTo>
                    <a:pt x="229" y="995"/>
                    <a:pt x="229" y="995"/>
                    <a:pt x="229" y="995"/>
                  </a:cubicBezTo>
                  <a:cubicBezTo>
                    <a:pt x="300" y="1152"/>
                    <a:pt x="300" y="1152"/>
                    <a:pt x="300" y="1152"/>
                  </a:cubicBezTo>
                  <a:cubicBezTo>
                    <a:pt x="304" y="1152"/>
                    <a:pt x="304" y="1152"/>
                    <a:pt x="304" y="1152"/>
                  </a:cubicBezTo>
                  <a:cubicBezTo>
                    <a:pt x="567" y="1147"/>
                    <a:pt x="695" y="1016"/>
                    <a:pt x="695" y="748"/>
                  </a:cubicBezTo>
                  <a:cubicBezTo>
                    <a:pt x="695" y="17"/>
                    <a:pt x="695" y="17"/>
                    <a:pt x="695" y="17"/>
                  </a:cubicBezTo>
                  <a:cubicBezTo>
                    <a:pt x="496" y="17"/>
                    <a:pt x="496" y="17"/>
                    <a:pt x="496" y="17"/>
                  </a:cubicBezTo>
                  <a:lnTo>
                    <a:pt x="496" y="74"/>
                  </a:lnTo>
                  <a:close/>
                  <a:moveTo>
                    <a:pt x="496" y="261"/>
                  </a:moveTo>
                  <a:cubicBezTo>
                    <a:pt x="496" y="577"/>
                    <a:pt x="496" y="577"/>
                    <a:pt x="496" y="577"/>
                  </a:cubicBezTo>
                  <a:cubicBezTo>
                    <a:pt x="464" y="619"/>
                    <a:pt x="426" y="657"/>
                    <a:pt x="355" y="657"/>
                  </a:cubicBezTo>
                  <a:cubicBezTo>
                    <a:pt x="286" y="657"/>
                    <a:pt x="204" y="614"/>
                    <a:pt x="204" y="407"/>
                  </a:cubicBezTo>
                  <a:cubicBezTo>
                    <a:pt x="204" y="221"/>
                    <a:pt x="285" y="182"/>
                    <a:pt x="353" y="182"/>
                  </a:cubicBezTo>
                  <a:cubicBezTo>
                    <a:pt x="428" y="182"/>
                    <a:pt x="473" y="227"/>
                    <a:pt x="496" y="261"/>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31" name="Rectangle 34"/>
            <p:cNvSpPr>
              <a:spLocks noChangeArrowheads="1"/>
            </p:cNvSpPr>
            <p:nvPr/>
          </p:nvSpPr>
          <p:spPr bwMode="auto">
            <a:xfrm>
              <a:off x="1619" y="4027"/>
              <a:ext cx="11" cy="45"/>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33" name="Rectangle 35"/>
            <p:cNvSpPr>
              <a:spLocks noChangeArrowheads="1"/>
            </p:cNvSpPr>
            <p:nvPr/>
          </p:nvSpPr>
          <p:spPr bwMode="auto">
            <a:xfrm>
              <a:off x="1619" y="4010"/>
              <a:ext cx="11" cy="11"/>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34" name="Freeform 36"/>
            <p:cNvSpPr>
              <a:spLocks/>
            </p:cNvSpPr>
            <p:nvPr/>
          </p:nvSpPr>
          <p:spPr bwMode="auto">
            <a:xfrm>
              <a:off x="1894" y="4009"/>
              <a:ext cx="11" cy="63"/>
            </a:xfrm>
            <a:custGeom>
              <a:avLst/>
              <a:gdLst>
                <a:gd name="T0" fmla="*/ 0 w 11"/>
                <a:gd name="T1" fmla="*/ 63 h 63"/>
                <a:gd name="T2" fmla="*/ 11 w 11"/>
                <a:gd name="T3" fmla="*/ 63 h 63"/>
                <a:gd name="T4" fmla="*/ 11 w 11"/>
                <a:gd name="T5" fmla="*/ 0 h 63"/>
                <a:gd name="T6" fmla="*/ 0 w 11"/>
                <a:gd name="T7" fmla="*/ 5 h 63"/>
                <a:gd name="T8" fmla="*/ 0 w 11"/>
                <a:gd name="T9" fmla="*/ 63 h 63"/>
              </a:gdLst>
              <a:ahLst/>
              <a:cxnLst>
                <a:cxn ang="0">
                  <a:pos x="T0" y="T1"/>
                </a:cxn>
                <a:cxn ang="0">
                  <a:pos x="T2" y="T3"/>
                </a:cxn>
                <a:cxn ang="0">
                  <a:pos x="T4" y="T5"/>
                </a:cxn>
                <a:cxn ang="0">
                  <a:pos x="T6" y="T7"/>
                </a:cxn>
                <a:cxn ang="0">
                  <a:pos x="T8" y="T9"/>
                </a:cxn>
              </a:cxnLst>
              <a:rect l="0" t="0" r="r" b="b"/>
              <a:pathLst>
                <a:path w="11" h="63">
                  <a:moveTo>
                    <a:pt x="0" y="63"/>
                  </a:moveTo>
                  <a:lnTo>
                    <a:pt x="11" y="63"/>
                  </a:lnTo>
                  <a:lnTo>
                    <a:pt x="11" y="0"/>
                  </a:lnTo>
                  <a:lnTo>
                    <a:pt x="0" y="5"/>
                  </a:lnTo>
                  <a:lnTo>
                    <a:pt x="0" y="63"/>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grpSp>
    </p:spTree>
    <p:extLst>
      <p:ext uri="{BB962C8B-B14F-4D97-AF65-F5344CB8AC3E}">
        <p14:creationId xmlns:p14="http://schemas.microsoft.com/office/powerpoint/2010/main" val="12142294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20" y="1591"/>
          <a:ext cx="2117" cy="1587"/>
        </p:xfrm>
        <a:graphic>
          <a:graphicData uri="http://schemas.openxmlformats.org/presentationml/2006/ole">
            <mc:AlternateContent xmlns:mc="http://schemas.openxmlformats.org/markup-compatibility/2006">
              <mc:Choice xmlns:v="urn:schemas-microsoft-com:vml" Requires="v">
                <p:oleObj spid="_x0000_s738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20" y="1591"/>
                        <a:ext cx="211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idx="1"/>
          </p:nvPr>
        </p:nvSpPr>
        <p:spPr>
          <a:xfrm>
            <a:off x="609918" y="1188723"/>
            <a:ext cx="10978515" cy="4846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5" name="Text Placeholder 5"/>
          <p:cNvSpPr>
            <a:spLocks noGrp="1"/>
          </p:cNvSpPr>
          <p:nvPr>
            <p:ph type="body" sz="quarter" idx="13"/>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Tree>
    <p:extLst>
      <p:ext uri="{BB962C8B-B14F-4D97-AF65-F5344CB8AC3E}">
        <p14:creationId xmlns:p14="http://schemas.microsoft.com/office/powerpoint/2010/main" val="41495921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918" y="365763"/>
            <a:ext cx="10978515" cy="5669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5" name="Text Placeholder 5"/>
          <p:cNvSpPr>
            <a:spLocks noGrp="1"/>
          </p:cNvSpPr>
          <p:nvPr>
            <p:ph type="body" sz="quarter" idx="13"/>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Tree>
    <p:extLst>
      <p:ext uri="{BB962C8B-B14F-4D97-AF65-F5344CB8AC3E}">
        <p14:creationId xmlns:p14="http://schemas.microsoft.com/office/powerpoint/2010/main" val="10300696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Sub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20" y="1591"/>
          <a:ext cx="2117" cy="1587"/>
        </p:xfrm>
        <a:graphic>
          <a:graphicData uri="http://schemas.openxmlformats.org/presentationml/2006/ole">
            <mc:AlternateContent xmlns:mc="http://schemas.openxmlformats.org/markup-compatibility/2006">
              <mc:Choice xmlns:v="urn:schemas-microsoft-com:vml" Requires="v">
                <p:oleObj spid="_x0000_s840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20" y="1591"/>
                        <a:ext cx="211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idx="1"/>
          </p:nvPr>
        </p:nvSpPr>
        <p:spPr>
          <a:xfrm>
            <a:off x="609918" y="1737366"/>
            <a:ext cx="10978515" cy="42976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5" name="Text Placeholder 4"/>
          <p:cNvSpPr>
            <a:spLocks noGrp="1"/>
          </p:cNvSpPr>
          <p:nvPr>
            <p:ph type="body" sz="quarter" idx="13"/>
          </p:nvPr>
        </p:nvSpPr>
        <p:spPr>
          <a:xfrm>
            <a:off x="609918" y="1097280"/>
            <a:ext cx="10978515" cy="457200"/>
          </a:xfrm>
        </p:spPr>
        <p:txBody>
          <a:bodyPr/>
          <a:lstStyle>
            <a:lvl1pPr marL="0" indent="0">
              <a:buNone/>
              <a:defRPr/>
            </a:lvl1pPr>
            <a:lvl2pPr marL="266446" indent="0">
              <a:buNone/>
              <a:defRPr/>
            </a:lvl2pPr>
            <a:lvl3pPr marL="513862" indent="0">
              <a:buNone/>
              <a:defRPr/>
            </a:lvl3pPr>
            <a:lvl4pPr marL="775551" indent="0">
              <a:buNone/>
              <a:defRPr/>
            </a:lvl4pPr>
            <a:lvl5pPr marL="1027723" indent="0">
              <a:buNone/>
              <a:defRPr/>
            </a:lvl5pPr>
          </a:lstStyle>
          <a:p>
            <a:pPr lvl="0"/>
            <a:r>
              <a:rPr lang="en-US"/>
              <a:t>Click to edit Master text styles</a:t>
            </a:r>
          </a:p>
        </p:txBody>
      </p:sp>
      <p:sp>
        <p:nvSpPr>
          <p:cNvPr id="7" name="Text Placeholder 5"/>
          <p:cNvSpPr>
            <a:spLocks noGrp="1"/>
          </p:cNvSpPr>
          <p:nvPr>
            <p:ph type="body" sz="quarter" idx="14"/>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
        <p:nvSpPr>
          <p:cNvPr id="12" name="object 110"/>
          <p:cNvSpPr/>
          <p:nvPr userDrawn="1"/>
        </p:nvSpPr>
        <p:spPr>
          <a:xfrm>
            <a:off x="8910441"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13" name="object 111"/>
          <p:cNvSpPr/>
          <p:nvPr userDrawn="1"/>
        </p:nvSpPr>
        <p:spPr>
          <a:xfrm>
            <a:off x="9260115"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14" name="Holder 6"/>
          <p:cNvSpPr txBox="1">
            <a:spLocks/>
          </p:cNvSpPr>
          <p:nvPr userDrawn="1"/>
        </p:nvSpPr>
        <p:spPr>
          <a:xfrm>
            <a:off x="8879465" y="6553272"/>
            <a:ext cx="419226" cy="133113"/>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7" algn="ctr"/>
            <a:fld id="{81D60167-4931-47E6-BA6A-407CBD079E47}" type="slidenum">
              <a:rPr lang="en-US" sz="865" smtClean="0">
                <a:solidFill>
                  <a:srgbClr val="808080"/>
                </a:solidFill>
                <a:latin typeface="EYInterstate Light" panose="02000506000000020004" pitchFamily="2" charset="0"/>
              </a:rPr>
              <a:pPr marL="14287" algn="ctr"/>
              <a:t>‹#›</a:t>
            </a:fld>
            <a:endParaRPr lang="en-US" sz="865" dirty="0">
              <a:solidFill>
                <a:srgbClr val="808080"/>
              </a:solidFill>
              <a:latin typeface="EYInterstate Light" panose="02000506000000020004" pitchFamily="2" charset="0"/>
            </a:endParaRPr>
          </a:p>
        </p:txBody>
      </p:sp>
      <p:sp>
        <p:nvSpPr>
          <p:cNvPr id="15" name="TextBox 14"/>
          <p:cNvSpPr txBox="1"/>
          <p:nvPr userDrawn="1"/>
        </p:nvSpPr>
        <p:spPr>
          <a:xfrm>
            <a:off x="9298692" y="6531022"/>
            <a:ext cx="2899659" cy="148077"/>
          </a:xfrm>
          <a:prstGeom prst="rect">
            <a:avLst/>
          </a:prstGeom>
          <a:noFill/>
        </p:spPr>
        <p:txBody>
          <a:bodyPr wrap="square" lIns="51635" tIns="25856" rIns="51635" bIns="25856" rtlCol="0">
            <a:spAutoFit/>
          </a:bodyPr>
          <a:lstStyle/>
          <a:p>
            <a:pPr defTabSz="258049">
              <a:lnSpc>
                <a:spcPct val="90000"/>
              </a:lnSpc>
            </a:pPr>
            <a:r>
              <a:rPr lang="en-US" sz="692" dirty="0">
                <a:solidFill>
                  <a:srgbClr val="000000">
                    <a:lumMod val="50000"/>
                    <a:lumOff val="50000"/>
                  </a:srgbClr>
                </a:solidFill>
                <a:cs typeface="EYInterstate Light"/>
              </a:rPr>
              <a:t>GRS Digital Experience Transformation</a:t>
            </a:r>
          </a:p>
        </p:txBody>
      </p:sp>
    </p:spTree>
    <p:extLst>
      <p:ext uri="{BB962C8B-B14F-4D97-AF65-F5344CB8AC3E}">
        <p14:creationId xmlns:p14="http://schemas.microsoft.com/office/powerpoint/2010/main" val="224291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dirty="0"/>
              <a:t>1 January 2014</a:t>
            </a: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dirty="0"/>
              <a:t>Presentation title</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6"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5" name="Text Placeholder 4"/>
          <p:cNvSpPr>
            <a:spLocks noGrp="1"/>
          </p:cNvSpPr>
          <p:nvPr>
            <p:ph type="body" sz="quarter" idx="13"/>
          </p:nvPr>
        </p:nvSpPr>
        <p:spPr>
          <a:xfrm>
            <a:off x="609918" y="1097280"/>
            <a:ext cx="10978515" cy="457200"/>
          </a:xfrm>
        </p:spPr>
        <p:txBody>
          <a:bodyPr/>
          <a:lstStyle>
            <a:lvl1pPr marL="0" indent="0">
              <a:buNone/>
              <a:defRPr/>
            </a:lvl1pPr>
            <a:lvl2pPr marL="266446" indent="0">
              <a:buNone/>
              <a:defRPr/>
            </a:lvl2pPr>
            <a:lvl3pPr marL="513862" indent="0">
              <a:buNone/>
              <a:defRPr/>
            </a:lvl3pPr>
            <a:lvl4pPr marL="775551" indent="0">
              <a:buNone/>
              <a:defRPr/>
            </a:lvl4pPr>
            <a:lvl5pPr marL="1027723" indent="0">
              <a:buNone/>
              <a:defRPr/>
            </a:lvl5pPr>
          </a:lstStyle>
          <a:p>
            <a:pPr lvl="0"/>
            <a:r>
              <a:rPr lang="en-US"/>
              <a:t>Click to edit Master text styles</a:t>
            </a:r>
          </a:p>
        </p:txBody>
      </p:sp>
      <p:sp>
        <p:nvSpPr>
          <p:cNvPr id="7" name="Text Placeholder 5"/>
          <p:cNvSpPr>
            <a:spLocks noGrp="1"/>
          </p:cNvSpPr>
          <p:nvPr>
            <p:ph type="body" sz="quarter" idx="14"/>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Tree>
    <p:extLst>
      <p:ext uri="{BB962C8B-B14F-4D97-AF65-F5344CB8AC3E}">
        <p14:creationId xmlns:p14="http://schemas.microsoft.com/office/powerpoint/2010/main" val="7009388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6"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4" name="Text Placeholder 5"/>
          <p:cNvSpPr>
            <a:spLocks noGrp="1"/>
          </p:cNvSpPr>
          <p:nvPr>
            <p:ph type="body" sz="quarter" idx="13"/>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
        <p:nvSpPr>
          <p:cNvPr id="5" name="object 110"/>
          <p:cNvSpPr/>
          <p:nvPr userDrawn="1"/>
        </p:nvSpPr>
        <p:spPr>
          <a:xfrm>
            <a:off x="8910441" y="6500332"/>
            <a:ext cx="0" cy="237280"/>
          </a:xfrm>
          <a:custGeom>
            <a:avLst/>
            <a:gdLst/>
            <a:ahLst/>
            <a:cxnLst/>
            <a:rect l="l" t="t" r="r" b="b"/>
            <a:pathLst>
              <a:path h="349592">
                <a:moveTo>
                  <a:pt x="0" y="0"/>
                </a:moveTo>
                <a:lnTo>
                  <a:pt x="0" y="349592"/>
                </a:lnTo>
              </a:path>
            </a:pathLst>
          </a:custGeom>
          <a:ln w="10795">
            <a:solidFill>
              <a:schemeClr val="accent3"/>
            </a:solidFill>
          </a:ln>
        </p:spPr>
        <p:txBody>
          <a:bodyPr wrap="square" lIns="0" tIns="0" rIns="0" bIns="0" rtlCol="0" anchor="ctr">
            <a:noAutofit/>
          </a:bodyPr>
          <a:lstStyle/>
          <a:p>
            <a:pPr defTabSz="258049"/>
            <a:endParaRPr sz="1095" dirty="0">
              <a:solidFill>
                <a:srgbClr val="000000"/>
              </a:solidFill>
            </a:endParaRPr>
          </a:p>
        </p:txBody>
      </p:sp>
      <p:sp>
        <p:nvSpPr>
          <p:cNvPr id="7" name="object 111"/>
          <p:cNvSpPr/>
          <p:nvPr userDrawn="1"/>
        </p:nvSpPr>
        <p:spPr>
          <a:xfrm>
            <a:off x="9260115" y="6500332"/>
            <a:ext cx="0" cy="237280"/>
          </a:xfrm>
          <a:custGeom>
            <a:avLst/>
            <a:gdLst/>
            <a:ahLst/>
            <a:cxnLst/>
            <a:rect l="l" t="t" r="r" b="b"/>
            <a:pathLst>
              <a:path h="349592">
                <a:moveTo>
                  <a:pt x="0" y="0"/>
                </a:moveTo>
                <a:lnTo>
                  <a:pt x="0" y="349592"/>
                </a:lnTo>
              </a:path>
            </a:pathLst>
          </a:custGeom>
          <a:ln w="10795">
            <a:solidFill>
              <a:schemeClr val="accent3"/>
            </a:solidFill>
          </a:ln>
        </p:spPr>
        <p:txBody>
          <a:bodyPr wrap="square" lIns="0" tIns="0" rIns="0" bIns="0" rtlCol="0" anchor="ctr">
            <a:noAutofit/>
          </a:bodyPr>
          <a:lstStyle/>
          <a:p>
            <a:pPr defTabSz="258049"/>
            <a:endParaRPr sz="1095" dirty="0">
              <a:solidFill>
                <a:srgbClr val="000000"/>
              </a:solidFill>
            </a:endParaRPr>
          </a:p>
        </p:txBody>
      </p:sp>
      <p:sp>
        <p:nvSpPr>
          <p:cNvPr id="8" name="Holder 6"/>
          <p:cNvSpPr txBox="1">
            <a:spLocks/>
          </p:cNvSpPr>
          <p:nvPr userDrawn="1"/>
        </p:nvSpPr>
        <p:spPr>
          <a:xfrm>
            <a:off x="8879465" y="6553272"/>
            <a:ext cx="419226" cy="133113"/>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7" algn="ctr"/>
            <a:fld id="{81D60167-4931-47E6-BA6A-407CBD079E47}" type="slidenum">
              <a:rPr lang="en-US" sz="865" smtClean="0">
                <a:solidFill>
                  <a:srgbClr val="808080"/>
                </a:solidFill>
                <a:latin typeface="EYInterstate Light" panose="02000506000000020004" pitchFamily="2" charset="0"/>
              </a:rPr>
              <a:pPr marL="14287" algn="ctr"/>
              <a:t>‹#›</a:t>
            </a:fld>
            <a:endParaRPr lang="en-US" sz="865" dirty="0">
              <a:solidFill>
                <a:srgbClr val="808080"/>
              </a:solidFill>
              <a:latin typeface="EYInterstate Light" panose="02000506000000020004" pitchFamily="2" charset="0"/>
            </a:endParaRPr>
          </a:p>
        </p:txBody>
      </p:sp>
      <p:sp>
        <p:nvSpPr>
          <p:cNvPr id="9" name="TextBox 8"/>
          <p:cNvSpPr txBox="1"/>
          <p:nvPr userDrawn="1"/>
        </p:nvSpPr>
        <p:spPr>
          <a:xfrm>
            <a:off x="9298692" y="6531022"/>
            <a:ext cx="2899659" cy="148077"/>
          </a:xfrm>
          <a:prstGeom prst="rect">
            <a:avLst/>
          </a:prstGeom>
          <a:noFill/>
        </p:spPr>
        <p:txBody>
          <a:bodyPr wrap="square" lIns="51635" tIns="25856" rIns="51635" bIns="25856" rtlCol="0">
            <a:spAutoFit/>
          </a:bodyPr>
          <a:lstStyle/>
          <a:p>
            <a:pPr defTabSz="258049">
              <a:lnSpc>
                <a:spcPct val="90000"/>
              </a:lnSpc>
            </a:pPr>
            <a:r>
              <a:rPr lang="en-US" sz="692" dirty="0">
                <a:solidFill>
                  <a:srgbClr val="000000">
                    <a:lumMod val="50000"/>
                    <a:lumOff val="50000"/>
                  </a:srgbClr>
                </a:solidFill>
                <a:cs typeface="EYInterstate Light"/>
              </a:rPr>
              <a:t>GRS Digital Experience Transformation</a:t>
            </a:r>
          </a:p>
        </p:txBody>
      </p:sp>
    </p:spTree>
    <p:extLst>
      <p:ext uri="{BB962C8B-B14F-4D97-AF65-F5344CB8AC3E}">
        <p14:creationId xmlns:p14="http://schemas.microsoft.com/office/powerpoint/2010/main" val="16793849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2Content_LR">
    <p:spTree>
      <p:nvGrpSpPr>
        <p:cNvPr id="1" name=""/>
        <p:cNvGrpSpPr/>
        <p:nvPr/>
      </p:nvGrpSpPr>
      <p:grpSpPr>
        <a:xfrm>
          <a:off x="0" y="0"/>
          <a:ext cx="0" cy="0"/>
          <a:chOff x="0" y="0"/>
          <a:chExt cx="0" cy="0"/>
        </a:xfrm>
      </p:grpSpPr>
      <p:sp>
        <p:nvSpPr>
          <p:cNvPr id="2" name="Title 1"/>
          <p:cNvSpPr>
            <a:spLocks noGrp="1"/>
          </p:cNvSpPr>
          <p:nvPr>
            <p:ph type="title"/>
          </p:nvPr>
        </p:nvSpPr>
        <p:spPr>
          <a:xfrm>
            <a:off x="609918" y="365761"/>
            <a:ext cx="10978515" cy="64008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609920" y="1188723"/>
            <a:ext cx="5367274" cy="4846320"/>
          </a:xfrm>
        </p:spPr>
        <p:txBody>
          <a:bodyPr/>
          <a:lstStyle>
            <a:lvl1pPr>
              <a:defRPr sz="120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21159" y="1188723"/>
            <a:ext cx="5367274" cy="4846320"/>
          </a:xfrm>
        </p:spPr>
        <p:txBody>
          <a:bodyPr/>
          <a:lstStyle>
            <a:lvl1pPr>
              <a:defRPr sz="120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6" name="Text Placeholder 5"/>
          <p:cNvSpPr>
            <a:spLocks noGrp="1"/>
          </p:cNvSpPr>
          <p:nvPr>
            <p:ph type="body" sz="quarter" idx="13"/>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Tree>
    <p:extLst>
      <p:ext uri="{BB962C8B-B14F-4D97-AF65-F5344CB8AC3E}">
        <p14:creationId xmlns:p14="http://schemas.microsoft.com/office/powerpoint/2010/main" val="13502475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2ContentTitle_L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09920" y="1920240"/>
            <a:ext cx="5367274" cy="4114800"/>
          </a:xfrm>
        </p:spPr>
        <p:txBody>
          <a:bodyPr/>
          <a:lstStyle>
            <a:lvl1pPr>
              <a:defRPr sz="120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4831" y="1920240"/>
            <a:ext cx="5367274" cy="4114800"/>
          </a:xfrm>
        </p:spPr>
        <p:txBody>
          <a:bodyPr/>
          <a:lstStyle>
            <a:lvl1pPr>
              <a:defRPr sz="120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20" y="1371600"/>
            <a:ext cx="5367274" cy="457200"/>
          </a:xfrm>
        </p:spPr>
        <p:txBody>
          <a:bodyPr anchor="b" anchorCtr="0"/>
          <a:lstStyle>
            <a:lvl1pPr algn="ctr">
              <a:buNone/>
              <a:defRPr b="1"/>
            </a:lvl1pPr>
          </a:lstStyle>
          <a:p>
            <a:pPr lvl="0"/>
            <a:r>
              <a:rPr lang="en-US"/>
              <a:t>Click to edit Master text styles</a:t>
            </a:r>
          </a:p>
        </p:txBody>
      </p:sp>
      <p:sp>
        <p:nvSpPr>
          <p:cNvPr id="11" name="Text Placeholder 9"/>
          <p:cNvSpPr>
            <a:spLocks noGrp="1"/>
          </p:cNvSpPr>
          <p:nvPr>
            <p:ph type="body" sz="quarter" idx="13"/>
          </p:nvPr>
        </p:nvSpPr>
        <p:spPr>
          <a:xfrm>
            <a:off x="6204831" y="1371600"/>
            <a:ext cx="5367274" cy="457200"/>
          </a:xfrm>
        </p:spPr>
        <p:txBody>
          <a:bodyPr anchor="b" anchorCtr="0"/>
          <a:lstStyle>
            <a:lvl1pPr algn="ctr">
              <a:buNone/>
              <a:defRPr b="1"/>
            </a:lvl1pPr>
          </a:lstStyle>
          <a:p>
            <a:pPr lvl="0"/>
            <a:r>
              <a:rPr lang="en-US"/>
              <a:t>Click to edit Master text styles</a:t>
            </a:r>
          </a:p>
        </p:txBody>
      </p:sp>
      <p:sp>
        <p:nvSpPr>
          <p:cNvPr id="12" name="Text Placeholder 5"/>
          <p:cNvSpPr>
            <a:spLocks noGrp="1"/>
          </p:cNvSpPr>
          <p:nvPr>
            <p:ph type="body" sz="quarter" idx="14"/>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8" name="Text Placeholder 5"/>
          <p:cNvSpPr>
            <a:spLocks noGrp="1"/>
          </p:cNvSpPr>
          <p:nvPr>
            <p:ph type="body" sz="quarter" idx="15"/>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Tree>
    <p:extLst>
      <p:ext uri="{BB962C8B-B14F-4D97-AF65-F5344CB8AC3E}">
        <p14:creationId xmlns:p14="http://schemas.microsoft.com/office/powerpoint/2010/main" val="1803049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Divider_Clean">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32"/>
            <a:ext cx="10978515" cy="1643063"/>
          </a:xfrm>
        </p:spPr>
        <p:txBody>
          <a:bodyPr/>
          <a:lstStyle>
            <a:lvl1pPr marL="0" indent="0" algn="l">
              <a:lnSpc>
                <a:spcPct val="100000"/>
              </a:lnSpc>
              <a:spcBef>
                <a:spcPts val="224"/>
              </a:spcBef>
              <a:buNone/>
              <a:defRPr sz="3300" b="0">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4295878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Divider_SideBeam_Shor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8350" cy="6858000"/>
          </a:xfrm>
        </p:spPr>
        <p:txBody>
          <a:bodyPr/>
          <a:lstStyle>
            <a:lvl1pPr marL="0" indent="0">
              <a:buNone/>
              <a:defRPr/>
            </a:lvl1pPr>
          </a:lstStyle>
          <a:p>
            <a:r>
              <a:rPr lang="en-US" dirty="0"/>
              <a:t>Click icon to add picture</a:t>
            </a:r>
            <a:endParaRPr lang="en-CA" dirty="0"/>
          </a:p>
        </p:txBody>
      </p:sp>
      <p:sp>
        <p:nvSpPr>
          <p:cNvPr id="3" name="Text Placeholder 2"/>
          <p:cNvSpPr>
            <a:spLocks noGrp="1"/>
          </p:cNvSpPr>
          <p:nvPr>
            <p:ph type="body" sz="quarter" idx="11"/>
          </p:nvPr>
        </p:nvSpPr>
        <p:spPr>
          <a:xfrm rot="5400000" flipV="1">
            <a:off x="7853045" y="1461138"/>
            <a:ext cx="1371600" cy="731901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89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89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898"/>
                </a:moveTo>
                <a:lnTo>
                  <a:pt x="10000" y="0"/>
                </a:lnTo>
                <a:lnTo>
                  <a:pt x="10000" y="10000"/>
                </a:lnTo>
                <a:lnTo>
                  <a:pt x="0" y="10000"/>
                </a:lnTo>
                <a:lnTo>
                  <a:pt x="0" y="898"/>
                </a:lnTo>
                <a:close/>
              </a:path>
            </a:pathLst>
          </a:custGeom>
          <a:solidFill>
            <a:schemeClr val="accent2"/>
          </a:solidFill>
        </p:spPr>
        <p:txBody>
          <a:bodyPr vert="vert" lIns="91354" tIns="274061" rIns="91354" bIns="456766" anchor="ctr"/>
          <a:lstStyle>
            <a:lvl1pPr marL="0" indent="0" algn="r">
              <a:lnSpc>
                <a:spcPct val="100000"/>
              </a:lnSpc>
              <a:spcBef>
                <a:spcPts val="0"/>
              </a:spcBef>
              <a:buNone/>
              <a:defRPr sz="2400" b="0">
                <a:solidFill>
                  <a:srgbClr val="404040"/>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4994206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Divider_SideBeam_Long">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8350" cy="6858000"/>
          </a:xfrm>
        </p:spPr>
        <p:txBody>
          <a:bodyPr/>
          <a:lstStyle>
            <a:lvl1pPr marL="0" indent="0">
              <a:buNone/>
              <a:defRPr/>
            </a:lvl1pPr>
          </a:lstStyle>
          <a:p>
            <a:r>
              <a:rPr lang="en-US" dirty="0"/>
              <a:t>Click icon to add picture</a:t>
            </a:r>
            <a:endParaRPr lang="en-CA" dirty="0"/>
          </a:p>
        </p:txBody>
      </p:sp>
      <p:sp>
        <p:nvSpPr>
          <p:cNvPr id="3" name="Text Placeholder 2"/>
          <p:cNvSpPr>
            <a:spLocks noGrp="1"/>
          </p:cNvSpPr>
          <p:nvPr>
            <p:ph type="body" sz="quarter" idx="11"/>
          </p:nvPr>
        </p:nvSpPr>
        <p:spPr>
          <a:xfrm rot="5400000" flipV="1">
            <a:off x="6938173" y="546267"/>
            <a:ext cx="1371600" cy="9148764"/>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89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89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898"/>
                </a:moveTo>
                <a:lnTo>
                  <a:pt x="10000" y="0"/>
                </a:lnTo>
                <a:lnTo>
                  <a:pt x="10000" y="10000"/>
                </a:lnTo>
                <a:lnTo>
                  <a:pt x="0" y="10000"/>
                </a:lnTo>
                <a:lnTo>
                  <a:pt x="0" y="898"/>
                </a:lnTo>
                <a:close/>
              </a:path>
            </a:pathLst>
          </a:custGeom>
          <a:solidFill>
            <a:schemeClr val="accent2"/>
          </a:solidFill>
        </p:spPr>
        <p:txBody>
          <a:bodyPr vert="vert" lIns="91354" tIns="274061" rIns="91354" bIns="456766" anchor="ctr"/>
          <a:lstStyle>
            <a:lvl1pPr marL="0" indent="0" algn="r">
              <a:lnSpc>
                <a:spcPct val="100000"/>
              </a:lnSpc>
              <a:spcBef>
                <a:spcPts val="0"/>
              </a:spcBef>
              <a:buNone/>
              <a:defRPr sz="2400" b="0">
                <a:solidFill>
                  <a:srgbClr val="404040"/>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7574404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NoContent">
    <p:spTree>
      <p:nvGrpSpPr>
        <p:cNvPr id="1" name=""/>
        <p:cNvGrpSpPr/>
        <p:nvPr/>
      </p:nvGrpSpPr>
      <p:grpSpPr>
        <a:xfrm>
          <a:off x="0" y="0"/>
          <a:ext cx="0" cy="0"/>
          <a:chOff x="0" y="0"/>
          <a:chExt cx="0" cy="0"/>
        </a:xfrm>
      </p:grpSpPr>
      <p:sp>
        <p:nvSpPr>
          <p:cNvPr id="4"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Tree>
    <p:extLst>
      <p:ext uri="{BB962C8B-B14F-4D97-AF65-F5344CB8AC3E}">
        <p14:creationId xmlns:p14="http://schemas.microsoft.com/office/powerpoint/2010/main" val="13165185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39104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41"/>
            <a:ext cx="4677635" cy="5210062"/>
          </a:xfrm>
        </p:spPr>
        <p:txBody>
          <a:bodyPr/>
          <a:lstStyle>
            <a:lvl1pPr marL="0" indent="0" algn="l" defTabSz="745813" rtl="0" fontAlgn="base">
              <a:lnSpc>
                <a:spcPct val="100000"/>
              </a:lnSpc>
              <a:spcBef>
                <a:spcPct val="70000"/>
              </a:spcBef>
              <a:spcAft>
                <a:spcPct val="0"/>
              </a:spcAft>
              <a:buSzPct val="100000"/>
              <a:buNone/>
              <a:defRPr lang="en-US" sz="900" kern="1200" noProof="0" dirty="0" smtClean="0">
                <a:solidFill>
                  <a:schemeClr val="bg1"/>
                </a:solidFill>
                <a:latin typeface="Arial" pitchFamily="34" charset="0"/>
                <a:ea typeface="+mn-ea"/>
                <a:cs typeface="Arial" pitchFamily="34" charset="0"/>
              </a:defRPr>
            </a:lvl1pPr>
            <a:lvl2pPr marL="0" indent="0" algn="l" defTabSz="745813" rtl="0" fontAlgn="base">
              <a:lnSpc>
                <a:spcPct val="100000"/>
              </a:lnSpc>
              <a:spcBef>
                <a:spcPct val="0"/>
              </a:spcBef>
              <a:spcAft>
                <a:spcPct val="0"/>
              </a:spcAft>
              <a:buSzPct val="100000"/>
              <a:buNone/>
              <a:defRPr lang="en-US" sz="675" b="1" kern="1200" noProof="0" dirty="0" smtClean="0">
                <a:solidFill>
                  <a:schemeClr val="bg1"/>
                </a:solidFill>
                <a:latin typeface="Arial" pitchFamily="34" charset="0"/>
                <a:ea typeface="+mn-ea"/>
                <a:cs typeface="Arial" pitchFamily="34" charset="0"/>
              </a:defRPr>
            </a:lvl2pPr>
            <a:lvl3pPr marL="132035" indent="-132035" algn="l" defTabSz="745813"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Arial" pitchFamily="34" charset="0"/>
                <a:ea typeface="+mn-ea"/>
                <a:cs typeface="Arial" pitchFamily="34" charset="0"/>
              </a:defRPr>
            </a:lvl3pPr>
            <a:lvl4pPr marL="0" indent="0" algn="l" defTabSz="745813" rtl="0" fontAlgn="base">
              <a:lnSpc>
                <a:spcPct val="100000"/>
              </a:lnSpc>
              <a:spcBef>
                <a:spcPct val="0"/>
              </a:spcBef>
              <a:spcAft>
                <a:spcPct val="0"/>
              </a:spcAft>
              <a:buSzPct val="100000"/>
              <a:buNone/>
              <a:defRPr lang="en-US" sz="600" kern="1200" noProof="0" dirty="0" smtClean="0">
                <a:solidFill>
                  <a:schemeClr val="bg1"/>
                </a:solidFill>
                <a:latin typeface="Arial" pitchFamily="34" charset="0"/>
                <a:ea typeface="+mn-ea"/>
                <a:cs typeface="Arial" pitchFamily="34" charset="0"/>
              </a:defRPr>
            </a:lvl4pPr>
            <a:lvl5pPr marL="141551" indent="-141551" algn="l" defTabSz="745813"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Arial" pitchFamily="34" charset="0"/>
                <a:ea typeface="+mn-ea"/>
                <a:cs typeface="Arial" pitchFamily="34" charset="0"/>
              </a:defRPr>
            </a:lvl5pPr>
          </a:lstStyle>
          <a:p>
            <a:pPr lvl="0"/>
            <a:r>
              <a:rPr lang="en-US" noProof="0"/>
              <a:t>Click to edit Master text styles</a:t>
            </a:r>
          </a:p>
        </p:txBody>
      </p:sp>
    </p:spTree>
    <p:extLst>
      <p:ext uri="{BB962C8B-B14F-4D97-AF65-F5344CB8AC3E}">
        <p14:creationId xmlns:p14="http://schemas.microsoft.com/office/powerpoint/2010/main" val="1022921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dirty="0"/>
              <a:t>1 January 2014</a:t>
            </a:r>
          </a:p>
        </p:txBody>
      </p:sp>
      <p:sp>
        <p:nvSpPr>
          <p:cNvPr id="7" name="Footer Placeholder 6"/>
          <p:cNvSpPr>
            <a:spLocks noGrp="1"/>
          </p:cNvSpPr>
          <p:nvPr>
            <p:ph type="ftr" sz="quarter" idx="15"/>
          </p:nvPr>
        </p:nvSpPr>
        <p:spPr/>
        <p:txBody>
          <a:bodyPr/>
          <a:lstStyle/>
          <a:p>
            <a:r>
              <a:rPr lang="en-GB" dirty="0"/>
              <a:t>Presentation titl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4" name="object 110"/>
          <p:cNvSpPr/>
          <p:nvPr userDrawn="1"/>
        </p:nvSpPr>
        <p:spPr>
          <a:xfrm>
            <a:off x="8910441"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5" name="object 111"/>
          <p:cNvSpPr/>
          <p:nvPr userDrawn="1"/>
        </p:nvSpPr>
        <p:spPr>
          <a:xfrm>
            <a:off x="9260115"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6" name="Holder 6"/>
          <p:cNvSpPr txBox="1">
            <a:spLocks/>
          </p:cNvSpPr>
          <p:nvPr userDrawn="1"/>
        </p:nvSpPr>
        <p:spPr>
          <a:xfrm>
            <a:off x="8879465" y="6553272"/>
            <a:ext cx="419226" cy="133113"/>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7" algn="ctr"/>
            <a:fld id="{81D60167-4931-47E6-BA6A-407CBD079E47}" type="slidenum">
              <a:rPr lang="en-US" sz="865" smtClean="0">
                <a:solidFill>
                  <a:srgbClr val="808080"/>
                </a:solidFill>
                <a:latin typeface="EYInterstate Light" panose="02000506000000020004" pitchFamily="2" charset="0"/>
              </a:rPr>
              <a:pPr marL="14287" algn="ctr"/>
              <a:t>‹#›</a:t>
            </a:fld>
            <a:endParaRPr lang="en-US" sz="865" dirty="0">
              <a:solidFill>
                <a:srgbClr val="808080"/>
              </a:solidFill>
              <a:latin typeface="EYInterstate Light" panose="02000506000000020004" pitchFamily="2" charset="0"/>
            </a:endParaRPr>
          </a:p>
        </p:txBody>
      </p:sp>
      <p:sp>
        <p:nvSpPr>
          <p:cNvPr id="7" name="TextBox 6"/>
          <p:cNvSpPr txBox="1"/>
          <p:nvPr userDrawn="1"/>
        </p:nvSpPr>
        <p:spPr>
          <a:xfrm>
            <a:off x="9298692" y="6531022"/>
            <a:ext cx="2899659" cy="148077"/>
          </a:xfrm>
          <a:prstGeom prst="rect">
            <a:avLst/>
          </a:prstGeom>
          <a:noFill/>
        </p:spPr>
        <p:txBody>
          <a:bodyPr wrap="square" lIns="51635" tIns="25856" rIns="51635" bIns="25856" rtlCol="0">
            <a:spAutoFit/>
          </a:bodyPr>
          <a:lstStyle/>
          <a:p>
            <a:pPr defTabSz="258049">
              <a:lnSpc>
                <a:spcPct val="90000"/>
              </a:lnSpc>
            </a:pPr>
            <a:r>
              <a:rPr lang="en-US" sz="692" dirty="0">
                <a:solidFill>
                  <a:srgbClr val="000000">
                    <a:lumMod val="50000"/>
                    <a:lumOff val="50000"/>
                  </a:srgbClr>
                </a:solidFill>
                <a:cs typeface="EYInterstate Light"/>
              </a:rPr>
              <a:t>GRS Digital Experience Transformation</a:t>
            </a:r>
          </a:p>
        </p:txBody>
      </p:sp>
    </p:spTree>
    <p:extLst>
      <p:ext uri="{BB962C8B-B14F-4D97-AF65-F5344CB8AC3E}">
        <p14:creationId xmlns:p14="http://schemas.microsoft.com/office/powerpoint/2010/main" val="3900111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432"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2"/>
          </p:nvPr>
        </p:nvSpPr>
        <p:spPr>
          <a:xfrm>
            <a:off x="609918" y="6126480"/>
            <a:ext cx="10978515" cy="137160"/>
          </a:xfrm>
        </p:spPr>
        <p:txBody>
          <a:bodyPr anchor="b"/>
          <a:lstStyle>
            <a:lvl1pPr marL="0" indent="0">
              <a:spcBef>
                <a:spcPts val="0"/>
              </a:spcBef>
              <a:buNone/>
              <a:defRPr sz="600" i="1"/>
            </a:lvl1pPr>
          </a:lstStyle>
          <a:p>
            <a:pPr lvl="0"/>
            <a:endParaRPr lang="en-CA" dirty="0"/>
          </a:p>
        </p:txBody>
      </p:sp>
      <p:sp>
        <p:nvSpPr>
          <p:cNvPr id="5" name="Text Placeholder 5"/>
          <p:cNvSpPr>
            <a:spLocks noGrp="1"/>
          </p:cNvSpPr>
          <p:nvPr>
            <p:ph type="body" sz="quarter" idx="13"/>
          </p:nvPr>
        </p:nvSpPr>
        <p:spPr>
          <a:xfrm>
            <a:off x="609918" y="91440"/>
            <a:ext cx="10978515" cy="182880"/>
          </a:xfrm>
        </p:spPr>
        <p:txBody>
          <a:bodyPr anchor="ctr"/>
          <a:lstStyle>
            <a:lvl1pPr marL="0" indent="0">
              <a:spcBef>
                <a:spcPts val="0"/>
              </a:spcBef>
              <a:buNone/>
              <a:defRPr sz="750" i="0">
                <a:solidFill>
                  <a:schemeClr val="tx1">
                    <a:lumMod val="75000"/>
                    <a:lumOff val="25000"/>
                  </a:schemeClr>
                </a:solidFill>
              </a:defRPr>
            </a:lvl1pPr>
          </a:lstStyle>
          <a:p>
            <a:pPr lvl="0"/>
            <a:endParaRPr lang="en-CA" dirty="0"/>
          </a:p>
        </p:txBody>
      </p:sp>
    </p:spTree>
    <p:extLst>
      <p:ext uri="{BB962C8B-B14F-4D97-AF65-F5344CB8AC3E}">
        <p14:creationId xmlns:p14="http://schemas.microsoft.com/office/powerpoint/2010/main" val="37547571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18949458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372553080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p>
            <a:r>
              <a:rPr lang="en-US" dirty="0">
                <a:solidFill>
                  <a:srgbClr val="646464"/>
                </a:solidFill>
              </a:rPr>
              <a:t>1 January 2014</a:t>
            </a:r>
          </a:p>
        </p:txBody>
      </p:sp>
      <p:sp>
        <p:nvSpPr>
          <p:cNvPr id="9" name="Footer Placeholder 8"/>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6253091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dirty="0">
                <a:solidFill>
                  <a:srgbClr val="646464"/>
                </a:solidFill>
              </a:rPr>
              <a:t>1 January 2014</a:t>
            </a:r>
          </a:p>
        </p:txBody>
      </p:sp>
      <p:sp>
        <p:nvSpPr>
          <p:cNvPr id="6" name="Footer Placeholder 5"/>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20448537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dirty="0">
                <a:solidFill>
                  <a:srgbClr val="646464"/>
                </a:solidFill>
              </a:rPr>
              <a:t>1 January 2014</a:t>
            </a:r>
          </a:p>
        </p:txBody>
      </p:sp>
      <p:sp>
        <p:nvSpPr>
          <p:cNvPr id="6" name="Footer Placeholder 5"/>
          <p:cNvSpPr>
            <a:spLocks noGrp="1"/>
          </p:cNvSpPr>
          <p:nvPr>
            <p:ph type="ftr" sz="quarter" idx="11"/>
          </p:nvPr>
        </p:nvSpPr>
        <p:spPr/>
        <p:txBody>
          <a:bodyPr/>
          <a:lstStyle/>
          <a:p>
            <a:r>
              <a:rPr lang="en-GB" dirty="0">
                <a:solidFill>
                  <a:srgbClr val="646464"/>
                </a:solidFill>
              </a:rPr>
              <a:t>Presentation title</a:t>
            </a:r>
          </a:p>
        </p:txBody>
      </p:sp>
    </p:spTree>
    <p:extLst>
      <p:ext uri="{BB962C8B-B14F-4D97-AF65-F5344CB8AC3E}">
        <p14:creationId xmlns:p14="http://schemas.microsoft.com/office/powerpoint/2010/main" val="26957483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a:solidFill>
                  <a:srgbClr val="646464"/>
                </a:solidFill>
              </a:rPr>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409715849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a:solidFill>
                  <a:srgbClr val="646464"/>
                </a:solidFill>
              </a:rPr>
              <a:t>1 January 2014</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19122052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dirty="0">
                <a:solidFill>
                  <a:srgbClr val="646464"/>
                </a:solidFill>
              </a:rPr>
              <a:t>1 January 2014</a:t>
            </a: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dirty="0">
                <a:solidFill>
                  <a:srgbClr val="646464"/>
                </a:solidFill>
              </a:rPr>
              <a:t>Presentation title</a:t>
            </a:r>
          </a:p>
        </p:txBody>
      </p:sp>
    </p:spTree>
    <p:extLst>
      <p:ext uri="{BB962C8B-B14F-4D97-AF65-F5344CB8AC3E}">
        <p14:creationId xmlns:p14="http://schemas.microsoft.com/office/powerpoint/2010/main" val="3808833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w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theme" Target="../theme/theme10.xml"/><Relationship Id="rId3" Type="http://schemas.openxmlformats.org/officeDocument/2006/relationships/slideLayout" Target="../slideLayouts/slideLayout148.xml"/><Relationship Id="rId21" Type="http://schemas.openxmlformats.org/officeDocument/2006/relationships/image" Target="../media/image3.png"/><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image" Target="../media/image2.png"/><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10" Type="http://schemas.openxmlformats.org/officeDocument/2006/relationships/slideLayout" Target="../slideLayouts/slideLayout155.xml"/><Relationship Id="rId19" Type="http://schemas.openxmlformats.org/officeDocument/2006/relationships/image" Target="../media/image1.w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9.w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image" Target="../media/image14.wmf"/><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image" Target="../media/image21.wmf"/><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heme" Target="../theme/theme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tags" Target="../tags/tag2.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vmlDrawing" Target="../drawings/vmlDrawing1.v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image" Target="../media/image24.emf"/><Relationship Id="rId10" Type="http://schemas.openxmlformats.org/officeDocument/2006/relationships/slideLayout" Target="../slideLayouts/slideLayout83.xml"/><Relationship Id="rId19" Type="http://schemas.openxmlformats.org/officeDocument/2006/relationships/theme" Target="../theme/theme5.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image" Target="../media/image1.wmf"/><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theme" Target="../theme/theme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7" Type="http://schemas.openxmlformats.org/officeDocument/2006/relationships/image" Target="../media/image29.emf"/><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theme" Target="../theme/theme9.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10" Type="http://schemas.openxmlformats.org/officeDocument/2006/relationships/slideLayout" Target="../slideLayouts/slideLayout138.xml"/><Relationship Id="rId19" Type="http://schemas.openxmlformats.org/officeDocument/2006/relationships/image" Target="../media/image1.wmf"/><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9" name="Group 8"/>
          <p:cNvGrpSpPr/>
          <p:nvPr userDrawn="1"/>
        </p:nvGrpSpPr>
        <p:grpSpPr>
          <a:xfrm>
            <a:off x="11002100" y="159871"/>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67" r:id="rId1"/>
    <p:sldLayoutId id="2147483777" r:id="rId2"/>
    <p:sldLayoutId id="2147483668" r:id="rId3"/>
    <p:sldLayoutId id="2147483730" r:id="rId4"/>
    <p:sldLayoutId id="2147483731" r:id="rId5"/>
    <p:sldLayoutId id="2147483669" r:id="rId6"/>
    <p:sldLayoutId id="2147483773"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 id="2147483782" r:id="rId17"/>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9" y="6519672"/>
            <a:ext cx="4581585" cy="201168"/>
          </a:xfrm>
          <a:prstGeom prst="rect">
            <a:avLst/>
          </a:prstGeom>
        </p:spPr>
        <p:txBody>
          <a:bodyPr vert="horz" lIns="0" tIns="0" rIns="0" bIns="0" rtlCol="0" anchor="t" anchorCtr="0">
            <a:noAutofit/>
          </a:bodyPr>
          <a:lstStyle>
            <a:lvl1pPr algn="l">
              <a:defRPr sz="1099">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099" dirty="0">
                <a:solidFill>
                  <a:srgbClr val="646464"/>
                </a:solidFill>
              </a:rPr>
              <a:t>Page </a:t>
            </a:r>
            <a:fld id="{9AE4D82F-B047-469B-AC52-A46321747EAF}" type="slidenum">
              <a:rPr lang="en-GB" sz="1099">
                <a:solidFill>
                  <a:srgbClr val="646464"/>
                </a:solidFill>
              </a:rPr>
              <a:pPr/>
              <a:t>‹#›</a:t>
            </a:fld>
            <a:endParaRPr lang="en-GB" sz="1099"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9" name="Group 8"/>
          <p:cNvGrpSpPr/>
          <p:nvPr userDrawn="1"/>
        </p:nvGrpSpPr>
        <p:grpSpPr>
          <a:xfrm>
            <a:off x="11002100" y="159872"/>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2821909136"/>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2"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1 January 2014</a:t>
            </a:r>
          </a:p>
        </p:txBody>
      </p:sp>
      <p:pic>
        <p:nvPicPr>
          <p:cNvPr id="10" name="Picture 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
        <p:nvSpPr>
          <p:cNvPr id="4"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63" r:id="rId2"/>
    <p:sldLayoutId id="2147483764" r:id="rId3"/>
    <p:sldLayoutId id="2147483766" r:id="rId4"/>
    <p:sldLayoutId id="2147483778" r:id="rId5"/>
    <p:sldLayoutId id="2147483710" r:id="rId6"/>
    <p:sldLayoutId id="2147483732" r:id="rId7"/>
    <p:sldLayoutId id="2147483733" r:id="rId8"/>
    <p:sldLayoutId id="2147483711" r:id="rId9"/>
    <p:sldLayoutId id="2147483774"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599"/>
            <a:ext cx="10978515"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2"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1 January 2014</a:t>
            </a:r>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
        <p:nvSpPr>
          <p:cNvPr id="4"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81" r:id="rId1"/>
    <p:sldLayoutId id="2147483758" r:id="rId2"/>
    <p:sldLayoutId id="2147483759" r:id="rId3"/>
    <p:sldLayoutId id="2147483761" r:id="rId4"/>
    <p:sldLayoutId id="2147483779" r:id="rId5"/>
    <p:sldLayoutId id="2147483682" r:id="rId6"/>
    <p:sldLayoutId id="2147483734" r:id="rId7"/>
    <p:sldLayoutId id="2147483735" r:id="rId8"/>
    <p:sldLayoutId id="2147483683" r:id="rId9"/>
    <p:sldLayoutId id="2147483775"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2"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1 January 2014</a:t>
            </a:r>
          </a:p>
        </p:txBody>
      </p:sp>
      <p:pic>
        <p:nvPicPr>
          <p:cNvPr id="13" name="Picture 1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
        <p:nvSpPr>
          <p:cNvPr id="4"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95" r:id="rId1"/>
    <p:sldLayoutId id="2147483768" r:id="rId2"/>
    <p:sldLayoutId id="2147483769" r:id="rId3"/>
    <p:sldLayoutId id="2147483771" r:id="rId4"/>
    <p:sldLayoutId id="2147483696" r:id="rId5"/>
    <p:sldLayoutId id="2147483736" r:id="rId6"/>
    <p:sldLayoutId id="2147483737" r:id="rId7"/>
    <p:sldLayoutId id="2147483697" r:id="rId8"/>
    <p:sldLayoutId id="2147483776" r:id="rId9"/>
    <p:sldLayoutId id="2147483698" r:id="rId10"/>
    <p:sldLayoutId id="2147483699" r:id="rId11"/>
    <p:sldLayoutId id="2147483700" r:id="rId12"/>
    <p:sldLayoutId id="2147483701" r:id="rId13"/>
    <p:sldLayoutId id="2147483702" r:id="rId14"/>
    <p:sldLayoutId id="2147483729" r:id="rId15"/>
    <p:sldLayoutId id="2147483705" r:id="rId16"/>
    <p:sldLayoutId id="2147483706" r:id="rId17"/>
    <p:sldLayoutId id="2147483707" r:id="rId18"/>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nvPr>
        </p:nvGraphicFramePr>
        <p:xfrm>
          <a:off x="2124" y="1598"/>
          <a:ext cx="2117" cy="1587"/>
        </p:xfrm>
        <a:graphic>
          <a:graphicData uri="http://schemas.openxmlformats.org/presentationml/2006/ole">
            <mc:AlternateContent xmlns:mc="http://schemas.openxmlformats.org/markup-compatibility/2006">
              <mc:Choice xmlns:v="urn:schemas-microsoft-com:vml" Requires="v">
                <p:oleObj spid="_x0000_s6360"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2124" y="1598"/>
                        <a:ext cx="2117" cy="1587"/>
                      </a:xfrm>
                      <a:prstGeom prst="rect">
                        <a:avLst/>
                      </a:prstGeom>
                    </p:spPr>
                  </p:pic>
                </p:oleObj>
              </mc:Fallback>
            </mc:AlternateContent>
          </a:graphicData>
        </a:graphic>
      </p:graphicFrame>
      <p:sp>
        <p:nvSpPr>
          <p:cNvPr id="2" name="Title Placeholder 1"/>
          <p:cNvSpPr>
            <a:spLocks noGrp="1"/>
          </p:cNvSpPr>
          <p:nvPr>
            <p:ph type="title"/>
          </p:nvPr>
        </p:nvSpPr>
        <p:spPr>
          <a:xfrm>
            <a:off x="609918" y="365761"/>
            <a:ext cx="10978515" cy="640080"/>
          </a:xfrm>
          <a:prstGeom prst="rect">
            <a:avLst/>
          </a:prstGeom>
        </p:spPr>
        <p:txBody>
          <a:bodyPr vert="horz" lIns="0" tIns="0" rIns="0" bIns="0" rtlCol="0" anchor="b"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88723"/>
            <a:ext cx="10978515" cy="4572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object 110"/>
          <p:cNvSpPr/>
          <p:nvPr userDrawn="1"/>
        </p:nvSpPr>
        <p:spPr>
          <a:xfrm>
            <a:off x="8910441"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8" name="object 111"/>
          <p:cNvSpPr/>
          <p:nvPr userDrawn="1"/>
        </p:nvSpPr>
        <p:spPr>
          <a:xfrm>
            <a:off x="9260115"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9" name="Holder 6"/>
          <p:cNvSpPr txBox="1">
            <a:spLocks/>
          </p:cNvSpPr>
          <p:nvPr userDrawn="1"/>
        </p:nvSpPr>
        <p:spPr>
          <a:xfrm>
            <a:off x="8879465" y="6553272"/>
            <a:ext cx="419226" cy="133113"/>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7" algn="ctr"/>
            <a:fld id="{81D60167-4931-47E6-BA6A-407CBD079E47}" type="slidenum">
              <a:rPr lang="en-US" sz="865" smtClean="0">
                <a:solidFill>
                  <a:srgbClr val="808080"/>
                </a:solidFill>
                <a:latin typeface="EYInterstate Light" panose="02000506000000020004" pitchFamily="2" charset="0"/>
              </a:rPr>
              <a:pPr marL="14287" algn="ctr"/>
              <a:t>‹#›</a:t>
            </a:fld>
            <a:endParaRPr lang="en-US" sz="865" dirty="0">
              <a:solidFill>
                <a:srgbClr val="808080"/>
              </a:solidFill>
              <a:latin typeface="EYInterstate Light" panose="02000506000000020004" pitchFamily="2" charset="0"/>
            </a:endParaRPr>
          </a:p>
        </p:txBody>
      </p:sp>
      <p:sp>
        <p:nvSpPr>
          <p:cNvPr id="10" name="TextBox 9"/>
          <p:cNvSpPr txBox="1"/>
          <p:nvPr userDrawn="1"/>
        </p:nvSpPr>
        <p:spPr>
          <a:xfrm>
            <a:off x="9298692" y="6531022"/>
            <a:ext cx="2899659" cy="148077"/>
          </a:xfrm>
          <a:prstGeom prst="rect">
            <a:avLst/>
          </a:prstGeom>
          <a:noFill/>
        </p:spPr>
        <p:txBody>
          <a:bodyPr wrap="square" lIns="51635" tIns="25856" rIns="51635" bIns="25856" rtlCol="0">
            <a:spAutoFit/>
          </a:bodyPr>
          <a:lstStyle/>
          <a:p>
            <a:pPr defTabSz="258049">
              <a:lnSpc>
                <a:spcPct val="90000"/>
              </a:lnSpc>
            </a:pPr>
            <a:r>
              <a:rPr lang="en-US" sz="692" dirty="0">
                <a:solidFill>
                  <a:srgbClr val="000000">
                    <a:lumMod val="50000"/>
                    <a:lumOff val="50000"/>
                  </a:srgbClr>
                </a:solidFill>
                <a:cs typeface="EYInterstate Light"/>
              </a:rPr>
              <a:t>GRS Digital Experience Transformation</a:t>
            </a:r>
          </a:p>
        </p:txBody>
      </p:sp>
      <p:sp>
        <p:nvSpPr>
          <p:cNvPr id="5" name="hl"/>
          <p:cNvSpPr txBox="1"/>
          <p:nvPr userDrawn="1"/>
        </p:nvSpPr>
        <p:spPr>
          <a:xfrm>
            <a:off x="0" y="0"/>
            <a:ext cx="12198350" cy="193899"/>
          </a:xfrm>
          <a:prstGeom prst="rect">
            <a:avLst/>
          </a:prstGeom>
          <a:noFill/>
        </p:spPr>
        <p:txBody>
          <a:bodyPr vert="horz" wrap="square" lIns="0" tIns="36576" rIns="0" bIns="0" rtlCol="0">
            <a:spAutoFit/>
          </a:bodyPr>
          <a:lstStyle/>
          <a:p>
            <a:pPr marL="285750" indent="-285750">
              <a:lnSpc>
                <a:spcPct val="85000"/>
              </a:lnSpc>
              <a:spcAft>
                <a:spcPts val="600"/>
              </a:spcAft>
              <a:buClr>
                <a:schemeClr val="accent2"/>
              </a:buClr>
              <a:buSzPct val="70000"/>
              <a:buFont typeface="Arial" pitchFamily="34" charset="0"/>
              <a:buChar char="►"/>
            </a:pPr>
            <a:endParaRPr lang="en-CA" sz="1200" dirty="0" smtClean="0">
              <a:solidFill>
                <a:schemeClr val="tx1"/>
              </a:solidFill>
            </a:endParaRPr>
          </a:p>
        </p:txBody>
      </p:sp>
    </p:spTree>
    <p:extLst>
      <p:ext uri="{BB962C8B-B14F-4D97-AF65-F5344CB8AC3E}">
        <p14:creationId xmlns:p14="http://schemas.microsoft.com/office/powerpoint/2010/main" val="616536355"/>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Lst>
  <p:hf sldNum="0" hdr="0" dt="0"/>
  <p:txStyles>
    <p:titleStyle>
      <a:lvl1pPr algn="l" defTabSz="685148" rtl="0" eaLnBrk="1" latinLnBrk="0" hangingPunct="1">
        <a:lnSpc>
          <a:spcPct val="100000"/>
        </a:lnSpc>
        <a:spcBef>
          <a:spcPct val="0"/>
        </a:spcBef>
        <a:buNone/>
        <a:defRPr sz="1800" b="0" kern="1200">
          <a:solidFill>
            <a:schemeClr val="tx1">
              <a:lumMod val="75000"/>
              <a:lumOff val="25000"/>
            </a:schemeClr>
          </a:solidFill>
          <a:latin typeface="+mj-lt"/>
          <a:ea typeface="+mj-ea"/>
          <a:cs typeface="Arial" pitchFamily="34" charset="0"/>
        </a:defRPr>
      </a:lvl1pPr>
    </p:titleStyle>
    <p:bodyStyle>
      <a:lvl1pPr marL="171287" indent="-171287" algn="l" defTabSz="685148" rtl="0" eaLnBrk="1" latinLnBrk="0" hangingPunct="1">
        <a:spcBef>
          <a:spcPts val="900"/>
        </a:spcBef>
        <a:buClr>
          <a:schemeClr val="accent2"/>
        </a:buClr>
        <a:buSzPct val="70000"/>
        <a:buFont typeface="Arial" pitchFamily="34" charset="0"/>
        <a:buChar char="►"/>
        <a:defRPr sz="1200" kern="1200">
          <a:solidFill>
            <a:schemeClr val="tx1">
              <a:lumMod val="75000"/>
              <a:lumOff val="25000"/>
            </a:schemeClr>
          </a:solidFill>
          <a:latin typeface="+mn-lt"/>
          <a:ea typeface="+mn-ea"/>
          <a:cs typeface="+mn-cs"/>
        </a:defRPr>
      </a:lvl1pPr>
      <a:lvl2pPr marL="432976" indent="-166529" algn="l" defTabSz="685148" rtl="0" eaLnBrk="1" latinLnBrk="0" hangingPunct="1">
        <a:spcBef>
          <a:spcPts val="900"/>
        </a:spcBef>
        <a:buClr>
          <a:schemeClr val="accent2"/>
        </a:buClr>
        <a:buSzPct val="100000"/>
        <a:buFont typeface="Wingdings" panose="05000000000000000000" pitchFamily="2" charset="2"/>
        <a:buChar char="§"/>
        <a:defRPr sz="1050" kern="1200">
          <a:solidFill>
            <a:schemeClr val="tx1">
              <a:lumMod val="75000"/>
              <a:lumOff val="25000"/>
            </a:schemeClr>
          </a:solidFill>
          <a:latin typeface="+mn-lt"/>
          <a:ea typeface="+mn-ea"/>
          <a:cs typeface="+mn-cs"/>
        </a:defRPr>
      </a:lvl2pPr>
      <a:lvl3pPr marL="685148" indent="-171287" algn="l" defTabSz="685148" rtl="0" eaLnBrk="1" latinLnBrk="0" hangingPunct="1">
        <a:spcBef>
          <a:spcPts val="900"/>
        </a:spcBef>
        <a:buClr>
          <a:schemeClr val="accent2"/>
        </a:buClr>
        <a:buSzPct val="100000"/>
        <a:buFont typeface="EYInterstate Light" panose="02000506000000020004" pitchFamily="2" charset="0"/>
        <a:buChar char="–"/>
        <a:defRPr sz="900" kern="1200">
          <a:solidFill>
            <a:schemeClr val="tx1">
              <a:lumMod val="75000"/>
              <a:lumOff val="25000"/>
            </a:schemeClr>
          </a:solidFill>
          <a:latin typeface="+mn-lt"/>
          <a:ea typeface="+mn-ea"/>
          <a:cs typeface="+mn-cs"/>
        </a:defRPr>
      </a:lvl3pPr>
      <a:lvl4pPr marL="946837" indent="-171287" algn="l" defTabSz="685148" rtl="0" eaLnBrk="1" latinLnBrk="0" hangingPunct="1">
        <a:spcBef>
          <a:spcPts val="900"/>
        </a:spcBef>
        <a:buClr>
          <a:schemeClr val="accent2"/>
        </a:buClr>
        <a:buSzPct val="70000"/>
        <a:buFont typeface="Arial" pitchFamily="34" charset="0"/>
        <a:buChar char="►"/>
        <a:defRPr sz="825" kern="1200">
          <a:solidFill>
            <a:schemeClr val="tx1">
              <a:lumMod val="75000"/>
              <a:lumOff val="25000"/>
            </a:schemeClr>
          </a:solidFill>
          <a:latin typeface="+mn-lt"/>
          <a:ea typeface="+mn-ea"/>
          <a:cs typeface="+mn-cs"/>
        </a:defRPr>
      </a:lvl4pPr>
      <a:lvl5pPr marL="1199009" indent="-171287" algn="l" defTabSz="685148" rtl="0" eaLnBrk="1" latinLnBrk="0" hangingPunct="1">
        <a:spcBef>
          <a:spcPts val="900"/>
        </a:spcBef>
        <a:buClr>
          <a:schemeClr val="accent2"/>
        </a:buClr>
        <a:buSzPct val="70000"/>
        <a:buFont typeface="Arial" pitchFamily="34" charset="0"/>
        <a:buChar char="►"/>
        <a:defRPr sz="825" kern="1200">
          <a:solidFill>
            <a:schemeClr val="tx1">
              <a:lumMod val="75000"/>
              <a:lumOff val="25000"/>
            </a:schemeClr>
          </a:solidFill>
          <a:latin typeface="+mn-lt"/>
          <a:ea typeface="+mn-ea"/>
          <a:cs typeface="+mn-cs"/>
        </a:defRPr>
      </a:lvl5pPr>
      <a:lvl6pPr marL="1884158" indent="-171287" algn="l" defTabSz="6851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732" indent="-171287" algn="l" defTabSz="6851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306" indent="-171287" algn="l" defTabSz="6851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881" indent="-171287" algn="l" defTabSz="6851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148" rtl="0" eaLnBrk="1" latinLnBrk="0" hangingPunct="1">
        <a:defRPr sz="1350" kern="1200">
          <a:solidFill>
            <a:schemeClr val="tx1"/>
          </a:solidFill>
          <a:latin typeface="+mn-lt"/>
          <a:ea typeface="+mn-ea"/>
          <a:cs typeface="+mn-cs"/>
        </a:defRPr>
      </a:lvl1pPr>
      <a:lvl2pPr marL="342575" algn="l" defTabSz="685148" rtl="0" eaLnBrk="1" latinLnBrk="0" hangingPunct="1">
        <a:defRPr sz="1350" kern="1200">
          <a:solidFill>
            <a:schemeClr val="tx1"/>
          </a:solidFill>
          <a:latin typeface="+mn-lt"/>
          <a:ea typeface="+mn-ea"/>
          <a:cs typeface="+mn-cs"/>
        </a:defRPr>
      </a:lvl2pPr>
      <a:lvl3pPr marL="685148" algn="l" defTabSz="685148" rtl="0" eaLnBrk="1" latinLnBrk="0" hangingPunct="1">
        <a:defRPr sz="1350" kern="1200">
          <a:solidFill>
            <a:schemeClr val="tx1"/>
          </a:solidFill>
          <a:latin typeface="+mn-lt"/>
          <a:ea typeface="+mn-ea"/>
          <a:cs typeface="+mn-cs"/>
        </a:defRPr>
      </a:lvl3pPr>
      <a:lvl4pPr marL="1027723" algn="l" defTabSz="685148" rtl="0" eaLnBrk="1" latinLnBrk="0" hangingPunct="1">
        <a:defRPr sz="1350" kern="1200">
          <a:solidFill>
            <a:schemeClr val="tx1"/>
          </a:solidFill>
          <a:latin typeface="+mn-lt"/>
          <a:ea typeface="+mn-ea"/>
          <a:cs typeface="+mn-cs"/>
        </a:defRPr>
      </a:lvl4pPr>
      <a:lvl5pPr marL="1370297" algn="l" defTabSz="685148" rtl="0" eaLnBrk="1" latinLnBrk="0" hangingPunct="1">
        <a:defRPr sz="1350" kern="1200">
          <a:solidFill>
            <a:schemeClr val="tx1"/>
          </a:solidFill>
          <a:latin typeface="+mn-lt"/>
          <a:ea typeface="+mn-ea"/>
          <a:cs typeface="+mn-cs"/>
        </a:defRPr>
      </a:lvl5pPr>
      <a:lvl6pPr marL="1712871" algn="l" defTabSz="685148" rtl="0" eaLnBrk="1" latinLnBrk="0" hangingPunct="1">
        <a:defRPr sz="1350" kern="1200">
          <a:solidFill>
            <a:schemeClr val="tx1"/>
          </a:solidFill>
          <a:latin typeface="+mn-lt"/>
          <a:ea typeface="+mn-ea"/>
          <a:cs typeface="+mn-cs"/>
        </a:defRPr>
      </a:lvl6pPr>
      <a:lvl7pPr marL="2055443" algn="l" defTabSz="685148" rtl="0" eaLnBrk="1" latinLnBrk="0" hangingPunct="1">
        <a:defRPr sz="1350" kern="1200">
          <a:solidFill>
            <a:schemeClr val="tx1"/>
          </a:solidFill>
          <a:latin typeface="+mn-lt"/>
          <a:ea typeface="+mn-ea"/>
          <a:cs typeface="+mn-cs"/>
        </a:defRPr>
      </a:lvl7pPr>
      <a:lvl8pPr marL="2398019" algn="l" defTabSz="685148" rtl="0" eaLnBrk="1" latinLnBrk="0" hangingPunct="1">
        <a:defRPr sz="1350" kern="1200">
          <a:solidFill>
            <a:schemeClr val="tx1"/>
          </a:solidFill>
          <a:latin typeface="+mn-lt"/>
          <a:ea typeface="+mn-ea"/>
          <a:cs typeface="+mn-cs"/>
        </a:defRPr>
      </a:lvl8pPr>
      <a:lvl9pPr marL="2740593" algn="l" defTabSz="685148"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rgbClr val="646464"/>
                </a:solidFill>
              </a:rPr>
              <a:t>Page </a:t>
            </a:r>
            <a:fld id="{9AE4D82F-B047-469B-AC52-A46321747EAF}" type="slidenum">
              <a:rPr lang="en-GB" sz="1100" smtClean="0">
                <a:solidFill>
                  <a:srgbClr val="646464"/>
                </a:solidFill>
              </a:rPr>
              <a:pPr/>
              <a:t>‹#›</a:t>
            </a:fld>
            <a:endParaRPr lang="en-GB" sz="1100"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1513572951"/>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5"/>
            </p:custDataLst>
            <p:extLst/>
          </p:nvPr>
        </p:nvGraphicFramePr>
        <p:xfrm>
          <a:off x="1228" y="1273"/>
          <a:ext cx="1222" cy="1221"/>
        </p:xfrm>
        <a:graphic>
          <a:graphicData uri="http://schemas.openxmlformats.org/presentationml/2006/ole">
            <mc:AlternateContent xmlns:mc="http://schemas.openxmlformats.org/markup-compatibility/2006">
              <mc:Choice xmlns:v="urn:schemas-microsoft-com:vml" Requires="v">
                <p:oleObj spid="_x0000_s104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228" y="1273"/>
                        <a:ext cx="1222" cy="1221"/>
                      </a:xfrm>
                      <a:prstGeom prst="rect">
                        <a:avLst/>
                      </a:prstGeom>
                    </p:spPr>
                  </p:pic>
                </p:oleObj>
              </mc:Fallback>
            </mc:AlternateContent>
          </a:graphicData>
        </a:graphic>
      </p:graphicFrame>
      <p:sp>
        <p:nvSpPr>
          <p:cNvPr id="12" name="Title Placeholder 11"/>
          <p:cNvSpPr>
            <a:spLocks noGrp="1"/>
          </p:cNvSpPr>
          <p:nvPr>
            <p:ph type="title"/>
          </p:nvPr>
        </p:nvSpPr>
        <p:spPr>
          <a:xfrm>
            <a:off x="497678" y="460842"/>
            <a:ext cx="10862642" cy="951100"/>
          </a:xfrm>
          <a:prstGeom prst="rect">
            <a:avLst/>
          </a:prstGeom>
        </p:spPr>
        <p:txBody>
          <a:bodyPr vert="horz" lIns="91440" tIns="45720" rIns="91440" bIns="45720" rtlCol="0" anchor="ctr">
            <a:noAutofit/>
          </a:bodyPr>
          <a:lstStyle/>
          <a:p>
            <a:r>
              <a:rPr lang="en-US" dirty="0"/>
              <a:t>Click to edit</a:t>
            </a:r>
            <a:endParaRPr lang="en-IN" dirty="0"/>
          </a:p>
        </p:txBody>
      </p:sp>
      <p:sp>
        <p:nvSpPr>
          <p:cNvPr id="4" name="Rectangle 3"/>
          <p:cNvSpPr/>
          <p:nvPr userDrawn="1"/>
        </p:nvSpPr>
        <p:spPr>
          <a:xfrm>
            <a:off x="2144426" y="6634604"/>
            <a:ext cx="7909500" cy="94193"/>
          </a:xfrm>
          <a:prstGeom prst="rect">
            <a:avLst/>
          </a:prstGeom>
          <a:effectLst/>
        </p:spPr>
        <p:txBody>
          <a:bodyPr wrap="square" lIns="0" tIns="0" rIns="0" bIns="0">
            <a:spAutoFit/>
          </a:bodyPr>
          <a:lstStyle/>
          <a:p>
            <a:pPr algn="ctr" defTabSz="863584"/>
            <a:r>
              <a:rPr lang="en-US" sz="612" dirty="0">
                <a:solidFill>
                  <a:srgbClr val="000000"/>
                </a:solidFill>
                <a:latin typeface="Arial" panose="020B0604020202020204" pitchFamily="34" charset="0"/>
                <a:cs typeface="Arial" panose="020B0604020202020204" pitchFamily="34" charset="0"/>
              </a:rPr>
              <a:t>VISION STATEMENT DELETED</a:t>
            </a:r>
          </a:p>
        </p:txBody>
      </p:sp>
      <p:sp>
        <p:nvSpPr>
          <p:cNvPr id="2" name="hl"/>
          <p:cNvSpPr txBox="1"/>
          <p:nvPr userDrawn="1"/>
        </p:nvSpPr>
        <p:spPr>
          <a:xfrm>
            <a:off x="0" y="0"/>
            <a:ext cx="12198350" cy="193899"/>
          </a:xfrm>
          <a:prstGeom prst="rect">
            <a:avLst/>
          </a:prstGeom>
          <a:noFill/>
        </p:spPr>
        <p:txBody>
          <a:bodyPr vert="horz" wrap="square" lIns="0" tIns="36576" rIns="0" bIns="0" rtlCol="0">
            <a:spAutoFit/>
          </a:bodyPr>
          <a:lstStyle/>
          <a:p>
            <a:pPr marL="285750" indent="-285750">
              <a:lnSpc>
                <a:spcPct val="85000"/>
              </a:lnSpc>
              <a:spcAft>
                <a:spcPts val="600"/>
              </a:spcAft>
              <a:buClr>
                <a:schemeClr val="accent2"/>
              </a:buClr>
              <a:buSzPct val="70000"/>
              <a:buFont typeface="Arial" pitchFamily="34" charset="0"/>
              <a:buChar char="►"/>
            </a:pPr>
            <a:endParaRPr lang="en-CA" sz="1200" dirty="0" smtClean="0">
              <a:solidFill>
                <a:schemeClr val="tx1"/>
              </a:solidFill>
            </a:endParaRPr>
          </a:p>
        </p:txBody>
      </p:sp>
    </p:spTree>
    <p:extLst>
      <p:ext uri="{BB962C8B-B14F-4D97-AF65-F5344CB8AC3E}">
        <p14:creationId xmlns:p14="http://schemas.microsoft.com/office/powerpoint/2010/main" val="3401402904"/>
      </p:ext>
    </p:extLst>
  </p:cSld>
  <p:clrMap bg1="lt1" tx1="dk1" bg2="lt2" tx2="dk2" accent1="accent1" accent2="accent2" accent3="accent3" accent4="accent4" accent5="accent5" accent6="accent6" hlink="hlink" folHlink="folHlink"/>
  <p:sldLayoutIdLst>
    <p:sldLayoutId id="2147483958" r:id="rId1"/>
    <p:sldLayoutId id="2147483959" r:id="rId2"/>
  </p:sldLayoutIdLst>
  <p:hf hdr="0" ftr="0" dt="0"/>
  <p:txStyles>
    <p:titleStyle>
      <a:lvl1pPr marL="0" algn="l" defTabSz="919263" rtl="0" eaLnBrk="1" latinLnBrk="0" hangingPunct="1">
        <a:lnSpc>
          <a:spcPct val="85000"/>
        </a:lnSpc>
        <a:spcBef>
          <a:spcPct val="0"/>
        </a:spcBef>
        <a:buNone/>
        <a:defRPr lang="en-IN" sz="5247" b="0" kern="0" cap="all" spc="-56" dirty="0">
          <a:solidFill>
            <a:srgbClr val="003C71"/>
          </a:solidFill>
          <a:latin typeface="Arial" panose="020B0604020202020204" pitchFamily="34" charset="0"/>
          <a:ea typeface="+mn-ea"/>
          <a:cs typeface="Arial" pitchFamily="34" charset="0"/>
        </a:defRPr>
      </a:lvl1pPr>
    </p:titleStyle>
    <p:bodyStyle>
      <a:lvl1pPr marL="292932" indent="-292932" algn="l" defTabSz="781217" rtl="0" eaLnBrk="1" latinLnBrk="0" hangingPunct="1">
        <a:spcBef>
          <a:spcPct val="20000"/>
        </a:spcBef>
        <a:buClr>
          <a:schemeClr val="accent2"/>
        </a:buClr>
        <a:buSzPct val="70000"/>
        <a:buFont typeface="Arial" pitchFamily="34" charset="0"/>
        <a:buChar char="►"/>
        <a:defRPr sz="2085" kern="1200">
          <a:solidFill>
            <a:schemeClr val="bg1"/>
          </a:solidFill>
          <a:latin typeface="EYInterstate Light" panose="02000506000000020004" pitchFamily="2" charset="0"/>
          <a:ea typeface="+mn-ea"/>
          <a:cs typeface="+mn-cs"/>
        </a:defRPr>
      </a:lvl1pPr>
      <a:lvl2pPr marL="606271" indent="-302484" algn="l" defTabSz="781217" rtl="0" eaLnBrk="1" latinLnBrk="0" hangingPunct="1">
        <a:spcBef>
          <a:spcPct val="20000"/>
        </a:spcBef>
        <a:buClr>
          <a:schemeClr val="accent2"/>
        </a:buClr>
        <a:buSzPct val="70000"/>
        <a:buFont typeface="Arial" pitchFamily="34" charset="0"/>
        <a:buChar char="►"/>
        <a:defRPr sz="1749" kern="1200">
          <a:solidFill>
            <a:schemeClr val="bg1"/>
          </a:solidFill>
          <a:latin typeface="EYInterstate Light" panose="02000506000000020004" pitchFamily="2" charset="0"/>
          <a:ea typeface="+mn-ea"/>
          <a:cs typeface="+mn-cs"/>
        </a:defRPr>
      </a:lvl2pPr>
      <a:lvl3pPr marL="920924" indent="-302484" algn="l" defTabSz="781217" rtl="0" eaLnBrk="1" latinLnBrk="0" hangingPunct="1">
        <a:spcBef>
          <a:spcPct val="20000"/>
        </a:spcBef>
        <a:buClr>
          <a:schemeClr val="accent2"/>
        </a:buClr>
        <a:buSzPct val="70000"/>
        <a:buFont typeface="Arial" pitchFamily="34" charset="0"/>
        <a:buChar char="►"/>
        <a:defRPr sz="1546" kern="1200">
          <a:solidFill>
            <a:schemeClr val="bg1"/>
          </a:solidFill>
          <a:latin typeface="EYInterstate Light" panose="02000506000000020004" pitchFamily="2" charset="0"/>
          <a:ea typeface="+mn-ea"/>
          <a:cs typeface="+mn-cs"/>
        </a:defRPr>
      </a:lvl3pPr>
      <a:lvl4pPr marL="1224735" indent="-303837" algn="l" defTabSz="781217" rtl="0" eaLnBrk="1" latinLnBrk="0" hangingPunct="1">
        <a:spcBef>
          <a:spcPct val="20000"/>
        </a:spcBef>
        <a:buClr>
          <a:schemeClr val="accent2"/>
        </a:buClr>
        <a:buSzPct val="70000"/>
        <a:buFont typeface="Arial" pitchFamily="34" charset="0"/>
        <a:buChar char="►"/>
        <a:defRPr sz="1478" kern="1200">
          <a:solidFill>
            <a:schemeClr val="bg1"/>
          </a:solidFill>
          <a:latin typeface="EYInterstate Light" panose="02000506000000020004" pitchFamily="2" charset="0"/>
          <a:ea typeface="+mn-ea"/>
          <a:cs typeface="+mn-cs"/>
        </a:defRPr>
      </a:lvl4pPr>
      <a:lvl5pPr marL="1527193" indent="-302484" algn="l" defTabSz="781217" rtl="0" eaLnBrk="1" latinLnBrk="0" hangingPunct="1">
        <a:spcBef>
          <a:spcPct val="20000"/>
        </a:spcBef>
        <a:buClr>
          <a:schemeClr val="accent2"/>
        </a:buClr>
        <a:buSzPct val="70000"/>
        <a:buFont typeface="Arial" pitchFamily="34" charset="0"/>
        <a:buChar char="►"/>
        <a:defRPr sz="1478" kern="1200">
          <a:solidFill>
            <a:schemeClr val="bg1"/>
          </a:solidFill>
          <a:latin typeface="EYInterstate Light" panose="02000506000000020004" pitchFamily="2" charset="0"/>
          <a:ea typeface="+mn-ea"/>
          <a:cs typeface="+mn-cs"/>
        </a:defRPr>
      </a:lvl5pPr>
      <a:lvl6pPr marL="2148374" indent="-195309" algn="l" defTabSz="781217" rtl="0" eaLnBrk="1" latinLnBrk="0" hangingPunct="1">
        <a:spcBef>
          <a:spcPct val="20000"/>
        </a:spcBef>
        <a:buFont typeface="Arial" pitchFamily="34" charset="0"/>
        <a:buChar char="•"/>
        <a:defRPr sz="1749" kern="1200">
          <a:solidFill>
            <a:schemeClr val="tx1"/>
          </a:solidFill>
          <a:latin typeface="+mn-lt"/>
          <a:ea typeface="+mn-ea"/>
          <a:cs typeface="+mn-cs"/>
        </a:defRPr>
      </a:lvl6pPr>
      <a:lvl7pPr marL="2538989" indent="-195309" algn="l" defTabSz="781217" rtl="0" eaLnBrk="1" latinLnBrk="0" hangingPunct="1">
        <a:spcBef>
          <a:spcPct val="20000"/>
        </a:spcBef>
        <a:buFont typeface="Arial" pitchFamily="34" charset="0"/>
        <a:buChar char="•"/>
        <a:defRPr sz="1749" kern="1200">
          <a:solidFill>
            <a:schemeClr val="tx1"/>
          </a:solidFill>
          <a:latin typeface="+mn-lt"/>
          <a:ea typeface="+mn-ea"/>
          <a:cs typeface="+mn-cs"/>
        </a:defRPr>
      </a:lvl7pPr>
      <a:lvl8pPr marL="2929606" indent="-195309" algn="l" defTabSz="781217" rtl="0" eaLnBrk="1" latinLnBrk="0" hangingPunct="1">
        <a:spcBef>
          <a:spcPct val="20000"/>
        </a:spcBef>
        <a:buFont typeface="Arial" pitchFamily="34" charset="0"/>
        <a:buChar char="•"/>
        <a:defRPr sz="1749" kern="1200">
          <a:solidFill>
            <a:schemeClr val="tx1"/>
          </a:solidFill>
          <a:latin typeface="+mn-lt"/>
          <a:ea typeface="+mn-ea"/>
          <a:cs typeface="+mn-cs"/>
        </a:defRPr>
      </a:lvl8pPr>
      <a:lvl9pPr marL="3320211" indent="-195309" algn="l" defTabSz="781217" rtl="0" eaLnBrk="1" latinLnBrk="0" hangingPunct="1">
        <a:spcBef>
          <a:spcPct val="20000"/>
        </a:spcBef>
        <a:buFont typeface="Arial" pitchFamily="34" charset="0"/>
        <a:buChar char="•"/>
        <a:defRPr sz="1749" kern="1200">
          <a:solidFill>
            <a:schemeClr val="tx1"/>
          </a:solidFill>
          <a:latin typeface="+mn-lt"/>
          <a:ea typeface="+mn-ea"/>
          <a:cs typeface="+mn-cs"/>
        </a:defRPr>
      </a:lvl9pPr>
    </p:bodyStyle>
    <p:otherStyle>
      <a:defPPr>
        <a:defRPr lang="en-US"/>
      </a:defPPr>
      <a:lvl1pPr marL="0" algn="l" defTabSz="781217" rtl="0" eaLnBrk="1" latinLnBrk="0" hangingPunct="1">
        <a:defRPr sz="1546" kern="1200">
          <a:solidFill>
            <a:schemeClr val="tx1"/>
          </a:solidFill>
          <a:latin typeface="+mn-lt"/>
          <a:ea typeface="+mn-ea"/>
          <a:cs typeface="+mn-cs"/>
        </a:defRPr>
      </a:lvl1pPr>
      <a:lvl2pPr marL="390606" algn="l" defTabSz="781217" rtl="0" eaLnBrk="1" latinLnBrk="0" hangingPunct="1">
        <a:defRPr sz="1546" kern="1200">
          <a:solidFill>
            <a:schemeClr val="tx1"/>
          </a:solidFill>
          <a:latin typeface="+mn-lt"/>
          <a:ea typeface="+mn-ea"/>
          <a:cs typeface="+mn-cs"/>
        </a:defRPr>
      </a:lvl2pPr>
      <a:lvl3pPr marL="781217" algn="l" defTabSz="781217" rtl="0" eaLnBrk="1" latinLnBrk="0" hangingPunct="1">
        <a:defRPr sz="1546" kern="1200">
          <a:solidFill>
            <a:schemeClr val="tx1"/>
          </a:solidFill>
          <a:latin typeface="+mn-lt"/>
          <a:ea typeface="+mn-ea"/>
          <a:cs typeface="+mn-cs"/>
        </a:defRPr>
      </a:lvl3pPr>
      <a:lvl4pPr marL="1171843" algn="l" defTabSz="781217" rtl="0" eaLnBrk="1" latinLnBrk="0" hangingPunct="1">
        <a:defRPr sz="1546" kern="1200">
          <a:solidFill>
            <a:schemeClr val="tx1"/>
          </a:solidFill>
          <a:latin typeface="+mn-lt"/>
          <a:ea typeface="+mn-ea"/>
          <a:cs typeface="+mn-cs"/>
        </a:defRPr>
      </a:lvl4pPr>
      <a:lvl5pPr marL="1562457" algn="l" defTabSz="781217" rtl="0" eaLnBrk="1" latinLnBrk="0" hangingPunct="1">
        <a:defRPr sz="1546" kern="1200">
          <a:solidFill>
            <a:schemeClr val="tx1"/>
          </a:solidFill>
          <a:latin typeface="+mn-lt"/>
          <a:ea typeface="+mn-ea"/>
          <a:cs typeface="+mn-cs"/>
        </a:defRPr>
      </a:lvl5pPr>
      <a:lvl6pPr marL="1953068" algn="l" defTabSz="781217" rtl="0" eaLnBrk="1" latinLnBrk="0" hangingPunct="1">
        <a:defRPr sz="1546" kern="1200">
          <a:solidFill>
            <a:schemeClr val="tx1"/>
          </a:solidFill>
          <a:latin typeface="+mn-lt"/>
          <a:ea typeface="+mn-ea"/>
          <a:cs typeface="+mn-cs"/>
        </a:defRPr>
      </a:lvl6pPr>
      <a:lvl7pPr marL="2343680" algn="l" defTabSz="781217" rtl="0" eaLnBrk="1" latinLnBrk="0" hangingPunct="1">
        <a:defRPr sz="1546" kern="1200">
          <a:solidFill>
            <a:schemeClr val="tx1"/>
          </a:solidFill>
          <a:latin typeface="+mn-lt"/>
          <a:ea typeface="+mn-ea"/>
          <a:cs typeface="+mn-cs"/>
        </a:defRPr>
      </a:lvl7pPr>
      <a:lvl8pPr marL="2734296" algn="l" defTabSz="781217" rtl="0" eaLnBrk="1" latinLnBrk="0" hangingPunct="1">
        <a:defRPr sz="1546" kern="1200">
          <a:solidFill>
            <a:schemeClr val="tx1"/>
          </a:solidFill>
          <a:latin typeface="+mn-lt"/>
          <a:ea typeface="+mn-ea"/>
          <a:cs typeface="+mn-cs"/>
        </a:defRPr>
      </a:lvl8pPr>
      <a:lvl9pPr marL="3124902" algn="l" defTabSz="781217" rtl="0" eaLnBrk="1" latinLnBrk="0" hangingPunct="1">
        <a:defRPr sz="154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560">
          <p15:clr>
            <a:srgbClr val="F26B43"/>
          </p15:clr>
        </p15:guide>
        <p15:guide id="2" pos="329">
          <p15:clr>
            <a:srgbClr val="F26B43"/>
          </p15:clr>
        </p15:guide>
        <p15:guide id="3" pos="7735">
          <p15:clr>
            <a:srgbClr val="F26B43"/>
          </p15:clr>
        </p15:guide>
        <p15:guide id="4" orient="horz" pos="329">
          <p15:clr>
            <a:srgbClr val="F26B43"/>
          </p15:clr>
        </p15:guide>
        <p15:guide id="5" orient="horz" pos="1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bk object 16"/>
          <p:cNvSpPr/>
          <p:nvPr userDrawn="1"/>
        </p:nvSpPr>
        <p:spPr>
          <a:xfrm>
            <a:off x="0" y="0"/>
            <a:ext cx="12198350" cy="6858000"/>
          </a:xfrm>
          <a:custGeom>
            <a:avLst/>
            <a:gdLst/>
            <a:ahLst/>
            <a:cxnLst/>
            <a:rect l="l" t="t" r="r" b="b"/>
            <a:pathLst>
              <a:path w="15544800" h="8650223">
                <a:moveTo>
                  <a:pt x="0" y="8650224"/>
                </a:moveTo>
                <a:lnTo>
                  <a:pt x="15544800" y="8650224"/>
                </a:lnTo>
                <a:lnTo>
                  <a:pt x="15544800" y="0"/>
                </a:lnTo>
                <a:lnTo>
                  <a:pt x="0" y="0"/>
                </a:lnTo>
                <a:lnTo>
                  <a:pt x="0" y="8650224"/>
                </a:lnTo>
              </a:path>
            </a:pathLst>
          </a:custGeom>
          <a:solidFill>
            <a:schemeClr val="bg1">
              <a:lumMod val="95000"/>
            </a:schemeClr>
          </a:solidFill>
        </p:spPr>
        <p:txBody>
          <a:bodyPr wrap="square" lIns="0" tIns="0" rIns="0" bIns="0" rtlCol="0">
            <a:noAutofit/>
          </a:bodyPr>
          <a:lstStyle/>
          <a:p>
            <a:pPr defTabSz="357326"/>
            <a:endParaRPr sz="1569" dirty="0">
              <a:solidFill>
                <a:prstClr val="black"/>
              </a:solidFill>
            </a:endParaRPr>
          </a:p>
        </p:txBody>
      </p:sp>
      <p:sp>
        <p:nvSpPr>
          <p:cNvPr id="2" name="Holder 2"/>
          <p:cNvSpPr>
            <a:spLocks noGrp="1"/>
          </p:cNvSpPr>
          <p:nvPr>
            <p:ph type="title"/>
          </p:nvPr>
        </p:nvSpPr>
        <p:spPr>
          <a:xfrm>
            <a:off x="552859" y="551354"/>
            <a:ext cx="11092669" cy="607401"/>
          </a:xfrm>
          <a:prstGeom prst="rect">
            <a:avLst/>
          </a:prstGeom>
        </p:spPr>
        <p:txBody>
          <a:bodyPr wrap="square" lIns="0" tIns="0" rIns="0" bIns="0">
            <a:noAutofit/>
          </a:bodyPr>
          <a:lstStyle/>
          <a:p>
            <a:endParaRPr dirty="0"/>
          </a:p>
        </p:txBody>
      </p:sp>
      <p:grpSp>
        <p:nvGrpSpPr>
          <p:cNvPr id="4" name="Group 3"/>
          <p:cNvGrpSpPr/>
          <p:nvPr userDrawn="1"/>
        </p:nvGrpSpPr>
        <p:grpSpPr>
          <a:xfrm>
            <a:off x="11059382" y="6566385"/>
            <a:ext cx="278471" cy="142043"/>
            <a:chOff x="13523766" y="8227524"/>
            <a:chExt cx="390353" cy="238776"/>
          </a:xfrm>
        </p:grpSpPr>
        <p:sp>
          <p:nvSpPr>
            <p:cNvPr id="15"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sp>
          <p:nvSpPr>
            <p:cNvPr id="16"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dirty="0">
                <a:solidFill>
                  <a:prstClr val="black"/>
                </a:solidFill>
              </a:endParaRPr>
            </a:p>
          </p:txBody>
        </p:sp>
      </p:grpSp>
      <p:sp>
        <p:nvSpPr>
          <p:cNvPr id="17"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18" name="Holder 4"/>
          <p:cNvSpPr>
            <a:spLocks noGrp="1"/>
          </p:cNvSpPr>
          <p:nvPr>
            <p:ph type="ftr" sz="quarter" idx="3"/>
          </p:nvPr>
        </p:nvSpPr>
        <p:spPr>
          <a:xfrm>
            <a:off x="11404218"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dirty="0">
                <a:solidFill>
                  <a:prstClr val="white">
                    <a:lumMod val="65000"/>
                  </a:prstClr>
                </a:solidFill>
              </a:rPr>
              <a:t>Future Work Now</a:t>
            </a:r>
          </a:p>
        </p:txBody>
      </p:sp>
      <p:sp>
        <p:nvSpPr>
          <p:cNvPr id="5" name="hl"/>
          <p:cNvSpPr txBox="1"/>
          <p:nvPr userDrawn="1"/>
        </p:nvSpPr>
        <p:spPr>
          <a:xfrm>
            <a:off x="0" y="0"/>
            <a:ext cx="12198350" cy="369332"/>
          </a:xfrm>
          <a:prstGeom prst="rect">
            <a:avLst/>
          </a:prstGeom>
          <a:noFill/>
        </p:spPr>
        <p:txBody>
          <a:bodyPr vert="horz" rtlCol="0">
            <a:spAutoFit/>
          </a:bodyPr>
          <a:lstStyle/>
          <a:p>
            <a:endParaRPr lang="en-CA">
              <a:solidFill>
                <a:schemeClr val="tx1"/>
              </a:solidFill>
            </a:endParaRPr>
          </a:p>
        </p:txBody>
      </p:sp>
    </p:spTree>
    <p:extLst>
      <p:ext uri="{BB962C8B-B14F-4D97-AF65-F5344CB8AC3E}">
        <p14:creationId xmlns:p14="http://schemas.microsoft.com/office/powerpoint/2010/main" val="457188089"/>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6" r:id="rId14"/>
    <p:sldLayoutId id="2147484038" r:id="rId15"/>
    <p:sldLayoutId id="2147484039" r:id="rId16"/>
    <p:sldLayoutId id="2147484040" r:id="rId17"/>
    <p:sldLayoutId id="2147484041" r:id="rId18"/>
    <p:sldLayoutId id="2147484042" r:id="rId19"/>
  </p:sldLayoutIdLst>
  <p:hf sldNum="0" hdr="0" dt="0"/>
  <p:txStyles>
    <p:titleStyle>
      <a:lvl1pPr>
        <a:defRPr sz="2276" kern="1200">
          <a:solidFill>
            <a:schemeClr val="tx1">
              <a:lumMod val="50000"/>
              <a:lumOff val="50000"/>
            </a:schemeClr>
          </a:solidFill>
          <a:latin typeface="EYInterstate Light"/>
          <a:ea typeface="+mn-ea"/>
          <a:cs typeface="EYInterstate Light"/>
        </a:defRPr>
      </a:lvl1pPr>
    </p:titleStyle>
    <p:bodyStyle>
      <a:lvl1pPr marL="223333" indent="-223333">
        <a:buClr>
          <a:srgbClr val="FED303"/>
        </a:buClr>
        <a:buSzPct val="50000"/>
        <a:buFont typeface="Lucida Grande"/>
        <a:buChar char="►"/>
        <a:defRPr sz="1569" b="0" i="0">
          <a:solidFill>
            <a:srgbClr val="7F7F7F"/>
          </a:solidFill>
          <a:latin typeface="EYInterstate Light"/>
          <a:cs typeface="EYInterstate Light"/>
        </a:defRPr>
      </a:lvl1pPr>
      <a:lvl2pPr marL="223333" indent="-223333">
        <a:buClr>
          <a:srgbClr val="FED303"/>
        </a:buClr>
        <a:buSzPct val="50000"/>
        <a:buFont typeface="Lucida Grande"/>
        <a:buChar char="►"/>
        <a:defRPr sz="1569" b="0" i="0">
          <a:solidFill>
            <a:srgbClr val="7F7F7F"/>
          </a:solidFill>
          <a:latin typeface="EYInterstate Light"/>
          <a:cs typeface="EYInterstate Light"/>
        </a:defRPr>
      </a:lvl2pPr>
      <a:lvl3pPr marL="223333" indent="-223333">
        <a:buClr>
          <a:srgbClr val="FED303"/>
        </a:buClr>
        <a:buSzPct val="50000"/>
        <a:buFont typeface="Lucida Grande"/>
        <a:buChar char="►"/>
        <a:defRPr sz="1569" b="0" i="0">
          <a:solidFill>
            <a:srgbClr val="7F7F7F"/>
          </a:solidFill>
          <a:latin typeface="EYInterstate Light"/>
          <a:cs typeface="EYInterstate Light"/>
        </a:defRPr>
      </a:lvl3pPr>
      <a:lvl4pPr marL="223333" indent="-223333">
        <a:buClr>
          <a:srgbClr val="FED303"/>
        </a:buClr>
        <a:buSzPct val="50000"/>
        <a:buFont typeface="Lucida Grande"/>
        <a:buChar char="►"/>
        <a:defRPr sz="1569" b="0" i="0">
          <a:solidFill>
            <a:srgbClr val="7F7F7F"/>
          </a:solidFill>
          <a:latin typeface="EYInterstate Light"/>
          <a:cs typeface="EYInterstate Light"/>
        </a:defRPr>
      </a:lvl4pPr>
      <a:lvl5pPr marL="223333" indent="-223333">
        <a:buClr>
          <a:srgbClr val="FED303"/>
        </a:buClr>
        <a:buSzPct val="50000"/>
        <a:buFont typeface="Lucida Grande"/>
        <a:buChar char="►"/>
        <a:defRPr sz="1569" b="0" i="0">
          <a:solidFill>
            <a:srgbClr val="7F7F7F"/>
          </a:solidFill>
          <a:latin typeface="EYInterstate Light"/>
          <a:cs typeface="EYInterstate Light"/>
        </a:defRPr>
      </a:lvl5pPr>
    </p:bodyStyle>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rgbClr val="646464"/>
                </a:solidFill>
              </a:rPr>
              <a:t>Page </a:t>
            </a:r>
            <a:fld id="{9AE4D82F-B047-469B-AC52-A46321747EAF}" type="slidenum">
              <a:rPr lang="en-GB" sz="1100" smtClean="0">
                <a:solidFill>
                  <a:srgbClr val="646464"/>
                </a:solidFill>
              </a:rPr>
              <a:pPr/>
              <a:t>‹#›</a:t>
            </a:fld>
            <a:endParaRPr lang="en-GB" sz="1100"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246720418"/>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36.xml"/><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6.xml"/><Relationship Id="rId4" Type="http://schemas.openxmlformats.org/officeDocument/2006/relationships/image" Target="../media/image53.PNG"/></Relationships>
</file>

<file path=ppt/slides/_rels/slide14.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45.png"/><Relationship Id="rId1" Type="http://schemas.openxmlformats.org/officeDocument/2006/relationships/slideLayout" Target="../slideLayouts/slideLayout16.xml"/><Relationship Id="rId6" Type="http://schemas.openxmlformats.org/officeDocument/2006/relationships/image" Target="../media/image57.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62.jpeg"/></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36.xml"/><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63.jpeg"/><Relationship Id="rId1" Type="http://schemas.openxmlformats.org/officeDocument/2006/relationships/slideLayout" Target="../slideLayouts/slideLayout16.xml"/><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3.png"/></Relationships>
</file>

<file path=ppt/slides/_rels/slide2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tags" Target="../tags/tag36.xml"/><Relationship Id="rId39" Type="http://schemas.openxmlformats.org/officeDocument/2006/relationships/slideLayout" Target="../slideLayouts/slideLayout16.xml"/><Relationship Id="rId3" Type="http://schemas.openxmlformats.org/officeDocument/2006/relationships/tags" Target="../tags/tag13.xml"/><Relationship Id="rId21" Type="http://schemas.openxmlformats.org/officeDocument/2006/relationships/tags" Target="../tags/tag31.xml"/><Relationship Id="rId34" Type="http://schemas.openxmlformats.org/officeDocument/2006/relationships/tags" Target="../tags/tag44.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tags" Target="../tags/tag48.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tags" Target="../tags/tag39.xml"/><Relationship Id="rId41" Type="http://schemas.openxmlformats.org/officeDocument/2006/relationships/image" Target="../media/image3.png"/><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tags" Target="../tags/tag47.xml"/><Relationship Id="rId40" Type="http://schemas.openxmlformats.org/officeDocument/2006/relationships/image" Target="../media/image2.png"/><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tags" Target="../tags/tag41.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tags" Target="../tags/tag45.xml"/></Relationships>
</file>

<file path=ppt/slides/_rels/slide26.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tags" Target="../tags/tag74.xml"/><Relationship Id="rId39" Type="http://schemas.openxmlformats.org/officeDocument/2006/relationships/slideLayout" Target="../slideLayouts/slideLayout16.xml"/><Relationship Id="rId3" Type="http://schemas.openxmlformats.org/officeDocument/2006/relationships/tags" Target="../tags/tag51.xml"/><Relationship Id="rId21" Type="http://schemas.openxmlformats.org/officeDocument/2006/relationships/tags" Target="../tags/tag69.xml"/><Relationship Id="rId34" Type="http://schemas.openxmlformats.org/officeDocument/2006/relationships/tags" Target="../tags/tag82.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tags" Target="../tags/tag73.xml"/><Relationship Id="rId33" Type="http://schemas.openxmlformats.org/officeDocument/2006/relationships/tags" Target="../tags/tag81.xml"/><Relationship Id="rId38" Type="http://schemas.openxmlformats.org/officeDocument/2006/relationships/tags" Target="../tags/tag86.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29" Type="http://schemas.openxmlformats.org/officeDocument/2006/relationships/tags" Target="../tags/tag77.xml"/><Relationship Id="rId41" Type="http://schemas.openxmlformats.org/officeDocument/2006/relationships/image" Target="../media/image3.png"/><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tags" Target="../tags/tag72.xml"/><Relationship Id="rId32" Type="http://schemas.openxmlformats.org/officeDocument/2006/relationships/tags" Target="../tags/tag80.xml"/><Relationship Id="rId37" Type="http://schemas.openxmlformats.org/officeDocument/2006/relationships/tags" Target="../tags/tag85.xml"/><Relationship Id="rId40" Type="http://schemas.openxmlformats.org/officeDocument/2006/relationships/image" Target="../media/image2.png"/><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tags" Target="../tags/tag84.xml"/><Relationship Id="rId10" Type="http://schemas.openxmlformats.org/officeDocument/2006/relationships/tags" Target="../tags/tag58.xml"/><Relationship Id="rId19" Type="http://schemas.openxmlformats.org/officeDocument/2006/relationships/tags" Target="../tags/tag67.xml"/><Relationship Id="rId31" Type="http://schemas.openxmlformats.org/officeDocument/2006/relationships/tags" Target="../tags/tag79.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tags" Target="../tags/tag78.xml"/><Relationship Id="rId35" Type="http://schemas.openxmlformats.org/officeDocument/2006/relationships/tags" Target="../tags/tag83.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3.png"/></Relationships>
</file>

<file path=ppt/slides/_rels/slide28.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9" Type="http://schemas.openxmlformats.org/officeDocument/2006/relationships/tags" Target="../tags/tag125.xml"/><Relationship Id="rId3" Type="http://schemas.openxmlformats.org/officeDocument/2006/relationships/tags" Target="../tags/tag89.xml"/><Relationship Id="rId21" Type="http://schemas.openxmlformats.org/officeDocument/2006/relationships/tags" Target="../tags/tag107.xml"/><Relationship Id="rId34" Type="http://schemas.openxmlformats.org/officeDocument/2006/relationships/tags" Target="../tags/tag120.xml"/><Relationship Id="rId42" Type="http://schemas.openxmlformats.org/officeDocument/2006/relationships/image" Target="../media/image2.png"/><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33" Type="http://schemas.openxmlformats.org/officeDocument/2006/relationships/tags" Target="../tags/tag119.xml"/><Relationship Id="rId38" Type="http://schemas.openxmlformats.org/officeDocument/2006/relationships/tags" Target="../tags/tag124.xml"/><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tags" Target="../tags/tag106.xml"/><Relationship Id="rId29" Type="http://schemas.openxmlformats.org/officeDocument/2006/relationships/tags" Target="../tags/tag115.xml"/><Relationship Id="rId41" Type="http://schemas.openxmlformats.org/officeDocument/2006/relationships/slideLayout" Target="../slideLayouts/slideLayout16.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tags" Target="../tags/tag118.xml"/><Relationship Id="rId37" Type="http://schemas.openxmlformats.org/officeDocument/2006/relationships/tags" Target="../tags/tag123.xml"/><Relationship Id="rId40" Type="http://schemas.openxmlformats.org/officeDocument/2006/relationships/tags" Target="../tags/tag126.xml"/><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36" Type="http://schemas.openxmlformats.org/officeDocument/2006/relationships/tags" Target="../tags/tag122.xml"/><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tags" Target="../tags/tag117.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tags" Target="../tags/tag116.xml"/><Relationship Id="rId35" Type="http://schemas.openxmlformats.org/officeDocument/2006/relationships/tags" Target="../tags/tag121.xml"/><Relationship Id="rId43" Type="http://schemas.openxmlformats.org/officeDocument/2006/relationships/image" Target="../media/image3.png"/></Relationships>
</file>

<file path=ppt/slides/_rels/slide29.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9" Type="http://schemas.openxmlformats.org/officeDocument/2006/relationships/slideLayout" Target="../slideLayouts/slideLayout16.xml"/><Relationship Id="rId3" Type="http://schemas.openxmlformats.org/officeDocument/2006/relationships/tags" Target="../tags/tag129.xml"/><Relationship Id="rId21" Type="http://schemas.openxmlformats.org/officeDocument/2006/relationships/tags" Target="../tags/tag147.xml"/><Relationship Id="rId34" Type="http://schemas.openxmlformats.org/officeDocument/2006/relationships/tags" Target="../tags/tag160.xml"/><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tags" Target="../tags/tag159.xml"/><Relationship Id="rId38" Type="http://schemas.openxmlformats.org/officeDocument/2006/relationships/tags" Target="../tags/tag164.xml"/><Relationship Id="rId2" Type="http://schemas.openxmlformats.org/officeDocument/2006/relationships/tags" Target="../tags/tag128.xml"/><Relationship Id="rId16" Type="http://schemas.openxmlformats.org/officeDocument/2006/relationships/tags" Target="../tags/tag142.xml"/><Relationship Id="rId20" Type="http://schemas.openxmlformats.org/officeDocument/2006/relationships/tags" Target="../tags/tag146.xml"/><Relationship Id="rId29" Type="http://schemas.openxmlformats.org/officeDocument/2006/relationships/tags" Target="../tags/tag155.xml"/><Relationship Id="rId41" Type="http://schemas.openxmlformats.org/officeDocument/2006/relationships/image" Target="../media/image3.png"/><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tags" Target="../tags/tag158.xml"/><Relationship Id="rId37" Type="http://schemas.openxmlformats.org/officeDocument/2006/relationships/tags" Target="../tags/tag163.xml"/><Relationship Id="rId40" Type="http://schemas.openxmlformats.org/officeDocument/2006/relationships/image" Target="../media/image2.png"/><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tags" Target="../tags/tag162.xml"/><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tags" Target="../tags/tag157.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tags" Target="../tags/tag161.xml"/></Relationships>
</file>

<file path=ppt/slides/_rels/slide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36.xml"/><Relationship Id="rId4" Type="http://schemas.openxmlformats.org/officeDocument/2006/relationships/image" Target="../media/image38.png"/></Relationships>
</file>

<file path=ppt/slides/_rels/slide30.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18" Type="http://schemas.openxmlformats.org/officeDocument/2006/relationships/tags" Target="../tags/tag182.xml"/><Relationship Id="rId26" Type="http://schemas.openxmlformats.org/officeDocument/2006/relationships/tags" Target="../tags/tag190.xml"/><Relationship Id="rId3" Type="http://schemas.openxmlformats.org/officeDocument/2006/relationships/tags" Target="../tags/tag167.xml"/><Relationship Id="rId21" Type="http://schemas.openxmlformats.org/officeDocument/2006/relationships/tags" Target="../tags/tag185.xml"/><Relationship Id="rId34" Type="http://schemas.openxmlformats.org/officeDocument/2006/relationships/image" Target="../media/image3.png"/><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5" Type="http://schemas.openxmlformats.org/officeDocument/2006/relationships/tags" Target="../tags/tag189.xml"/><Relationship Id="rId33" Type="http://schemas.openxmlformats.org/officeDocument/2006/relationships/image" Target="../media/image2.png"/><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tags" Target="../tags/tag184.xml"/><Relationship Id="rId29" Type="http://schemas.openxmlformats.org/officeDocument/2006/relationships/tags" Target="../tags/tag193.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24" Type="http://schemas.openxmlformats.org/officeDocument/2006/relationships/tags" Target="../tags/tag188.xml"/><Relationship Id="rId32" Type="http://schemas.openxmlformats.org/officeDocument/2006/relationships/slideLayout" Target="../slideLayouts/slideLayout16.xml"/><Relationship Id="rId5" Type="http://schemas.openxmlformats.org/officeDocument/2006/relationships/tags" Target="../tags/tag169.xml"/><Relationship Id="rId15" Type="http://schemas.openxmlformats.org/officeDocument/2006/relationships/tags" Target="../tags/tag179.xml"/><Relationship Id="rId23" Type="http://schemas.openxmlformats.org/officeDocument/2006/relationships/tags" Target="../tags/tag187.xml"/><Relationship Id="rId28" Type="http://schemas.openxmlformats.org/officeDocument/2006/relationships/tags" Target="../tags/tag192.xml"/><Relationship Id="rId10" Type="http://schemas.openxmlformats.org/officeDocument/2006/relationships/tags" Target="../tags/tag174.xml"/><Relationship Id="rId19" Type="http://schemas.openxmlformats.org/officeDocument/2006/relationships/tags" Target="../tags/tag183.xml"/><Relationship Id="rId31" Type="http://schemas.openxmlformats.org/officeDocument/2006/relationships/tags" Target="../tags/tag195.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tags" Target="../tags/tag186.xml"/><Relationship Id="rId27" Type="http://schemas.openxmlformats.org/officeDocument/2006/relationships/tags" Target="../tags/tag191.xml"/><Relationship Id="rId30" Type="http://schemas.openxmlformats.org/officeDocument/2006/relationships/tags" Target="../tags/tag194.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3.png"/></Relationships>
</file>

<file path=ppt/slides/_rels/slide32.xml.rels><?xml version="1.0" encoding="UTF-8" standalone="yes"?>
<Relationships xmlns="http://schemas.openxmlformats.org/package/2006/relationships"><Relationship Id="rId13" Type="http://schemas.openxmlformats.org/officeDocument/2006/relationships/tags" Target="../tags/tag208.xml"/><Relationship Id="rId18" Type="http://schemas.openxmlformats.org/officeDocument/2006/relationships/tags" Target="../tags/tag213.xml"/><Relationship Id="rId26" Type="http://schemas.openxmlformats.org/officeDocument/2006/relationships/tags" Target="../tags/tag221.xml"/><Relationship Id="rId39" Type="http://schemas.openxmlformats.org/officeDocument/2006/relationships/tags" Target="../tags/tag234.xml"/><Relationship Id="rId21" Type="http://schemas.openxmlformats.org/officeDocument/2006/relationships/tags" Target="../tags/tag216.xml"/><Relationship Id="rId34" Type="http://schemas.openxmlformats.org/officeDocument/2006/relationships/tags" Target="../tags/tag229.xml"/><Relationship Id="rId42" Type="http://schemas.openxmlformats.org/officeDocument/2006/relationships/tags" Target="../tags/tag237.xml"/><Relationship Id="rId47" Type="http://schemas.openxmlformats.org/officeDocument/2006/relationships/tags" Target="../tags/tag242.xml"/><Relationship Id="rId50" Type="http://schemas.openxmlformats.org/officeDocument/2006/relationships/tags" Target="../tags/tag245.xml"/><Relationship Id="rId55" Type="http://schemas.openxmlformats.org/officeDocument/2006/relationships/image" Target="../media/image3.png"/><Relationship Id="rId7" Type="http://schemas.openxmlformats.org/officeDocument/2006/relationships/tags" Target="../tags/tag202.xml"/><Relationship Id="rId12" Type="http://schemas.openxmlformats.org/officeDocument/2006/relationships/tags" Target="../tags/tag207.xml"/><Relationship Id="rId17" Type="http://schemas.openxmlformats.org/officeDocument/2006/relationships/tags" Target="../tags/tag212.xml"/><Relationship Id="rId25" Type="http://schemas.openxmlformats.org/officeDocument/2006/relationships/tags" Target="../tags/tag220.xml"/><Relationship Id="rId33" Type="http://schemas.openxmlformats.org/officeDocument/2006/relationships/tags" Target="../tags/tag228.xml"/><Relationship Id="rId38" Type="http://schemas.openxmlformats.org/officeDocument/2006/relationships/tags" Target="../tags/tag233.xml"/><Relationship Id="rId46" Type="http://schemas.openxmlformats.org/officeDocument/2006/relationships/tags" Target="../tags/tag241.xml"/><Relationship Id="rId2" Type="http://schemas.openxmlformats.org/officeDocument/2006/relationships/tags" Target="../tags/tag197.xml"/><Relationship Id="rId16" Type="http://schemas.openxmlformats.org/officeDocument/2006/relationships/tags" Target="../tags/tag211.xml"/><Relationship Id="rId20" Type="http://schemas.openxmlformats.org/officeDocument/2006/relationships/tags" Target="../tags/tag215.xml"/><Relationship Id="rId29" Type="http://schemas.openxmlformats.org/officeDocument/2006/relationships/tags" Target="../tags/tag224.xml"/><Relationship Id="rId41" Type="http://schemas.openxmlformats.org/officeDocument/2006/relationships/tags" Target="../tags/tag236.xml"/><Relationship Id="rId54" Type="http://schemas.openxmlformats.org/officeDocument/2006/relationships/image" Target="../media/image2.png"/><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tags" Target="../tags/tag206.xml"/><Relationship Id="rId24" Type="http://schemas.openxmlformats.org/officeDocument/2006/relationships/tags" Target="../tags/tag219.xml"/><Relationship Id="rId32" Type="http://schemas.openxmlformats.org/officeDocument/2006/relationships/tags" Target="../tags/tag227.xml"/><Relationship Id="rId37" Type="http://schemas.openxmlformats.org/officeDocument/2006/relationships/tags" Target="../tags/tag232.xml"/><Relationship Id="rId40" Type="http://schemas.openxmlformats.org/officeDocument/2006/relationships/tags" Target="../tags/tag235.xml"/><Relationship Id="rId45" Type="http://schemas.openxmlformats.org/officeDocument/2006/relationships/tags" Target="../tags/tag240.xml"/><Relationship Id="rId53" Type="http://schemas.openxmlformats.org/officeDocument/2006/relationships/slideLayout" Target="../slideLayouts/slideLayout16.xml"/><Relationship Id="rId5" Type="http://schemas.openxmlformats.org/officeDocument/2006/relationships/tags" Target="../tags/tag200.xml"/><Relationship Id="rId15" Type="http://schemas.openxmlformats.org/officeDocument/2006/relationships/tags" Target="../tags/tag210.xml"/><Relationship Id="rId23" Type="http://schemas.openxmlformats.org/officeDocument/2006/relationships/tags" Target="../tags/tag218.xml"/><Relationship Id="rId28" Type="http://schemas.openxmlformats.org/officeDocument/2006/relationships/tags" Target="../tags/tag223.xml"/><Relationship Id="rId36" Type="http://schemas.openxmlformats.org/officeDocument/2006/relationships/tags" Target="../tags/tag231.xml"/><Relationship Id="rId49" Type="http://schemas.openxmlformats.org/officeDocument/2006/relationships/tags" Target="../tags/tag244.xml"/><Relationship Id="rId10" Type="http://schemas.openxmlformats.org/officeDocument/2006/relationships/tags" Target="../tags/tag205.xml"/><Relationship Id="rId19" Type="http://schemas.openxmlformats.org/officeDocument/2006/relationships/tags" Target="../tags/tag214.xml"/><Relationship Id="rId31" Type="http://schemas.openxmlformats.org/officeDocument/2006/relationships/tags" Target="../tags/tag226.xml"/><Relationship Id="rId44" Type="http://schemas.openxmlformats.org/officeDocument/2006/relationships/tags" Target="../tags/tag239.xml"/><Relationship Id="rId52" Type="http://schemas.openxmlformats.org/officeDocument/2006/relationships/tags" Target="../tags/tag247.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tags" Target="../tags/tag209.xml"/><Relationship Id="rId22" Type="http://schemas.openxmlformats.org/officeDocument/2006/relationships/tags" Target="../tags/tag217.xml"/><Relationship Id="rId27" Type="http://schemas.openxmlformats.org/officeDocument/2006/relationships/tags" Target="../tags/tag222.xml"/><Relationship Id="rId30" Type="http://schemas.openxmlformats.org/officeDocument/2006/relationships/tags" Target="../tags/tag225.xml"/><Relationship Id="rId35" Type="http://schemas.openxmlformats.org/officeDocument/2006/relationships/tags" Target="../tags/tag230.xml"/><Relationship Id="rId43" Type="http://schemas.openxmlformats.org/officeDocument/2006/relationships/tags" Target="../tags/tag238.xml"/><Relationship Id="rId48" Type="http://schemas.openxmlformats.org/officeDocument/2006/relationships/tags" Target="../tags/tag243.xml"/><Relationship Id="rId8" Type="http://schemas.openxmlformats.org/officeDocument/2006/relationships/tags" Target="../tags/tag203.xml"/><Relationship Id="rId51" Type="http://schemas.openxmlformats.org/officeDocument/2006/relationships/tags" Target="../tags/tag246.xml"/><Relationship Id="rId3" Type="http://schemas.openxmlformats.org/officeDocument/2006/relationships/tags" Target="../tags/tag198.xml"/></Relationships>
</file>

<file path=ppt/slides/_rels/slide33.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tags" Target="../tags/tag260.xml"/><Relationship Id="rId18" Type="http://schemas.openxmlformats.org/officeDocument/2006/relationships/tags" Target="../tags/tag265.xml"/><Relationship Id="rId26" Type="http://schemas.openxmlformats.org/officeDocument/2006/relationships/tags" Target="../tags/tag273.xml"/><Relationship Id="rId3" Type="http://schemas.openxmlformats.org/officeDocument/2006/relationships/tags" Target="../tags/tag250.xml"/><Relationship Id="rId21" Type="http://schemas.openxmlformats.org/officeDocument/2006/relationships/tags" Target="../tags/tag268.xml"/><Relationship Id="rId7" Type="http://schemas.openxmlformats.org/officeDocument/2006/relationships/tags" Target="../tags/tag254.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tags" Target="../tags/tag272.xml"/><Relationship Id="rId2" Type="http://schemas.openxmlformats.org/officeDocument/2006/relationships/tags" Target="../tags/tag249.xml"/><Relationship Id="rId16" Type="http://schemas.openxmlformats.org/officeDocument/2006/relationships/tags" Target="../tags/tag263.xml"/><Relationship Id="rId20" Type="http://schemas.openxmlformats.org/officeDocument/2006/relationships/tags" Target="../tags/tag267.xml"/><Relationship Id="rId29" Type="http://schemas.openxmlformats.org/officeDocument/2006/relationships/image" Target="../media/image2.png"/><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tags" Target="../tags/tag258.xml"/><Relationship Id="rId24" Type="http://schemas.openxmlformats.org/officeDocument/2006/relationships/tags" Target="../tags/tag271.xml"/><Relationship Id="rId5" Type="http://schemas.openxmlformats.org/officeDocument/2006/relationships/tags" Target="../tags/tag252.xml"/><Relationship Id="rId15" Type="http://schemas.openxmlformats.org/officeDocument/2006/relationships/tags" Target="../tags/tag262.xml"/><Relationship Id="rId23" Type="http://schemas.openxmlformats.org/officeDocument/2006/relationships/tags" Target="../tags/tag270.xml"/><Relationship Id="rId28" Type="http://schemas.openxmlformats.org/officeDocument/2006/relationships/slideLayout" Target="../slideLayouts/slideLayout16.xml"/><Relationship Id="rId10" Type="http://schemas.openxmlformats.org/officeDocument/2006/relationships/tags" Target="../tags/tag257.xml"/><Relationship Id="rId19" Type="http://schemas.openxmlformats.org/officeDocument/2006/relationships/tags" Target="../tags/tag266.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tags" Target="../tags/tag261.xml"/><Relationship Id="rId22" Type="http://schemas.openxmlformats.org/officeDocument/2006/relationships/tags" Target="../tags/tag269.xml"/><Relationship Id="rId27" Type="http://schemas.openxmlformats.org/officeDocument/2006/relationships/tags" Target="../tags/tag274.xml"/><Relationship Id="rId30" Type="http://schemas.openxmlformats.org/officeDocument/2006/relationships/image" Target="../media/image3.png"/></Relationships>
</file>

<file path=ppt/slides/_rels/slide34.xml.rels><?xml version="1.0" encoding="UTF-8" standalone="yes"?>
<Relationships xmlns="http://schemas.openxmlformats.org/package/2006/relationships"><Relationship Id="rId13" Type="http://schemas.openxmlformats.org/officeDocument/2006/relationships/tags" Target="../tags/tag287.xml"/><Relationship Id="rId18" Type="http://schemas.openxmlformats.org/officeDocument/2006/relationships/tags" Target="../tags/tag292.xml"/><Relationship Id="rId26" Type="http://schemas.openxmlformats.org/officeDocument/2006/relationships/tags" Target="../tags/tag300.xml"/><Relationship Id="rId39" Type="http://schemas.openxmlformats.org/officeDocument/2006/relationships/tags" Target="../tags/tag313.xml"/><Relationship Id="rId3" Type="http://schemas.openxmlformats.org/officeDocument/2006/relationships/tags" Target="../tags/tag277.xml"/><Relationship Id="rId21" Type="http://schemas.openxmlformats.org/officeDocument/2006/relationships/tags" Target="../tags/tag295.xml"/><Relationship Id="rId34" Type="http://schemas.openxmlformats.org/officeDocument/2006/relationships/tags" Target="../tags/tag308.xml"/><Relationship Id="rId42" Type="http://schemas.openxmlformats.org/officeDocument/2006/relationships/tags" Target="../tags/tag316.xml"/><Relationship Id="rId47" Type="http://schemas.openxmlformats.org/officeDocument/2006/relationships/slideLayout" Target="../slideLayouts/slideLayout16.xml"/><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tags" Target="../tags/tag291.xml"/><Relationship Id="rId25" Type="http://schemas.openxmlformats.org/officeDocument/2006/relationships/tags" Target="../tags/tag299.xml"/><Relationship Id="rId33" Type="http://schemas.openxmlformats.org/officeDocument/2006/relationships/tags" Target="../tags/tag307.xml"/><Relationship Id="rId38" Type="http://schemas.openxmlformats.org/officeDocument/2006/relationships/tags" Target="../tags/tag312.xml"/><Relationship Id="rId46" Type="http://schemas.openxmlformats.org/officeDocument/2006/relationships/tags" Target="../tags/tag320.xml"/><Relationship Id="rId2" Type="http://schemas.openxmlformats.org/officeDocument/2006/relationships/tags" Target="../tags/tag276.xml"/><Relationship Id="rId16" Type="http://schemas.openxmlformats.org/officeDocument/2006/relationships/tags" Target="../tags/tag290.xml"/><Relationship Id="rId20" Type="http://schemas.openxmlformats.org/officeDocument/2006/relationships/tags" Target="../tags/tag294.xml"/><Relationship Id="rId29" Type="http://schemas.openxmlformats.org/officeDocument/2006/relationships/tags" Target="../tags/tag303.xml"/><Relationship Id="rId41" Type="http://schemas.openxmlformats.org/officeDocument/2006/relationships/tags" Target="../tags/tag315.xml"/><Relationship Id="rId1" Type="http://schemas.openxmlformats.org/officeDocument/2006/relationships/tags" Target="../tags/tag275.xml"/><Relationship Id="rId6" Type="http://schemas.openxmlformats.org/officeDocument/2006/relationships/tags" Target="../tags/tag280.xml"/><Relationship Id="rId11" Type="http://schemas.openxmlformats.org/officeDocument/2006/relationships/tags" Target="../tags/tag285.xml"/><Relationship Id="rId24" Type="http://schemas.openxmlformats.org/officeDocument/2006/relationships/tags" Target="../tags/tag298.xml"/><Relationship Id="rId32" Type="http://schemas.openxmlformats.org/officeDocument/2006/relationships/tags" Target="../tags/tag306.xml"/><Relationship Id="rId37" Type="http://schemas.openxmlformats.org/officeDocument/2006/relationships/tags" Target="../tags/tag311.xml"/><Relationship Id="rId40" Type="http://schemas.openxmlformats.org/officeDocument/2006/relationships/tags" Target="../tags/tag314.xml"/><Relationship Id="rId45" Type="http://schemas.openxmlformats.org/officeDocument/2006/relationships/tags" Target="../tags/tag319.xml"/><Relationship Id="rId5" Type="http://schemas.openxmlformats.org/officeDocument/2006/relationships/tags" Target="../tags/tag279.xml"/><Relationship Id="rId15" Type="http://schemas.openxmlformats.org/officeDocument/2006/relationships/tags" Target="../tags/tag289.xml"/><Relationship Id="rId23" Type="http://schemas.openxmlformats.org/officeDocument/2006/relationships/tags" Target="../tags/tag297.xml"/><Relationship Id="rId28" Type="http://schemas.openxmlformats.org/officeDocument/2006/relationships/tags" Target="../tags/tag302.xml"/><Relationship Id="rId36" Type="http://schemas.openxmlformats.org/officeDocument/2006/relationships/tags" Target="../tags/tag310.xml"/><Relationship Id="rId49" Type="http://schemas.openxmlformats.org/officeDocument/2006/relationships/image" Target="../media/image3.png"/><Relationship Id="rId10" Type="http://schemas.openxmlformats.org/officeDocument/2006/relationships/tags" Target="../tags/tag284.xml"/><Relationship Id="rId19" Type="http://schemas.openxmlformats.org/officeDocument/2006/relationships/tags" Target="../tags/tag293.xml"/><Relationship Id="rId31" Type="http://schemas.openxmlformats.org/officeDocument/2006/relationships/tags" Target="../tags/tag305.xml"/><Relationship Id="rId44" Type="http://schemas.openxmlformats.org/officeDocument/2006/relationships/tags" Target="../tags/tag318.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 Id="rId22" Type="http://schemas.openxmlformats.org/officeDocument/2006/relationships/tags" Target="../tags/tag296.xml"/><Relationship Id="rId27" Type="http://schemas.openxmlformats.org/officeDocument/2006/relationships/tags" Target="../tags/tag301.xml"/><Relationship Id="rId30" Type="http://schemas.openxmlformats.org/officeDocument/2006/relationships/tags" Target="../tags/tag304.xml"/><Relationship Id="rId35" Type="http://schemas.openxmlformats.org/officeDocument/2006/relationships/tags" Target="../tags/tag309.xml"/><Relationship Id="rId43" Type="http://schemas.openxmlformats.org/officeDocument/2006/relationships/tags" Target="../tags/tag317.xml"/><Relationship Id="rId48" Type="http://schemas.openxmlformats.org/officeDocument/2006/relationships/image" Target="../media/image2.png"/><Relationship Id="rId8" Type="http://schemas.openxmlformats.org/officeDocument/2006/relationships/tags" Target="../tags/tag28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22.xml"/><Relationship Id="rId1" Type="http://schemas.openxmlformats.org/officeDocument/2006/relationships/tags" Target="../tags/tag321.xml"/><Relationship Id="rId4" Type="http://schemas.openxmlformats.org/officeDocument/2006/relationships/image" Target="../media/image62.jpeg"/></Relationships>
</file>

<file path=ppt/slides/_rels/slide36.xml.rels><?xml version="1.0" encoding="UTF-8" standalone="yes"?>
<Relationships xmlns="http://schemas.openxmlformats.org/package/2006/relationships"><Relationship Id="rId8" Type="http://schemas.openxmlformats.org/officeDocument/2006/relationships/tags" Target="../tags/tag330.xml"/><Relationship Id="rId13" Type="http://schemas.openxmlformats.org/officeDocument/2006/relationships/tags" Target="../tags/tag335.xml"/><Relationship Id="rId3" Type="http://schemas.openxmlformats.org/officeDocument/2006/relationships/tags" Target="../tags/tag325.xml"/><Relationship Id="rId7" Type="http://schemas.openxmlformats.org/officeDocument/2006/relationships/tags" Target="../tags/tag329.xml"/><Relationship Id="rId12" Type="http://schemas.openxmlformats.org/officeDocument/2006/relationships/tags" Target="../tags/tag334.xml"/><Relationship Id="rId2" Type="http://schemas.openxmlformats.org/officeDocument/2006/relationships/tags" Target="../tags/tag324.xml"/><Relationship Id="rId16" Type="http://schemas.openxmlformats.org/officeDocument/2006/relationships/image" Target="../media/image3.png"/><Relationship Id="rId1" Type="http://schemas.openxmlformats.org/officeDocument/2006/relationships/tags" Target="../tags/tag323.xml"/><Relationship Id="rId6" Type="http://schemas.openxmlformats.org/officeDocument/2006/relationships/tags" Target="../tags/tag328.xml"/><Relationship Id="rId11" Type="http://schemas.openxmlformats.org/officeDocument/2006/relationships/tags" Target="../tags/tag333.xml"/><Relationship Id="rId5" Type="http://schemas.openxmlformats.org/officeDocument/2006/relationships/tags" Target="../tags/tag327.xml"/><Relationship Id="rId15" Type="http://schemas.openxmlformats.org/officeDocument/2006/relationships/image" Target="../media/image2.png"/><Relationship Id="rId10" Type="http://schemas.openxmlformats.org/officeDocument/2006/relationships/tags" Target="../tags/tag332.xml"/><Relationship Id="rId4" Type="http://schemas.openxmlformats.org/officeDocument/2006/relationships/tags" Target="../tags/tag326.xml"/><Relationship Id="rId9" Type="http://schemas.openxmlformats.org/officeDocument/2006/relationships/tags" Target="../tags/tag331.xml"/><Relationship Id="rId14"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tags" Target="../tags/tag348.xml"/><Relationship Id="rId18" Type="http://schemas.openxmlformats.org/officeDocument/2006/relationships/tags" Target="../tags/tag353.xml"/><Relationship Id="rId26" Type="http://schemas.openxmlformats.org/officeDocument/2006/relationships/tags" Target="../tags/tag361.xml"/><Relationship Id="rId39" Type="http://schemas.openxmlformats.org/officeDocument/2006/relationships/tags" Target="../tags/tag374.xml"/><Relationship Id="rId3" Type="http://schemas.openxmlformats.org/officeDocument/2006/relationships/tags" Target="../tags/tag338.xml"/><Relationship Id="rId21" Type="http://schemas.openxmlformats.org/officeDocument/2006/relationships/tags" Target="../tags/tag356.xml"/><Relationship Id="rId34" Type="http://schemas.openxmlformats.org/officeDocument/2006/relationships/tags" Target="../tags/tag369.xml"/><Relationship Id="rId42" Type="http://schemas.openxmlformats.org/officeDocument/2006/relationships/image" Target="../media/image3.png"/><Relationship Id="rId7" Type="http://schemas.openxmlformats.org/officeDocument/2006/relationships/tags" Target="../tags/tag342.xml"/><Relationship Id="rId12" Type="http://schemas.openxmlformats.org/officeDocument/2006/relationships/tags" Target="../tags/tag347.xml"/><Relationship Id="rId17" Type="http://schemas.openxmlformats.org/officeDocument/2006/relationships/tags" Target="../tags/tag352.xml"/><Relationship Id="rId25" Type="http://schemas.openxmlformats.org/officeDocument/2006/relationships/tags" Target="../tags/tag360.xml"/><Relationship Id="rId33" Type="http://schemas.openxmlformats.org/officeDocument/2006/relationships/tags" Target="../tags/tag368.xml"/><Relationship Id="rId38" Type="http://schemas.openxmlformats.org/officeDocument/2006/relationships/tags" Target="../tags/tag373.xml"/><Relationship Id="rId2" Type="http://schemas.openxmlformats.org/officeDocument/2006/relationships/tags" Target="../tags/tag337.xml"/><Relationship Id="rId16" Type="http://schemas.openxmlformats.org/officeDocument/2006/relationships/tags" Target="../tags/tag351.xml"/><Relationship Id="rId20" Type="http://schemas.openxmlformats.org/officeDocument/2006/relationships/tags" Target="../tags/tag355.xml"/><Relationship Id="rId29" Type="http://schemas.openxmlformats.org/officeDocument/2006/relationships/tags" Target="../tags/tag364.xml"/><Relationship Id="rId41" Type="http://schemas.openxmlformats.org/officeDocument/2006/relationships/image" Target="../media/image2.png"/><Relationship Id="rId1" Type="http://schemas.openxmlformats.org/officeDocument/2006/relationships/tags" Target="../tags/tag336.xml"/><Relationship Id="rId6" Type="http://schemas.openxmlformats.org/officeDocument/2006/relationships/tags" Target="../tags/tag341.xml"/><Relationship Id="rId11" Type="http://schemas.openxmlformats.org/officeDocument/2006/relationships/tags" Target="../tags/tag346.xml"/><Relationship Id="rId24" Type="http://schemas.openxmlformats.org/officeDocument/2006/relationships/tags" Target="../tags/tag359.xml"/><Relationship Id="rId32" Type="http://schemas.openxmlformats.org/officeDocument/2006/relationships/tags" Target="../tags/tag367.xml"/><Relationship Id="rId37" Type="http://schemas.openxmlformats.org/officeDocument/2006/relationships/tags" Target="../tags/tag372.xml"/><Relationship Id="rId40" Type="http://schemas.openxmlformats.org/officeDocument/2006/relationships/slideLayout" Target="../slideLayouts/slideLayout16.xml"/><Relationship Id="rId5" Type="http://schemas.openxmlformats.org/officeDocument/2006/relationships/tags" Target="../tags/tag340.xml"/><Relationship Id="rId15" Type="http://schemas.openxmlformats.org/officeDocument/2006/relationships/tags" Target="../tags/tag350.xml"/><Relationship Id="rId23" Type="http://schemas.openxmlformats.org/officeDocument/2006/relationships/tags" Target="../tags/tag358.xml"/><Relationship Id="rId28" Type="http://schemas.openxmlformats.org/officeDocument/2006/relationships/tags" Target="../tags/tag363.xml"/><Relationship Id="rId36" Type="http://schemas.openxmlformats.org/officeDocument/2006/relationships/tags" Target="../tags/tag371.xml"/><Relationship Id="rId10" Type="http://schemas.openxmlformats.org/officeDocument/2006/relationships/tags" Target="../tags/tag345.xml"/><Relationship Id="rId19" Type="http://schemas.openxmlformats.org/officeDocument/2006/relationships/tags" Target="../tags/tag354.xml"/><Relationship Id="rId31" Type="http://schemas.openxmlformats.org/officeDocument/2006/relationships/tags" Target="../tags/tag366.xml"/><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tags" Target="../tags/tag349.xml"/><Relationship Id="rId22" Type="http://schemas.openxmlformats.org/officeDocument/2006/relationships/tags" Target="../tags/tag357.xml"/><Relationship Id="rId27" Type="http://schemas.openxmlformats.org/officeDocument/2006/relationships/tags" Target="../tags/tag362.xml"/><Relationship Id="rId30" Type="http://schemas.openxmlformats.org/officeDocument/2006/relationships/tags" Target="../tags/tag365.xml"/><Relationship Id="rId35" Type="http://schemas.openxmlformats.org/officeDocument/2006/relationships/tags" Target="../tags/tag370.xml"/></Relationships>
</file>

<file path=ppt/slides/_rels/slide38.xml.rels><?xml version="1.0" encoding="UTF-8" standalone="yes"?>
<Relationships xmlns="http://schemas.openxmlformats.org/package/2006/relationships"><Relationship Id="rId8" Type="http://schemas.openxmlformats.org/officeDocument/2006/relationships/tags" Target="../tags/tag382.xml"/><Relationship Id="rId13" Type="http://schemas.openxmlformats.org/officeDocument/2006/relationships/tags" Target="../tags/tag387.xml"/><Relationship Id="rId18" Type="http://schemas.openxmlformats.org/officeDocument/2006/relationships/tags" Target="../tags/tag392.xml"/><Relationship Id="rId26" Type="http://schemas.openxmlformats.org/officeDocument/2006/relationships/tags" Target="../tags/tag400.xml"/><Relationship Id="rId39" Type="http://schemas.openxmlformats.org/officeDocument/2006/relationships/tags" Target="../tags/tag413.xml"/><Relationship Id="rId3" Type="http://schemas.openxmlformats.org/officeDocument/2006/relationships/tags" Target="../tags/tag377.xml"/><Relationship Id="rId21" Type="http://schemas.openxmlformats.org/officeDocument/2006/relationships/tags" Target="../tags/tag395.xml"/><Relationship Id="rId34" Type="http://schemas.openxmlformats.org/officeDocument/2006/relationships/tags" Target="../tags/tag408.xml"/><Relationship Id="rId42" Type="http://schemas.openxmlformats.org/officeDocument/2006/relationships/tags" Target="../tags/tag416.xml"/><Relationship Id="rId47" Type="http://schemas.openxmlformats.org/officeDocument/2006/relationships/image" Target="../media/image2.png"/><Relationship Id="rId7" Type="http://schemas.openxmlformats.org/officeDocument/2006/relationships/tags" Target="../tags/tag381.xml"/><Relationship Id="rId12" Type="http://schemas.openxmlformats.org/officeDocument/2006/relationships/tags" Target="../tags/tag386.xml"/><Relationship Id="rId17" Type="http://schemas.openxmlformats.org/officeDocument/2006/relationships/tags" Target="../tags/tag391.xml"/><Relationship Id="rId25" Type="http://schemas.openxmlformats.org/officeDocument/2006/relationships/tags" Target="../tags/tag399.xml"/><Relationship Id="rId33" Type="http://schemas.openxmlformats.org/officeDocument/2006/relationships/tags" Target="../tags/tag407.xml"/><Relationship Id="rId38" Type="http://schemas.openxmlformats.org/officeDocument/2006/relationships/tags" Target="../tags/tag412.xml"/><Relationship Id="rId46" Type="http://schemas.openxmlformats.org/officeDocument/2006/relationships/slideLayout" Target="../slideLayouts/slideLayout16.xml"/><Relationship Id="rId2" Type="http://schemas.openxmlformats.org/officeDocument/2006/relationships/tags" Target="../tags/tag376.xml"/><Relationship Id="rId16" Type="http://schemas.openxmlformats.org/officeDocument/2006/relationships/tags" Target="../tags/tag390.xml"/><Relationship Id="rId20" Type="http://schemas.openxmlformats.org/officeDocument/2006/relationships/tags" Target="../tags/tag394.xml"/><Relationship Id="rId29" Type="http://schemas.openxmlformats.org/officeDocument/2006/relationships/tags" Target="../tags/tag403.xml"/><Relationship Id="rId41" Type="http://schemas.openxmlformats.org/officeDocument/2006/relationships/tags" Target="../tags/tag415.xml"/><Relationship Id="rId1" Type="http://schemas.openxmlformats.org/officeDocument/2006/relationships/tags" Target="../tags/tag375.xml"/><Relationship Id="rId6" Type="http://schemas.openxmlformats.org/officeDocument/2006/relationships/tags" Target="../tags/tag380.xml"/><Relationship Id="rId11" Type="http://schemas.openxmlformats.org/officeDocument/2006/relationships/tags" Target="../tags/tag385.xml"/><Relationship Id="rId24" Type="http://schemas.openxmlformats.org/officeDocument/2006/relationships/tags" Target="../tags/tag398.xml"/><Relationship Id="rId32" Type="http://schemas.openxmlformats.org/officeDocument/2006/relationships/tags" Target="../tags/tag406.xml"/><Relationship Id="rId37" Type="http://schemas.openxmlformats.org/officeDocument/2006/relationships/tags" Target="../tags/tag411.xml"/><Relationship Id="rId40" Type="http://schemas.openxmlformats.org/officeDocument/2006/relationships/tags" Target="../tags/tag414.xml"/><Relationship Id="rId45" Type="http://schemas.openxmlformats.org/officeDocument/2006/relationships/tags" Target="../tags/tag419.xml"/><Relationship Id="rId5" Type="http://schemas.openxmlformats.org/officeDocument/2006/relationships/tags" Target="../tags/tag379.xml"/><Relationship Id="rId15" Type="http://schemas.openxmlformats.org/officeDocument/2006/relationships/tags" Target="../tags/tag389.xml"/><Relationship Id="rId23" Type="http://schemas.openxmlformats.org/officeDocument/2006/relationships/tags" Target="../tags/tag397.xml"/><Relationship Id="rId28" Type="http://schemas.openxmlformats.org/officeDocument/2006/relationships/tags" Target="../tags/tag402.xml"/><Relationship Id="rId36" Type="http://schemas.openxmlformats.org/officeDocument/2006/relationships/tags" Target="../tags/tag410.xml"/><Relationship Id="rId10" Type="http://schemas.openxmlformats.org/officeDocument/2006/relationships/tags" Target="../tags/tag384.xml"/><Relationship Id="rId19" Type="http://schemas.openxmlformats.org/officeDocument/2006/relationships/tags" Target="../tags/tag393.xml"/><Relationship Id="rId31" Type="http://schemas.openxmlformats.org/officeDocument/2006/relationships/tags" Target="../tags/tag405.xml"/><Relationship Id="rId44" Type="http://schemas.openxmlformats.org/officeDocument/2006/relationships/tags" Target="../tags/tag418.xml"/><Relationship Id="rId4" Type="http://schemas.openxmlformats.org/officeDocument/2006/relationships/tags" Target="../tags/tag378.xml"/><Relationship Id="rId9" Type="http://schemas.openxmlformats.org/officeDocument/2006/relationships/tags" Target="../tags/tag383.xml"/><Relationship Id="rId14" Type="http://schemas.openxmlformats.org/officeDocument/2006/relationships/tags" Target="../tags/tag388.xml"/><Relationship Id="rId22" Type="http://schemas.openxmlformats.org/officeDocument/2006/relationships/tags" Target="../tags/tag396.xml"/><Relationship Id="rId27" Type="http://schemas.openxmlformats.org/officeDocument/2006/relationships/tags" Target="../tags/tag401.xml"/><Relationship Id="rId30" Type="http://schemas.openxmlformats.org/officeDocument/2006/relationships/tags" Target="../tags/tag404.xml"/><Relationship Id="rId35" Type="http://schemas.openxmlformats.org/officeDocument/2006/relationships/tags" Target="../tags/tag409.xml"/><Relationship Id="rId43" Type="http://schemas.openxmlformats.org/officeDocument/2006/relationships/tags" Target="../tags/tag417.xml"/><Relationship Id="rId48" Type="http://schemas.openxmlformats.org/officeDocument/2006/relationships/image" Target="../media/image3.png"/></Relationships>
</file>

<file path=ppt/slides/_rels/slide39.xml.rels><?xml version="1.0" encoding="UTF-8" standalone="yes"?>
<Relationships xmlns="http://schemas.openxmlformats.org/package/2006/relationships"><Relationship Id="rId8" Type="http://schemas.openxmlformats.org/officeDocument/2006/relationships/tags" Target="../tags/tag427.xml"/><Relationship Id="rId13" Type="http://schemas.openxmlformats.org/officeDocument/2006/relationships/tags" Target="../tags/tag432.xml"/><Relationship Id="rId18" Type="http://schemas.openxmlformats.org/officeDocument/2006/relationships/tags" Target="../tags/tag437.xml"/><Relationship Id="rId26" Type="http://schemas.openxmlformats.org/officeDocument/2006/relationships/tags" Target="../tags/tag445.xml"/><Relationship Id="rId3" Type="http://schemas.openxmlformats.org/officeDocument/2006/relationships/tags" Target="../tags/tag422.xml"/><Relationship Id="rId21" Type="http://schemas.openxmlformats.org/officeDocument/2006/relationships/tags" Target="../tags/tag440.xml"/><Relationship Id="rId7" Type="http://schemas.openxmlformats.org/officeDocument/2006/relationships/tags" Target="../tags/tag426.xml"/><Relationship Id="rId12" Type="http://schemas.openxmlformats.org/officeDocument/2006/relationships/tags" Target="../tags/tag431.xml"/><Relationship Id="rId17" Type="http://schemas.openxmlformats.org/officeDocument/2006/relationships/tags" Target="../tags/tag436.xml"/><Relationship Id="rId25" Type="http://schemas.openxmlformats.org/officeDocument/2006/relationships/tags" Target="../tags/tag444.xml"/><Relationship Id="rId2" Type="http://schemas.openxmlformats.org/officeDocument/2006/relationships/tags" Target="../tags/tag421.xml"/><Relationship Id="rId16" Type="http://schemas.openxmlformats.org/officeDocument/2006/relationships/tags" Target="../tags/tag435.xml"/><Relationship Id="rId20" Type="http://schemas.openxmlformats.org/officeDocument/2006/relationships/tags" Target="../tags/tag439.xml"/><Relationship Id="rId29" Type="http://schemas.openxmlformats.org/officeDocument/2006/relationships/image" Target="../media/image2.png"/><Relationship Id="rId1" Type="http://schemas.openxmlformats.org/officeDocument/2006/relationships/tags" Target="../tags/tag420.xml"/><Relationship Id="rId6" Type="http://schemas.openxmlformats.org/officeDocument/2006/relationships/tags" Target="../tags/tag425.xml"/><Relationship Id="rId11" Type="http://schemas.openxmlformats.org/officeDocument/2006/relationships/tags" Target="../tags/tag430.xml"/><Relationship Id="rId24" Type="http://schemas.openxmlformats.org/officeDocument/2006/relationships/tags" Target="../tags/tag443.xml"/><Relationship Id="rId5" Type="http://schemas.openxmlformats.org/officeDocument/2006/relationships/tags" Target="../tags/tag424.xml"/><Relationship Id="rId15" Type="http://schemas.openxmlformats.org/officeDocument/2006/relationships/tags" Target="../tags/tag434.xml"/><Relationship Id="rId23" Type="http://schemas.openxmlformats.org/officeDocument/2006/relationships/tags" Target="../tags/tag442.xml"/><Relationship Id="rId28" Type="http://schemas.openxmlformats.org/officeDocument/2006/relationships/slideLayout" Target="../slideLayouts/slideLayout16.xml"/><Relationship Id="rId10" Type="http://schemas.openxmlformats.org/officeDocument/2006/relationships/tags" Target="../tags/tag429.xml"/><Relationship Id="rId19" Type="http://schemas.openxmlformats.org/officeDocument/2006/relationships/tags" Target="../tags/tag438.xml"/><Relationship Id="rId4" Type="http://schemas.openxmlformats.org/officeDocument/2006/relationships/tags" Target="../tags/tag423.xml"/><Relationship Id="rId9" Type="http://schemas.openxmlformats.org/officeDocument/2006/relationships/tags" Target="../tags/tag428.xml"/><Relationship Id="rId14" Type="http://schemas.openxmlformats.org/officeDocument/2006/relationships/tags" Target="../tags/tag433.xml"/><Relationship Id="rId22" Type="http://schemas.openxmlformats.org/officeDocument/2006/relationships/tags" Target="../tags/tag441.xml"/><Relationship Id="rId27" Type="http://schemas.openxmlformats.org/officeDocument/2006/relationships/tags" Target="../tags/tag446.xml"/><Relationship Id="rId30" Type="http://schemas.openxmlformats.org/officeDocument/2006/relationships/image" Target="../media/image3.png"/></Relationships>
</file>

<file path=ppt/slides/_rels/slide4.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2.png"/><Relationship Id="rId7" Type="http://schemas.openxmlformats.org/officeDocument/2006/relationships/image" Target="../media/image41.jp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40.jpg"/><Relationship Id="rId5" Type="http://schemas.openxmlformats.org/officeDocument/2006/relationships/image" Target="../media/image39.jpg"/><Relationship Id="rId10" Type="http://schemas.openxmlformats.org/officeDocument/2006/relationships/image" Target="../media/image44.jpeg"/><Relationship Id="rId4" Type="http://schemas.openxmlformats.org/officeDocument/2006/relationships/image" Target="../media/image3.png"/><Relationship Id="rId9" Type="http://schemas.openxmlformats.org/officeDocument/2006/relationships/image" Target="../media/image43.png"/></Relationships>
</file>

<file path=ppt/slides/_rels/slide40.xml.rels><?xml version="1.0" encoding="UTF-8" standalone="yes"?>
<Relationships xmlns="http://schemas.openxmlformats.org/package/2006/relationships"><Relationship Id="rId8" Type="http://schemas.openxmlformats.org/officeDocument/2006/relationships/tags" Target="../tags/tag454.xml"/><Relationship Id="rId13" Type="http://schemas.openxmlformats.org/officeDocument/2006/relationships/tags" Target="../tags/tag459.xml"/><Relationship Id="rId3" Type="http://schemas.openxmlformats.org/officeDocument/2006/relationships/tags" Target="../tags/tag449.xml"/><Relationship Id="rId7" Type="http://schemas.openxmlformats.org/officeDocument/2006/relationships/tags" Target="../tags/tag453.xml"/><Relationship Id="rId12" Type="http://schemas.openxmlformats.org/officeDocument/2006/relationships/tags" Target="../tags/tag458.xml"/><Relationship Id="rId2" Type="http://schemas.openxmlformats.org/officeDocument/2006/relationships/tags" Target="../tags/tag448.xml"/><Relationship Id="rId16" Type="http://schemas.openxmlformats.org/officeDocument/2006/relationships/image" Target="../media/image3.png"/><Relationship Id="rId1" Type="http://schemas.openxmlformats.org/officeDocument/2006/relationships/tags" Target="../tags/tag447.xml"/><Relationship Id="rId6" Type="http://schemas.openxmlformats.org/officeDocument/2006/relationships/tags" Target="../tags/tag452.xml"/><Relationship Id="rId11" Type="http://schemas.openxmlformats.org/officeDocument/2006/relationships/tags" Target="../tags/tag457.xml"/><Relationship Id="rId5" Type="http://schemas.openxmlformats.org/officeDocument/2006/relationships/tags" Target="../tags/tag451.xml"/><Relationship Id="rId15" Type="http://schemas.openxmlformats.org/officeDocument/2006/relationships/image" Target="../media/image2.png"/><Relationship Id="rId10" Type="http://schemas.openxmlformats.org/officeDocument/2006/relationships/tags" Target="../tags/tag456.xml"/><Relationship Id="rId4" Type="http://schemas.openxmlformats.org/officeDocument/2006/relationships/tags" Target="../tags/tag450.xml"/><Relationship Id="rId9" Type="http://schemas.openxmlformats.org/officeDocument/2006/relationships/tags" Target="../tags/tag455.xml"/><Relationship Id="rId14"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8" Type="http://schemas.openxmlformats.org/officeDocument/2006/relationships/tags" Target="../tags/tag467.xml"/><Relationship Id="rId13" Type="http://schemas.openxmlformats.org/officeDocument/2006/relationships/tags" Target="../tags/tag472.xml"/><Relationship Id="rId18" Type="http://schemas.openxmlformats.org/officeDocument/2006/relationships/tags" Target="../tags/tag477.xml"/><Relationship Id="rId3" Type="http://schemas.openxmlformats.org/officeDocument/2006/relationships/tags" Target="../tags/tag462.xml"/><Relationship Id="rId21" Type="http://schemas.openxmlformats.org/officeDocument/2006/relationships/tags" Target="../tags/tag480.xml"/><Relationship Id="rId7" Type="http://schemas.openxmlformats.org/officeDocument/2006/relationships/tags" Target="../tags/tag466.xml"/><Relationship Id="rId12" Type="http://schemas.openxmlformats.org/officeDocument/2006/relationships/tags" Target="../tags/tag471.xml"/><Relationship Id="rId17" Type="http://schemas.openxmlformats.org/officeDocument/2006/relationships/tags" Target="../tags/tag476.xml"/><Relationship Id="rId2" Type="http://schemas.openxmlformats.org/officeDocument/2006/relationships/tags" Target="../tags/tag461.xml"/><Relationship Id="rId16" Type="http://schemas.openxmlformats.org/officeDocument/2006/relationships/tags" Target="../tags/tag475.xml"/><Relationship Id="rId20" Type="http://schemas.openxmlformats.org/officeDocument/2006/relationships/tags" Target="../tags/tag479.xml"/><Relationship Id="rId1" Type="http://schemas.openxmlformats.org/officeDocument/2006/relationships/tags" Target="../tags/tag460.xml"/><Relationship Id="rId6" Type="http://schemas.openxmlformats.org/officeDocument/2006/relationships/tags" Target="../tags/tag465.xml"/><Relationship Id="rId11" Type="http://schemas.openxmlformats.org/officeDocument/2006/relationships/tags" Target="../tags/tag470.xml"/><Relationship Id="rId24" Type="http://schemas.openxmlformats.org/officeDocument/2006/relationships/image" Target="../media/image3.png"/><Relationship Id="rId5" Type="http://schemas.openxmlformats.org/officeDocument/2006/relationships/tags" Target="../tags/tag464.xml"/><Relationship Id="rId15" Type="http://schemas.openxmlformats.org/officeDocument/2006/relationships/tags" Target="../tags/tag474.xml"/><Relationship Id="rId23" Type="http://schemas.openxmlformats.org/officeDocument/2006/relationships/image" Target="../media/image2.png"/><Relationship Id="rId10" Type="http://schemas.openxmlformats.org/officeDocument/2006/relationships/tags" Target="../tags/tag469.xml"/><Relationship Id="rId19" Type="http://schemas.openxmlformats.org/officeDocument/2006/relationships/tags" Target="../tags/tag478.xml"/><Relationship Id="rId4" Type="http://schemas.openxmlformats.org/officeDocument/2006/relationships/tags" Target="../tags/tag463.xml"/><Relationship Id="rId9" Type="http://schemas.openxmlformats.org/officeDocument/2006/relationships/tags" Target="../tags/tag468.xml"/><Relationship Id="rId14" Type="http://schemas.openxmlformats.org/officeDocument/2006/relationships/tags" Target="../tags/tag473.xml"/><Relationship Id="rId22"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8" Type="http://schemas.openxmlformats.org/officeDocument/2006/relationships/tags" Target="../tags/tag488.xml"/><Relationship Id="rId13" Type="http://schemas.openxmlformats.org/officeDocument/2006/relationships/tags" Target="../tags/tag493.xml"/><Relationship Id="rId18" Type="http://schemas.openxmlformats.org/officeDocument/2006/relationships/tags" Target="../tags/tag498.xml"/><Relationship Id="rId3" Type="http://schemas.openxmlformats.org/officeDocument/2006/relationships/tags" Target="../tags/tag483.xml"/><Relationship Id="rId21" Type="http://schemas.openxmlformats.org/officeDocument/2006/relationships/slideLayout" Target="../slideLayouts/slideLayout16.xml"/><Relationship Id="rId7" Type="http://schemas.openxmlformats.org/officeDocument/2006/relationships/tags" Target="../tags/tag487.xml"/><Relationship Id="rId12" Type="http://schemas.openxmlformats.org/officeDocument/2006/relationships/tags" Target="../tags/tag492.xml"/><Relationship Id="rId17" Type="http://schemas.openxmlformats.org/officeDocument/2006/relationships/tags" Target="../tags/tag497.xml"/><Relationship Id="rId2" Type="http://schemas.openxmlformats.org/officeDocument/2006/relationships/tags" Target="../tags/tag482.xml"/><Relationship Id="rId16" Type="http://schemas.openxmlformats.org/officeDocument/2006/relationships/tags" Target="../tags/tag496.xml"/><Relationship Id="rId20" Type="http://schemas.openxmlformats.org/officeDocument/2006/relationships/tags" Target="../tags/tag500.xml"/><Relationship Id="rId1" Type="http://schemas.openxmlformats.org/officeDocument/2006/relationships/tags" Target="../tags/tag481.xml"/><Relationship Id="rId6" Type="http://schemas.openxmlformats.org/officeDocument/2006/relationships/tags" Target="../tags/tag486.xml"/><Relationship Id="rId11" Type="http://schemas.openxmlformats.org/officeDocument/2006/relationships/tags" Target="../tags/tag491.xml"/><Relationship Id="rId5" Type="http://schemas.openxmlformats.org/officeDocument/2006/relationships/tags" Target="../tags/tag485.xml"/><Relationship Id="rId15" Type="http://schemas.openxmlformats.org/officeDocument/2006/relationships/tags" Target="../tags/tag495.xml"/><Relationship Id="rId23" Type="http://schemas.openxmlformats.org/officeDocument/2006/relationships/image" Target="../media/image38.png"/><Relationship Id="rId10" Type="http://schemas.openxmlformats.org/officeDocument/2006/relationships/tags" Target="../tags/tag490.xml"/><Relationship Id="rId19" Type="http://schemas.openxmlformats.org/officeDocument/2006/relationships/tags" Target="../tags/tag499.xml"/><Relationship Id="rId4" Type="http://schemas.openxmlformats.org/officeDocument/2006/relationships/tags" Target="../tags/tag484.xml"/><Relationship Id="rId9" Type="http://schemas.openxmlformats.org/officeDocument/2006/relationships/tags" Target="../tags/tag489.xml"/><Relationship Id="rId14" Type="http://schemas.openxmlformats.org/officeDocument/2006/relationships/tags" Target="../tags/tag494.xml"/><Relationship Id="rId22" Type="http://schemas.openxmlformats.org/officeDocument/2006/relationships/image" Target="../media/image64.jpeg"/></Relationships>
</file>

<file path=ppt/slides/_rels/slide43.xml.rels><?xml version="1.0" encoding="UTF-8" standalone="yes"?>
<Relationships xmlns="http://schemas.openxmlformats.org/package/2006/relationships"><Relationship Id="rId8" Type="http://schemas.openxmlformats.org/officeDocument/2006/relationships/tags" Target="../tags/tag508.xml"/><Relationship Id="rId13" Type="http://schemas.openxmlformats.org/officeDocument/2006/relationships/image" Target="../media/image65.png"/><Relationship Id="rId18" Type="http://schemas.openxmlformats.org/officeDocument/2006/relationships/image" Target="../media/image69.png"/><Relationship Id="rId3" Type="http://schemas.openxmlformats.org/officeDocument/2006/relationships/tags" Target="../tags/tag503.xml"/><Relationship Id="rId7" Type="http://schemas.openxmlformats.org/officeDocument/2006/relationships/tags" Target="../tags/tag507.xml"/><Relationship Id="rId12" Type="http://schemas.openxmlformats.org/officeDocument/2006/relationships/image" Target="../media/image2.png"/><Relationship Id="rId17" Type="http://schemas.openxmlformats.org/officeDocument/2006/relationships/image" Target="../media/image68.jpeg"/><Relationship Id="rId2" Type="http://schemas.openxmlformats.org/officeDocument/2006/relationships/tags" Target="../tags/tag502.xml"/><Relationship Id="rId16" Type="http://schemas.openxmlformats.org/officeDocument/2006/relationships/image" Target="../media/image67.jpeg"/><Relationship Id="rId20" Type="http://schemas.openxmlformats.org/officeDocument/2006/relationships/image" Target="../media/image71.png"/><Relationship Id="rId1" Type="http://schemas.openxmlformats.org/officeDocument/2006/relationships/tags" Target="../tags/tag501.xml"/><Relationship Id="rId6" Type="http://schemas.openxmlformats.org/officeDocument/2006/relationships/tags" Target="../tags/tag506.xml"/><Relationship Id="rId11" Type="http://schemas.openxmlformats.org/officeDocument/2006/relationships/slideLayout" Target="../slideLayouts/slideLayout16.xml"/><Relationship Id="rId5" Type="http://schemas.openxmlformats.org/officeDocument/2006/relationships/tags" Target="../tags/tag505.xml"/><Relationship Id="rId15" Type="http://schemas.openxmlformats.org/officeDocument/2006/relationships/image" Target="../media/image66.jpeg"/><Relationship Id="rId10" Type="http://schemas.openxmlformats.org/officeDocument/2006/relationships/tags" Target="../tags/tag510.xml"/><Relationship Id="rId19" Type="http://schemas.openxmlformats.org/officeDocument/2006/relationships/image" Target="../media/image70.jpeg"/><Relationship Id="rId4" Type="http://schemas.openxmlformats.org/officeDocument/2006/relationships/tags" Target="../tags/tag504.xml"/><Relationship Id="rId9" Type="http://schemas.openxmlformats.org/officeDocument/2006/relationships/tags" Target="../tags/tag509.xml"/><Relationship Id="rId14" Type="http://schemas.microsoft.com/office/2007/relationships/hdphoto" Target="../media/hdphoto1.wdp"/></Relationships>
</file>

<file path=ppt/slides/_rels/slide44.xml.rels><?xml version="1.0" encoding="UTF-8" standalone="yes"?>
<Relationships xmlns="http://schemas.openxmlformats.org/package/2006/relationships"><Relationship Id="rId8" Type="http://schemas.openxmlformats.org/officeDocument/2006/relationships/tags" Target="../tags/tag518.xml"/><Relationship Id="rId13" Type="http://schemas.openxmlformats.org/officeDocument/2006/relationships/tags" Target="../tags/tag523.xml"/><Relationship Id="rId18" Type="http://schemas.openxmlformats.org/officeDocument/2006/relationships/tags" Target="../tags/tag528.xml"/><Relationship Id="rId3" Type="http://schemas.openxmlformats.org/officeDocument/2006/relationships/tags" Target="../tags/tag513.xml"/><Relationship Id="rId21" Type="http://schemas.openxmlformats.org/officeDocument/2006/relationships/image" Target="../media/image72.png"/><Relationship Id="rId7" Type="http://schemas.openxmlformats.org/officeDocument/2006/relationships/tags" Target="../tags/tag517.xml"/><Relationship Id="rId12" Type="http://schemas.openxmlformats.org/officeDocument/2006/relationships/tags" Target="../tags/tag522.xml"/><Relationship Id="rId17" Type="http://schemas.openxmlformats.org/officeDocument/2006/relationships/tags" Target="../tags/tag527.xml"/><Relationship Id="rId2" Type="http://schemas.openxmlformats.org/officeDocument/2006/relationships/tags" Target="../tags/tag512.xml"/><Relationship Id="rId16" Type="http://schemas.openxmlformats.org/officeDocument/2006/relationships/tags" Target="../tags/tag526.xml"/><Relationship Id="rId20" Type="http://schemas.openxmlformats.org/officeDocument/2006/relationships/slideLayout" Target="../slideLayouts/slideLayout16.xml"/><Relationship Id="rId1" Type="http://schemas.openxmlformats.org/officeDocument/2006/relationships/tags" Target="../tags/tag511.xml"/><Relationship Id="rId6" Type="http://schemas.openxmlformats.org/officeDocument/2006/relationships/tags" Target="../tags/tag516.xml"/><Relationship Id="rId11" Type="http://schemas.openxmlformats.org/officeDocument/2006/relationships/tags" Target="../tags/tag521.xml"/><Relationship Id="rId5" Type="http://schemas.openxmlformats.org/officeDocument/2006/relationships/tags" Target="../tags/tag515.xml"/><Relationship Id="rId15" Type="http://schemas.openxmlformats.org/officeDocument/2006/relationships/tags" Target="../tags/tag525.xml"/><Relationship Id="rId23" Type="http://schemas.microsoft.com/office/2007/relationships/hdphoto" Target="../media/hdphoto1.wdp"/><Relationship Id="rId10" Type="http://schemas.openxmlformats.org/officeDocument/2006/relationships/tags" Target="../tags/tag520.xml"/><Relationship Id="rId19" Type="http://schemas.openxmlformats.org/officeDocument/2006/relationships/tags" Target="../tags/tag529.xml"/><Relationship Id="rId4" Type="http://schemas.openxmlformats.org/officeDocument/2006/relationships/tags" Target="../tags/tag514.xml"/><Relationship Id="rId9" Type="http://schemas.openxmlformats.org/officeDocument/2006/relationships/tags" Target="../tags/tag519.xml"/><Relationship Id="rId14" Type="http://schemas.openxmlformats.org/officeDocument/2006/relationships/tags" Target="../tags/tag524.xml"/><Relationship Id="rId22" Type="http://schemas.openxmlformats.org/officeDocument/2006/relationships/image" Target="../media/image71.png"/></Relationships>
</file>

<file path=ppt/slides/_rels/slide45.xml.rels><?xml version="1.0" encoding="UTF-8" standalone="yes"?>
<Relationships xmlns="http://schemas.openxmlformats.org/package/2006/relationships"><Relationship Id="rId8" Type="http://schemas.openxmlformats.org/officeDocument/2006/relationships/tags" Target="../tags/tag537.xml"/><Relationship Id="rId13" Type="http://schemas.openxmlformats.org/officeDocument/2006/relationships/image" Target="../media/image76.jpeg"/><Relationship Id="rId3" Type="http://schemas.openxmlformats.org/officeDocument/2006/relationships/tags" Target="../tags/tag532.xml"/><Relationship Id="rId7" Type="http://schemas.openxmlformats.org/officeDocument/2006/relationships/tags" Target="../tags/tag536.xml"/><Relationship Id="rId12" Type="http://schemas.openxmlformats.org/officeDocument/2006/relationships/image" Target="../media/image75.jpeg"/><Relationship Id="rId17" Type="http://schemas.microsoft.com/office/2007/relationships/hdphoto" Target="../media/hdphoto1.wdp"/><Relationship Id="rId2" Type="http://schemas.openxmlformats.org/officeDocument/2006/relationships/tags" Target="../tags/tag531.xml"/><Relationship Id="rId16" Type="http://schemas.openxmlformats.org/officeDocument/2006/relationships/image" Target="../media/image79.png"/><Relationship Id="rId1" Type="http://schemas.openxmlformats.org/officeDocument/2006/relationships/tags" Target="../tags/tag530.xml"/><Relationship Id="rId6" Type="http://schemas.openxmlformats.org/officeDocument/2006/relationships/tags" Target="../tags/tag535.xml"/><Relationship Id="rId11" Type="http://schemas.openxmlformats.org/officeDocument/2006/relationships/image" Target="../media/image74.jpeg"/><Relationship Id="rId5" Type="http://schemas.openxmlformats.org/officeDocument/2006/relationships/tags" Target="../tags/tag534.xml"/><Relationship Id="rId15" Type="http://schemas.openxmlformats.org/officeDocument/2006/relationships/image" Target="../media/image78.jpeg"/><Relationship Id="rId10" Type="http://schemas.openxmlformats.org/officeDocument/2006/relationships/image" Target="../media/image73.png"/><Relationship Id="rId4" Type="http://schemas.openxmlformats.org/officeDocument/2006/relationships/tags" Target="../tags/tag533.xml"/><Relationship Id="rId9" Type="http://schemas.openxmlformats.org/officeDocument/2006/relationships/slideLayout" Target="../slideLayouts/slideLayout16.xml"/><Relationship Id="rId14" Type="http://schemas.openxmlformats.org/officeDocument/2006/relationships/image" Target="../media/image77.png"/></Relationships>
</file>

<file path=ppt/slides/_rels/slide46.xml.rels><?xml version="1.0" encoding="UTF-8" standalone="yes"?>
<Relationships xmlns="http://schemas.openxmlformats.org/package/2006/relationships"><Relationship Id="rId8" Type="http://schemas.openxmlformats.org/officeDocument/2006/relationships/tags" Target="../tags/tag545.xml"/><Relationship Id="rId13" Type="http://schemas.openxmlformats.org/officeDocument/2006/relationships/tags" Target="../tags/tag550.xml"/><Relationship Id="rId3" Type="http://schemas.openxmlformats.org/officeDocument/2006/relationships/tags" Target="../tags/tag540.xml"/><Relationship Id="rId7" Type="http://schemas.openxmlformats.org/officeDocument/2006/relationships/tags" Target="../tags/tag544.xml"/><Relationship Id="rId12" Type="http://schemas.openxmlformats.org/officeDocument/2006/relationships/tags" Target="../tags/tag549.xml"/><Relationship Id="rId2" Type="http://schemas.openxmlformats.org/officeDocument/2006/relationships/tags" Target="../tags/tag539.xml"/><Relationship Id="rId16" Type="http://schemas.openxmlformats.org/officeDocument/2006/relationships/image" Target="../media/image80.jpeg"/><Relationship Id="rId1" Type="http://schemas.openxmlformats.org/officeDocument/2006/relationships/tags" Target="../tags/tag538.xml"/><Relationship Id="rId6" Type="http://schemas.openxmlformats.org/officeDocument/2006/relationships/tags" Target="../tags/tag543.xml"/><Relationship Id="rId11" Type="http://schemas.openxmlformats.org/officeDocument/2006/relationships/tags" Target="../tags/tag548.xml"/><Relationship Id="rId5" Type="http://schemas.openxmlformats.org/officeDocument/2006/relationships/tags" Target="../tags/tag542.xml"/><Relationship Id="rId15" Type="http://schemas.openxmlformats.org/officeDocument/2006/relationships/slideLayout" Target="../slideLayouts/slideLayout16.xml"/><Relationship Id="rId10" Type="http://schemas.openxmlformats.org/officeDocument/2006/relationships/tags" Target="../tags/tag547.xml"/><Relationship Id="rId4" Type="http://schemas.openxmlformats.org/officeDocument/2006/relationships/tags" Target="../tags/tag541.xml"/><Relationship Id="rId9" Type="http://schemas.openxmlformats.org/officeDocument/2006/relationships/tags" Target="../tags/tag546.xml"/><Relationship Id="rId14" Type="http://schemas.openxmlformats.org/officeDocument/2006/relationships/tags" Target="../tags/tag551.xml"/></Relationships>
</file>

<file path=ppt/slides/_rels/slide47.xml.rels><?xml version="1.0" encoding="UTF-8" standalone="yes"?>
<Relationships xmlns="http://schemas.openxmlformats.org/package/2006/relationships"><Relationship Id="rId8" Type="http://schemas.openxmlformats.org/officeDocument/2006/relationships/tags" Target="../tags/tag559.xml"/><Relationship Id="rId13" Type="http://schemas.openxmlformats.org/officeDocument/2006/relationships/image" Target="../media/image75.jpeg"/><Relationship Id="rId18" Type="http://schemas.microsoft.com/office/2007/relationships/hdphoto" Target="../media/hdphoto1.wdp"/><Relationship Id="rId3" Type="http://schemas.openxmlformats.org/officeDocument/2006/relationships/tags" Target="../tags/tag554.xml"/><Relationship Id="rId7" Type="http://schemas.openxmlformats.org/officeDocument/2006/relationships/tags" Target="../tags/tag558.xml"/><Relationship Id="rId12" Type="http://schemas.openxmlformats.org/officeDocument/2006/relationships/image" Target="../media/image74.jpeg"/><Relationship Id="rId17" Type="http://schemas.openxmlformats.org/officeDocument/2006/relationships/image" Target="../media/image79.png"/><Relationship Id="rId2" Type="http://schemas.openxmlformats.org/officeDocument/2006/relationships/tags" Target="../tags/tag553.xml"/><Relationship Id="rId16" Type="http://schemas.openxmlformats.org/officeDocument/2006/relationships/image" Target="../media/image81.jpeg"/><Relationship Id="rId1" Type="http://schemas.openxmlformats.org/officeDocument/2006/relationships/tags" Target="../tags/tag552.xml"/><Relationship Id="rId6" Type="http://schemas.openxmlformats.org/officeDocument/2006/relationships/tags" Target="../tags/tag557.xml"/><Relationship Id="rId11" Type="http://schemas.openxmlformats.org/officeDocument/2006/relationships/image" Target="../media/image73.png"/><Relationship Id="rId5" Type="http://schemas.openxmlformats.org/officeDocument/2006/relationships/tags" Target="../tags/tag556.xml"/><Relationship Id="rId15" Type="http://schemas.openxmlformats.org/officeDocument/2006/relationships/image" Target="../media/image77.png"/><Relationship Id="rId10" Type="http://schemas.openxmlformats.org/officeDocument/2006/relationships/slideLayout" Target="../slideLayouts/slideLayout16.xml"/><Relationship Id="rId4" Type="http://schemas.openxmlformats.org/officeDocument/2006/relationships/tags" Target="../tags/tag555.xml"/><Relationship Id="rId9" Type="http://schemas.openxmlformats.org/officeDocument/2006/relationships/tags" Target="../tags/tag560.xml"/><Relationship Id="rId14" Type="http://schemas.openxmlformats.org/officeDocument/2006/relationships/image" Target="../media/image76.jpeg"/></Relationships>
</file>

<file path=ppt/slides/_rels/slide48.xml.rels><?xml version="1.0" encoding="UTF-8" standalone="yes"?>
<Relationships xmlns="http://schemas.openxmlformats.org/package/2006/relationships"><Relationship Id="rId8" Type="http://schemas.openxmlformats.org/officeDocument/2006/relationships/tags" Target="../tags/tag568.xml"/><Relationship Id="rId13" Type="http://schemas.openxmlformats.org/officeDocument/2006/relationships/tags" Target="../tags/tag573.xml"/><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tags" Target="../tags/tag572.xml"/><Relationship Id="rId2" Type="http://schemas.openxmlformats.org/officeDocument/2006/relationships/tags" Target="../tags/tag562.xml"/><Relationship Id="rId16" Type="http://schemas.openxmlformats.org/officeDocument/2006/relationships/image" Target="../media/image82.jpeg"/><Relationship Id="rId1" Type="http://schemas.openxmlformats.org/officeDocument/2006/relationships/tags" Target="../tags/tag561.xml"/><Relationship Id="rId6" Type="http://schemas.openxmlformats.org/officeDocument/2006/relationships/tags" Target="../tags/tag566.xml"/><Relationship Id="rId11" Type="http://schemas.openxmlformats.org/officeDocument/2006/relationships/tags" Target="../tags/tag571.xml"/><Relationship Id="rId5" Type="http://schemas.openxmlformats.org/officeDocument/2006/relationships/tags" Target="../tags/tag565.xml"/><Relationship Id="rId15" Type="http://schemas.openxmlformats.org/officeDocument/2006/relationships/slideLayout" Target="../slideLayouts/slideLayout16.xml"/><Relationship Id="rId10" Type="http://schemas.openxmlformats.org/officeDocument/2006/relationships/tags" Target="../tags/tag570.xml"/><Relationship Id="rId4" Type="http://schemas.openxmlformats.org/officeDocument/2006/relationships/tags" Target="../tags/tag564.xml"/><Relationship Id="rId9" Type="http://schemas.openxmlformats.org/officeDocument/2006/relationships/tags" Target="../tags/tag569.xml"/><Relationship Id="rId14" Type="http://schemas.openxmlformats.org/officeDocument/2006/relationships/tags" Target="../tags/tag574.xml"/></Relationships>
</file>

<file path=ppt/slides/_rels/slide49.xml.rels><?xml version="1.0" encoding="UTF-8" standalone="yes"?>
<Relationships xmlns="http://schemas.openxmlformats.org/package/2006/relationships"><Relationship Id="rId8" Type="http://schemas.openxmlformats.org/officeDocument/2006/relationships/tags" Target="../tags/tag582.xml"/><Relationship Id="rId13" Type="http://schemas.openxmlformats.org/officeDocument/2006/relationships/image" Target="../media/image75.jpeg"/><Relationship Id="rId18" Type="http://schemas.microsoft.com/office/2007/relationships/hdphoto" Target="../media/hdphoto1.wdp"/><Relationship Id="rId3" Type="http://schemas.openxmlformats.org/officeDocument/2006/relationships/tags" Target="../tags/tag577.xml"/><Relationship Id="rId7" Type="http://schemas.openxmlformats.org/officeDocument/2006/relationships/tags" Target="../tags/tag581.xml"/><Relationship Id="rId12" Type="http://schemas.openxmlformats.org/officeDocument/2006/relationships/image" Target="../media/image74.jpeg"/><Relationship Id="rId17" Type="http://schemas.openxmlformats.org/officeDocument/2006/relationships/image" Target="../media/image79.png"/><Relationship Id="rId2" Type="http://schemas.openxmlformats.org/officeDocument/2006/relationships/tags" Target="../tags/tag576.xml"/><Relationship Id="rId16" Type="http://schemas.openxmlformats.org/officeDocument/2006/relationships/image" Target="../media/image81.jpeg"/><Relationship Id="rId1" Type="http://schemas.openxmlformats.org/officeDocument/2006/relationships/tags" Target="../tags/tag575.xml"/><Relationship Id="rId6" Type="http://schemas.openxmlformats.org/officeDocument/2006/relationships/tags" Target="../tags/tag580.xml"/><Relationship Id="rId11" Type="http://schemas.openxmlformats.org/officeDocument/2006/relationships/image" Target="../media/image73.png"/><Relationship Id="rId5" Type="http://schemas.openxmlformats.org/officeDocument/2006/relationships/tags" Target="../tags/tag579.xml"/><Relationship Id="rId15" Type="http://schemas.openxmlformats.org/officeDocument/2006/relationships/image" Target="../media/image77.png"/><Relationship Id="rId10" Type="http://schemas.openxmlformats.org/officeDocument/2006/relationships/slideLayout" Target="../slideLayouts/slideLayout16.xml"/><Relationship Id="rId4" Type="http://schemas.openxmlformats.org/officeDocument/2006/relationships/tags" Target="../tags/tag578.xml"/><Relationship Id="rId9" Type="http://schemas.openxmlformats.org/officeDocument/2006/relationships/tags" Target="../tags/tag583.xml"/><Relationship Id="rId14" Type="http://schemas.openxmlformats.org/officeDocument/2006/relationships/image" Target="../media/image76.jpeg"/></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8" Type="http://schemas.openxmlformats.org/officeDocument/2006/relationships/tags" Target="../tags/tag591.xml"/><Relationship Id="rId13" Type="http://schemas.openxmlformats.org/officeDocument/2006/relationships/tags" Target="../tags/tag596.xml"/><Relationship Id="rId18" Type="http://schemas.openxmlformats.org/officeDocument/2006/relationships/tags" Target="../tags/tag601.xml"/><Relationship Id="rId3" Type="http://schemas.openxmlformats.org/officeDocument/2006/relationships/tags" Target="../tags/tag586.xml"/><Relationship Id="rId21" Type="http://schemas.openxmlformats.org/officeDocument/2006/relationships/slideLayout" Target="../slideLayouts/slideLayout16.xml"/><Relationship Id="rId7" Type="http://schemas.openxmlformats.org/officeDocument/2006/relationships/tags" Target="../tags/tag590.xml"/><Relationship Id="rId12" Type="http://schemas.openxmlformats.org/officeDocument/2006/relationships/tags" Target="../tags/tag595.xml"/><Relationship Id="rId17" Type="http://schemas.openxmlformats.org/officeDocument/2006/relationships/tags" Target="../tags/tag600.xml"/><Relationship Id="rId2" Type="http://schemas.openxmlformats.org/officeDocument/2006/relationships/tags" Target="../tags/tag585.xml"/><Relationship Id="rId16" Type="http://schemas.openxmlformats.org/officeDocument/2006/relationships/tags" Target="../tags/tag599.xml"/><Relationship Id="rId20" Type="http://schemas.openxmlformats.org/officeDocument/2006/relationships/tags" Target="../tags/tag603.xml"/><Relationship Id="rId1" Type="http://schemas.openxmlformats.org/officeDocument/2006/relationships/tags" Target="../tags/tag584.xml"/><Relationship Id="rId6" Type="http://schemas.openxmlformats.org/officeDocument/2006/relationships/tags" Target="../tags/tag589.xml"/><Relationship Id="rId11" Type="http://schemas.openxmlformats.org/officeDocument/2006/relationships/tags" Target="../tags/tag594.xml"/><Relationship Id="rId5" Type="http://schemas.openxmlformats.org/officeDocument/2006/relationships/tags" Target="../tags/tag588.xml"/><Relationship Id="rId15" Type="http://schemas.openxmlformats.org/officeDocument/2006/relationships/tags" Target="../tags/tag598.xml"/><Relationship Id="rId10" Type="http://schemas.openxmlformats.org/officeDocument/2006/relationships/tags" Target="../tags/tag593.xml"/><Relationship Id="rId19" Type="http://schemas.openxmlformats.org/officeDocument/2006/relationships/tags" Target="../tags/tag602.xml"/><Relationship Id="rId4" Type="http://schemas.openxmlformats.org/officeDocument/2006/relationships/tags" Target="../tags/tag587.xml"/><Relationship Id="rId9" Type="http://schemas.openxmlformats.org/officeDocument/2006/relationships/tags" Target="../tags/tag592.xml"/><Relationship Id="rId14" Type="http://schemas.openxmlformats.org/officeDocument/2006/relationships/tags" Target="../tags/tag597.xml"/><Relationship Id="rId22" Type="http://schemas.openxmlformats.org/officeDocument/2006/relationships/image" Target="../media/image83.jpeg"/></Relationships>
</file>

<file path=ppt/slides/_rels/slide51.xml.rels><?xml version="1.0" encoding="UTF-8" standalone="yes"?>
<Relationships xmlns="http://schemas.openxmlformats.org/package/2006/relationships"><Relationship Id="rId8" Type="http://schemas.openxmlformats.org/officeDocument/2006/relationships/tags" Target="../tags/tag611.xml"/><Relationship Id="rId13" Type="http://schemas.openxmlformats.org/officeDocument/2006/relationships/image" Target="../media/image75.jpeg"/><Relationship Id="rId18" Type="http://schemas.microsoft.com/office/2007/relationships/hdphoto" Target="../media/hdphoto1.wdp"/><Relationship Id="rId3" Type="http://schemas.openxmlformats.org/officeDocument/2006/relationships/tags" Target="../tags/tag606.xml"/><Relationship Id="rId7" Type="http://schemas.openxmlformats.org/officeDocument/2006/relationships/tags" Target="../tags/tag610.xml"/><Relationship Id="rId12" Type="http://schemas.openxmlformats.org/officeDocument/2006/relationships/image" Target="../media/image74.jpeg"/><Relationship Id="rId17" Type="http://schemas.openxmlformats.org/officeDocument/2006/relationships/image" Target="../media/image79.png"/><Relationship Id="rId2" Type="http://schemas.openxmlformats.org/officeDocument/2006/relationships/tags" Target="../tags/tag605.xml"/><Relationship Id="rId16" Type="http://schemas.openxmlformats.org/officeDocument/2006/relationships/image" Target="../media/image81.jpeg"/><Relationship Id="rId1" Type="http://schemas.openxmlformats.org/officeDocument/2006/relationships/tags" Target="../tags/tag604.xml"/><Relationship Id="rId6" Type="http://schemas.openxmlformats.org/officeDocument/2006/relationships/tags" Target="../tags/tag609.xml"/><Relationship Id="rId11" Type="http://schemas.openxmlformats.org/officeDocument/2006/relationships/image" Target="../media/image73.png"/><Relationship Id="rId5" Type="http://schemas.openxmlformats.org/officeDocument/2006/relationships/tags" Target="../tags/tag608.xml"/><Relationship Id="rId15" Type="http://schemas.openxmlformats.org/officeDocument/2006/relationships/image" Target="../media/image77.png"/><Relationship Id="rId10" Type="http://schemas.openxmlformats.org/officeDocument/2006/relationships/slideLayout" Target="../slideLayouts/slideLayout16.xml"/><Relationship Id="rId4" Type="http://schemas.openxmlformats.org/officeDocument/2006/relationships/tags" Target="../tags/tag607.xml"/><Relationship Id="rId9" Type="http://schemas.openxmlformats.org/officeDocument/2006/relationships/tags" Target="../tags/tag612.xml"/><Relationship Id="rId14" Type="http://schemas.openxmlformats.org/officeDocument/2006/relationships/image" Target="../media/image76.jpeg"/></Relationships>
</file>

<file path=ppt/slides/_rels/slide52.xml.rels><?xml version="1.0" encoding="UTF-8" standalone="yes"?>
<Relationships xmlns="http://schemas.openxmlformats.org/package/2006/relationships"><Relationship Id="rId8" Type="http://schemas.openxmlformats.org/officeDocument/2006/relationships/tags" Target="../tags/tag620.xml"/><Relationship Id="rId13" Type="http://schemas.openxmlformats.org/officeDocument/2006/relationships/tags" Target="../tags/tag625.xml"/><Relationship Id="rId3" Type="http://schemas.openxmlformats.org/officeDocument/2006/relationships/tags" Target="../tags/tag615.xml"/><Relationship Id="rId7" Type="http://schemas.openxmlformats.org/officeDocument/2006/relationships/tags" Target="../tags/tag619.xml"/><Relationship Id="rId12" Type="http://schemas.openxmlformats.org/officeDocument/2006/relationships/tags" Target="../tags/tag624.xml"/><Relationship Id="rId17" Type="http://schemas.microsoft.com/office/2007/relationships/hdphoto" Target="../media/hdphoto1.wdp"/><Relationship Id="rId2" Type="http://schemas.openxmlformats.org/officeDocument/2006/relationships/tags" Target="../tags/tag614.xml"/><Relationship Id="rId16" Type="http://schemas.openxmlformats.org/officeDocument/2006/relationships/image" Target="../media/image84.png"/><Relationship Id="rId1" Type="http://schemas.openxmlformats.org/officeDocument/2006/relationships/tags" Target="../tags/tag613.xml"/><Relationship Id="rId6" Type="http://schemas.openxmlformats.org/officeDocument/2006/relationships/tags" Target="../tags/tag618.xml"/><Relationship Id="rId11" Type="http://schemas.openxmlformats.org/officeDocument/2006/relationships/tags" Target="../tags/tag623.xml"/><Relationship Id="rId5" Type="http://schemas.openxmlformats.org/officeDocument/2006/relationships/tags" Target="../tags/tag617.xml"/><Relationship Id="rId15" Type="http://schemas.openxmlformats.org/officeDocument/2006/relationships/slideLayout" Target="../slideLayouts/slideLayout16.xml"/><Relationship Id="rId10" Type="http://schemas.openxmlformats.org/officeDocument/2006/relationships/tags" Target="../tags/tag622.xml"/><Relationship Id="rId4" Type="http://schemas.openxmlformats.org/officeDocument/2006/relationships/tags" Target="../tags/tag616.xml"/><Relationship Id="rId9" Type="http://schemas.openxmlformats.org/officeDocument/2006/relationships/tags" Target="../tags/tag621.xml"/><Relationship Id="rId14" Type="http://schemas.openxmlformats.org/officeDocument/2006/relationships/tags" Target="../tags/tag626.xml"/></Relationships>
</file>

<file path=ppt/slides/_rels/slide53.xml.rels><?xml version="1.0" encoding="UTF-8" standalone="yes"?>
<Relationships xmlns="http://schemas.openxmlformats.org/package/2006/relationships"><Relationship Id="rId8" Type="http://schemas.openxmlformats.org/officeDocument/2006/relationships/tags" Target="../tags/tag634.xml"/><Relationship Id="rId13" Type="http://schemas.openxmlformats.org/officeDocument/2006/relationships/image" Target="../media/image75.jpeg"/><Relationship Id="rId3" Type="http://schemas.openxmlformats.org/officeDocument/2006/relationships/tags" Target="../tags/tag629.xml"/><Relationship Id="rId7" Type="http://schemas.openxmlformats.org/officeDocument/2006/relationships/tags" Target="../tags/tag633.xml"/><Relationship Id="rId12" Type="http://schemas.openxmlformats.org/officeDocument/2006/relationships/image" Target="../media/image74.jpeg"/><Relationship Id="rId17" Type="http://schemas.openxmlformats.org/officeDocument/2006/relationships/image" Target="../media/image85.png"/><Relationship Id="rId2" Type="http://schemas.openxmlformats.org/officeDocument/2006/relationships/tags" Target="../tags/tag628.xml"/><Relationship Id="rId16" Type="http://schemas.openxmlformats.org/officeDocument/2006/relationships/image" Target="../media/image81.jpeg"/><Relationship Id="rId1" Type="http://schemas.openxmlformats.org/officeDocument/2006/relationships/tags" Target="../tags/tag627.xml"/><Relationship Id="rId6" Type="http://schemas.openxmlformats.org/officeDocument/2006/relationships/tags" Target="../tags/tag632.xml"/><Relationship Id="rId11" Type="http://schemas.openxmlformats.org/officeDocument/2006/relationships/image" Target="../media/image73.png"/><Relationship Id="rId5" Type="http://schemas.openxmlformats.org/officeDocument/2006/relationships/tags" Target="../tags/tag631.xml"/><Relationship Id="rId15" Type="http://schemas.openxmlformats.org/officeDocument/2006/relationships/image" Target="../media/image77.png"/><Relationship Id="rId10" Type="http://schemas.openxmlformats.org/officeDocument/2006/relationships/slideLayout" Target="../slideLayouts/slideLayout16.xml"/><Relationship Id="rId4" Type="http://schemas.openxmlformats.org/officeDocument/2006/relationships/tags" Target="../tags/tag630.xml"/><Relationship Id="rId9" Type="http://schemas.openxmlformats.org/officeDocument/2006/relationships/tags" Target="../tags/tag635.xml"/><Relationship Id="rId14" Type="http://schemas.openxmlformats.org/officeDocument/2006/relationships/image" Target="../media/image76.jpeg"/></Relationships>
</file>

<file path=ppt/slides/_rels/slide54.xml.rels><?xml version="1.0" encoding="UTF-8" standalone="yes"?>
<Relationships xmlns="http://schemas.openxmlformats.org/package/2006/relationships"><Relationship Id="rId8" Type="http://schemas.openxmlformats.org/officeDocument/2006/relationships/tags" Target="../tags/tag643.xml"/><Relationship Id="rId13" Type="http://schemas.openxmlformats.org/officeDocument/2006/relationships/tags" Target="../tags/tag648.xml"/><Relationship Id="rId3" Type="http://schemas.openxmlformats.org/officeDocument/2006/relationships/tags" Target="../tags/tag638.xml"/><Relationship Id="rId7" Type="http://schemas.openxmlformats.org/officeDocument/2006/relationships/tags" Target="../tags/tag642.xml"/><Relationship Id="rId12" Type="http://schemas.openxmlformats.org/officeDocument/2006/relationships/tags" Target="../tags/tag647.xml"/><Relationship Id="rId2" Type="http://schemas.openxmlformats.org/officeDocument/2006/relationships/tags" Target="../tags/tag637.xml"/><Relationship Id="rId16" Type="http://schemas.openxmlformats.org/officeDocument/2006/relationships/image" Target="../media/image86.jpeg"/><Relationship Id="rId1" Type="http://schemas.openxmlformats.org/officeDocument/2006/relationships/tags" Target="../tags/tag636.xml"/><Relationship Id="rId6" Type="http://schemas.openxmlformats.org/officeDocument/2006/relationships/tags" Target="../tags/tag641.xml"/><Relationship Id="rId11" Type="http://schemas.openxmlformats.org/officeDocument/2006/relationships/tags" Target="../tags/tag646.xml"/><Relationship Id="rId5" Type="http://schemas.openxmlformats.org/officeDocument/2006/relationships/tags" Target="../tags/tag640.xml"/><Relationship Id="rId15" Type="http://schemas.openxmlformats.org/officeDocument/2006/relationships/slideLayout" Target="../slideLayouts/slideLayout16.xml"/><Relationship Id="rId10" Type="http://schemas.openxmlformats.org/officeDocument/2006/relationships/tags" Target="../tags/tag645.xml"/><Relationship Id="rId4" Type="http://schemas.openxmlformats.org/officeDocument/2006/relationships/tags" Target="../tags/tag639.xml"/><Relationship Id="rId9" Type="http://schemas.openxmlformats.org/officeDocument/2006/relationships/tags" Target="../tags/tag644.xml"/><Relationship Id="rId14" Type="http://schemas.openxmlformats.org/officeDocument/2006/relationships/tags" Target="../tags/tag649.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651.xml"/><Relationship Id="rId1" Type="http://schemas.openxmlformats.org/officeDocument/2006/relationships/tags" Target="../tags/tag650.xml"/><Relationship Id="rId4" Type="http://schemas.openxmlformats.org/officeDocument/2006/relationships/image" Target="../media/image62.jpeg"/></Relationships>
</file>

<file path=ppt/slides/_rels/slide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b="15533"/>
          <a:stretch/>
        </p:blipFill>
        <p:spPr>
          <a:xfrm>
            <a:off x="-19050" y="-25401"/>
            <a:ext cx="12249149" cy="6896101"/>
          </a:xfrm>
          <a:prstGeom prst="rect">
            <a:avLst/>
          </a:prstGeom>
          <a:solidFill>
            <a:srgbClr val="999999"/>
          </a:solidFill>
        </p:spPr>
      </p:pic>
      <p:sp>
        <p:nvSpPr>
          <p:cNvPr id="4" name="Text Box 2"/>
          <p:cNvSpPr txBox="1">
            <a:spLocks noChangeArrowheads="1"/>
          </p:cNvSpPr>
          <p:nvPr/>
        </p:nvSpPr>
        <p:spPr bwMode="auto">
          <a:xfrm>
            <a:off x="-19051" y="5629275"/>
            <a:ext cx="12249149" cy="1241425"/>
          </a:xfrm>
          <a:prstGeom prst="rect">
            <a:avLst/>
          </a:prstGeom>
          <a:solidFill>
            <a:srgbClr val="808080">
              <a:alpha val="80000"/>
            </a:srgbClr>
          </a:solidFill>
          <a:ln w="9525">
            <a:noFill/>
            <a:miter lim="800000"/>
            <a:headEnd/>
            <a:tailEnd/>
          </a:ln>
        </p:spPr>
        <p:txBody>
          <a:bodyPr rot="0" vert="horz" wrap="square" lIns="540000" tIns="0" rIns="540000" bIns="0" anchor="ctr" anchorCtr="0">
            <a:noAutofit/>
          </a:bodyPr>
          <a:lstStyle/>
          <a:p>
            <a:pPr>
              <a:tabLst>
                <a:tab pos="4371975" algn="l"/>
                <a:tab pos="11517313" algn="r"/>
              </a:tabLst>
            </a:pPr>
            <a:r>
              <a:rPr lang="fr-CA" sz="2400" b="1" dirty="0" smtClean="0">
                <a:solidFill>
                  <a:srgbClr val="FFFFFF"/>
                </a:solidFill>
                <a:latin typeface="EYInterstate Light" panose="02000506000000020004" pitchFamily="2" charset="0"/>
                <a:ea typeface="Times New Roman" panose="02020603050405020304" pitchFamily="18" charset="0"/>
                <a:cs typeface="Arial" panose="020B0604020202020204" pitchFamily="34" charset="0"/>
              </a:rPr>
              <a:t>Projet </a:t>
            </a:r>
            <a:r>
              <a:rPr lang="fr-CA" sz="2400" b="1" dirty="0" err="1" smtClean="0">
                <a:solidFill>
                  <a:srgbClr val="FFFFFF"/>
                </a:solidFill>
                <a:latin typeface="EYInterstate Light" panose="02000506000000020004" pitchFamily="2" charset="0"/>
                <a:ea typeface="Times New Roman" panose="02020603050405020304" pitchFamily="18" charset="0"/>
                <a:cs typeface="Arial" panose="020B0604020202020204" pitchFamily="34" charset="0"/>
              </a:rPr>
              <a:t>ProchaineGen</a:t>
            </a:r>
            <a:r>
              <a:rPr lang="fr-CA" sz="2400" b="1" dirty="0" smtClean="0">
                <a:solidFill>
                  <a:srgbClr val="FFFFFF"/>
                </a:solidFill>
                <a:latin typeface="EYInterstate Light" panose="02000506000000020004" pitchFamily="2" charset="0"/>
                <a:ea typeface="Times New Roman" panose="02020603050405020304" pitchFamily="18" charset="0"/>
                <a:cs typeface="Arial" panose="020B0604020202020204" pitchFamily="34" charset="0"/>
              </a:rPr>
              <a:t> RH </a:t>
            </a:r>
            <a:r>
              <a:rPr lang="fr-CA" sz="2400" b="1" dirty="0">
                <a:solidFill>
                  <a:srgbClr val="FFFFFF"/>
                </a:solidFill>
                <a:latin typeface="EYInterstate Light" panose="02000506000000020004" pitchFamily="2" charset="0"/>
                <a:ea typeface="Times New Roman" panose="02020603050405020304" pitchFamily="18" charset="0"/>
                <a:cs typeface="Arial" panose="020B0604020202020204" pitchFamily="34" charset="0"/>
              </a:rPr>
              <a:t>et </a:t>
            </a:r>
            <a:r>
              <a:rPr lang="fr-CA" sz="2400" b="1" dirty="0" smtClean="0">
                <a:solidFill>
                  <a:srgbClr val="FFFFFF"/>
                </a:solidFill>
                <a:latin typeface="EYInterstate Light" panose="02000506000000020004" pitchFamily="2" charset="0"/>
                <a:ea typeface="Times New Roman" panose="02020603050405020304" pitchFamily="18" charset="0"/>
                <a:cs typeface="Arial" panose="020B0604020202020204" pitchFamily="34" charset="0"/>
              </a:rPr>
              <a:t>paye – Atelier de mobilisation des employés</a:t>
            </a:r>
            <a:endParaRPr lang="fr-CA" sz="2400" b="1" dirty="0">
              <a:solidFill>
                <a:srgbClr val="FFFFFF"/>
              </a:solidFill>
              <a:latin typeface="EYInterstate Light" panose="02000506000000020004" pitchFamily="2" charset="0"/>
              <a:ea typeface="Times New Roman" panose="02020603050405020304" pitchFamily="18" charset="0"/>
              <a:cs typeface="Arial" panose="020B0604020202020204" pitchFamily="34" charset="0"/>
            </a:endParaRPr>
          </a:p>
          <a:p>
            <a:pPr>
              <a:tabLst>
                <a:tab pos="4371975" algn="l"/>
                <a:tab pos="11517313" algn="r"/>
              </a:tabLst>
            </a:pPr>
            <a:r>
              <a:rPr lang="fr-CA" sz="2400" baseline="4000" smtClean="0">
                <a:solidFill>
                  <a:srgbClr val="FFFFFF"/>
                </a:solidFill>
                <a:latin typeface="EYInterstate Light" panose="02000506000000020004" pitchFamily="2" charset="0"/>
                <a:ea typeface="Times New Roman" panose="02020603050405020304" pitchFamily="18" charset="0"/>
                <a:cs typeface="Arial" panose="020B0604020202020204" pitchFamily="34" charset="0"/>
              </a:rPr>
              <a:t>Go</a:t>
            </a:r>
            <a:r>
              <a:rPr lang="fr-CA" sz="2400" baseline="4000" smtClean="0">
                <a:solidFill>
                  <a:srgbClr val="FFFFFF"/>
                </a:solidFill>
                <a:latin typeface="EYInterstate Light" panose="02000506000000020004" pitchFamily="2" charset="0"/>
                <a:ea typeface="Times New Roman" panose="02020603050405020304" pitchFamily="18" charset="0"/>
                <a:cs typeface="Arial" panose="020B0604020202020204" pitchFamily="34" charset="0"/>
              </a:rPr>
              <a:t>uvernement </a:t>
            </a:r>
            <a:r>
              <a:rPr lang="fr-CA" sz="2400" baseline="4000" dirty="0" smtClean="0">
                <a:solidFill>
                  <a:srgbClr val="FFFFFF"/>
                </a:solidFill>
                <a:latin typeface="EYInterstate Light" panose="02000506000000020004" pitchFamily="2" charset="0"/>
                <a:ea typeface="Times New Roman" panose="02020603050405020304" pitchFamily="18" charset="0"/>
                <a:cs typeface="Arial" panose="020B0604020202020204" pitchFamily="34" charset="0"/>
              </a:rPr>
              <a:t>du Canada    </a:t>
            </a:r>
            <a:r>
              <a:rPr lang="fr-CA" baseline="8000" dirty="0" smtClean="0">
                <a:solidFill>
                  <a:srgbClr val="FFFFFF"/>
                </a:solidFill>
                <a:latin typeface="EYInterstate Light" panose="02000506000000020004" pitchFamily="2" charset="0"/>
                <a:ea typeface="Times New Roman" panose="02020603050405020304" pitchFamily="18" charset="0"/>
                <a:cs typeface="Arial" panose="020B0604020202020204" pitchFamily="34" charset="0"/>
              </a:rPr>
              <a:t>|    Le 20 septembre 2018</a:t>
            </a:r>
            <a:endParaRPr lang="fr-CA" sz="2400" baseline="8000" dirty="0">
              <a:solidFill>
                <a:srgbClr val="999999"/>
              </a:solidFill>
              <a:effectLst/>
              <a:latin typeface="EYInterstate Light" panose="02000506000000020004" pitchFamily="2" charset="0"/>
              <a:ea typeface="Times New Roman" panose="02020603050405020304" pitchFamily="18" charset="0"/>
              <a:cs typeface="Arial" panose="020B0604020202020204" pitchFamily="34" charset="0"/>
            </a:endParaRPr>
          </a:p>
        </p:txBody>
      </p:sp>
      <p:cxnSp>
        <p:nvCxnSpPr>
          <p:cNvPr id="6" name="Straight Connector 5"/>
          <p:cNvCxnSpPr/>
          <p:nvPr/>
        </p:nvCxnSpPr>
        <p:spPr>
          <a:xfrm flipH="1">
            <a:off x="-19051" y="5629274"/>
            <a:ext cx="12249149"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977988" y="3244334"/>
            <a:ext cx="242374" cy="369332"/>
          </a:xfrm>
          <a:prstGeom prst="rect">
            <a:avLst/>
          </a:prstGeom>
        </p:spPr>
        <p:txBody>
          <a:bodyPr wrap="none">
            <a:spAutoFit/>
          </a:bodyPr>
          <a:lstStyle/>
          <a:p>
            <a:r>
              <a:rPr lang="en-CA" dirty="0">
                <a:solidFill>
                  <a:srgbClr val="000000"/>
                </a:solidFill>
                <a:latin typeface="Times New Roman" panose="02020603050405020304" pitchFamily="18" charset="0"/>
              </a:rPr>
              <a:t> </a:t>
            </a:r>
            <a:endParaRPr lang="en-CA" dirty="0"/>
          </a:p>
        </p:txBody>
      </p:sp>
      <p:sp>
        <p:nvSpPr>
          <p:cNvPr id="7" name="Rectangle 6"/>
          <p:cNvSpPr/>
          <p:nvPr/>
        </p:nvSpPr>
        <p:spPr>
          <a:xfrm>
            <a:off x="5977988" y="3244334"/>
            <a:ext cx="242374" cy="369332"/>
          </a:xfrm>
          <a:prstGeom prst="rect">
            <a:avLst/>
          </a:prstGeom>
        </p:spPr>
        <p:txBody>
          <a:bodyPr wrap="none">
            <a:spAutoFit/>
          </a:bodyPr>
          <a:lstStyle/>
          <a:p>
            <a:r>
              <a:rPr lang="en-CA" dirty="0">
                <a:solidFill>
                  <a:srgbClr val="000000"/>
                </a:solidFill>
                <a:latin typeface="Times New Roman" panose="02020603050405020304" pitchFamily="18" charset="0"/>
              </a:rPr>
              <a:t> </a:t>
            </a:r>
            <a:endParaRPr lang="en-CA" dirty="0"/>
          </a:p>
        </p:txBody>
      </p:sp>
    </p:spTree>
    <p:extLst>
      <p:ext uri="{BB962C8B-B14F-4D97-AF65-F5344CB8AC3E}">
        <p14:creationId xmlns:p14="http://schemas.microsoft.com/office/powerpoint/2010/main" val="32447184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08308" y="1158049"/>
            <a:ext cx="6459523" cy="5017623"/>
          </a:xfrm>
          <a:prstGeom prst="rect">
            <a:avLst/>
          </a:prstGeom>
        </p:spPr>
      </p:pic>
    </p:spTree>
    <p:extLst>
      <p:ext uri="{BB962C8B-B14F-4D97-AF65-F5344CB8AC3E}">
        <p14:creationId xmlns:p14="http://schemas.microsoft.com/office/powerpoint/2010/main" val="601372785"/>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l="4411" t="9340" r="51" b="10111"/>
          <a:stretch/>
        </p:blipFill>
        <p:spPr>
          <a:xfrm>
            <a:off x="-62593" y="133702"/>
            <a:ext cx="12260943" cy="6886020"/>
          </a:xfrm>
          <a:prstGeom prst="rect">
            <a:avLst/>
          </a:prstGeom>
        </p:spPr>
      </p:pic>
      <p:sp>
        <p:nvSpPr>
          <p:cNvPr id="16" name="Freeform 15"/>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Oval 16"/>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8" name="Freeform 17"/>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Oval 18"/>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1" name="Freeform 20"/>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Oval 21"/>
          <p:cNvSpPr/>
          <p:nvPr/>
        </p:nvSpPr>
        <p:spPr>
          <a:xfrm flipH="1">
            <a:off x="5635434" y="274019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6" name="Freeform 25"/>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Freeform 28"/>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 name="Oval 29"/>
          <p:cNvSpPr/>
          <p:nvPr/>
        </p:nvSpPr>
        <p:spPr>
          <a:xfrm>
            <a:off x="3239417"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7" name="Oval 26"/>
          <p:cNvSpPr/>
          <p:nvPr/>
        </p:nvSpPr>
        <p:spPr>
          <a:xfrm>
            <a:off x="6845197"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8" name="Freeform 27"/>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Freeform 36"/>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chemeClr val="tx1"/>
              </a:solidFill>
            </a:endParaRPr>
          </a:p>
        </p:txBody>
      </p:sp>
      <p:sp>
        <p:nvSpPr>
          <p:cNvPr id="38" name="TextBox 37"/>
          <p:cNvSpPr txBox="1"/>
          <p:nvPr/>
        </p:nvSpPr>
        <p:spPr>
          <a:xfrm>
            <a:off x="0" y="352216"/>
            <a:ext cx="12198350" cy="400110"/>
          </a:xfrm>
          <a:prstGeom prst="rect">
            <a:avLst/>
          </a:prstGeom>
          <a:noFill/>
        </p:spPr>
        <p:txBody>
          <a:bodyPr wrap="square" lIns="0" tIns="0" rIns="0" bIns="0" rtlCol="0" anchor="t" anchorCtr="0">
            <a:spAutoFit/>
          </a:bodyPr>
          <a:lstStyle/>
          <a:p>
            <a:pPr algn="ctr"/>
            <a:r>
              <a:rPr lang="en-GB" sz="2600" dirty="0">
                <a:solidFill>
                  <a:schemeClr val="tx2"/>
                </a:solidFill>
                <a:latin typeface="EYInterstate" panose="02000503020000020004" pitchFamily="2" charset="0"/>
              </a:rPr>
              <a:t>Vision</a:t>
            </a:r>
          </a:p>
        </p:txBody>
      </p:sp>
      <p:sp>
        <p:nvSpPr>
          <p:cNvPr id="23" name="Oval 22"/>
          <p:cNvSpPr/>
          <p:nvPr/>
        </p:nvSpPr>
        <p:spPr>
          <a:xfrm>
            <a:off x="1281818" y="3865854"/>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20" name="Group 19"/>
          <p:cNvGrpSpPr/>
          <p:nvPr/>
        </p:nvGrpSpPr>
        <p:grpSpPr>
          <a:xfrm>
            <a:off x="4303841" y="2870716"/>
            <a:ext cx="585235" cy="585235"/>
            <a:chOff x="3057925" y="3581400"/>
            <a:chExt cx="690010" cy="690010"/>
          </a:xfrm>
        </p:grpSpPr>
        <p:sp>
          <p:nvSpPr>
            <p:cNvPr id="25" name="Oval 24"/>
            <p:cNvSpPr/>
            <p:nvPr/>
          </p:nvSpPr>
          <p:spPr>
            <a:xfrm>
              <a:off x="3057925" y="3581400"/>
              <a:ext cx="690010" cy="69001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chemeClr val="tx1"/>
                </a:solidFill>
              </a:endParaRPr>
            </a:p>
          </p:txBody>
        </p:sp>
        <p:sp>
          <p:nvSpPr>
            <p:cNvPr id="32" name="Text Placeholder 5"/>
            <p:cNvSpPr txBox="1">
              <a:spLocks/>
            </p:cNvSpPr>
            <p:nvPr/>
          </p:nvSpPr>
          <p:spPr>
            <a:xfrm>
              <a:off x="3181612" y="3654246"/>
              <a:ext cx="442635" cy="544317"/>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rgbClr val="4B4B4B"/>
                  </a:solidFill>
                  <a:latin typeface="EYInterstate Light" panose="02000506000000020004" pitchFamily="2" charset="0"/>
                </a:rPr>
                <a:t>3</a:t>
              </a:r>
            </a:p>
          </p:txBody>
        </p:sp>
      </p:grpSp>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Tree>
    <p:extLst>
      <p:ext uri="{BB962C8B-B14F-4D97-AF65-F5344CB8AC3E}">
        <p14:creationId xmlns:p14="http://schemas.microsoft.com/office/powerpoint/2010/main" val="1942310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a:stCxn id="114" idx="5"/>
            <a:endCxn id="123" idx="1"/>
          </p:cNvCxnSpPr>
          <p:nvPr/>
        </p:nvCxnSpPr>
        <p:spPr>
          <a:xfrm>
            <a:off x="2023108" y="2358801"/>
            <a:ext cx="5330876" cy="3304837"/>
          </a:xfrm>
          <a:prstGeom prst="line">
            <a:avLst/>
          </a:prstGeom>
          <a:ln w="19050">
            <a:solidFill>
              <a:schemeClr val="accent4"/>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stCxn id="120" idx="3"/>
            <a:endCxn id="117" idx="7"/>
          </p:cNvCxnSpPr>
          <p:nvPr/>
        </p:nvCxnSpPr>
        <p:spPr>
          <a:xfrm flipH="1">
            <a:off x="2023108" y="2358801"/>
            <a:ext cx="5330876" cy="3247577"/>
          </a:xfrm>
          <a:prstGeom prst="line">
            <a:avLst/>
          </a:prstGeom>
          <a:ln w="19050">
            <a:solidFill>
              <a:schemeClr val="accent4"/>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4629356" y="1339605"/>
            <a:ext cx="2437273" cy="1278643"/>
            <a:chOff x="4820721" y="718649"/>
            <a:chExt cx="2961111" cy="1070735"/>
          </a:xfrm>
        </p:grpSpPr>
        <p:sp>
          <p:nvSpPr>
            <p:cNvPr id="71" name="Rectangle 70"/>
            <p:cNvSpPr/>
            <p:nvPr/>
          </p:nvSpPr>
          <p:spPr>
            <a:xfrm>
              <a:off x="5069686" y="777112"/>
              <a:ext cx="2712146" cy="1012272"/>
            </a:xfrm>
            <a:prstGeom prst="rect">
              <a:avLst/>
            </a:prstGeom>
            <a:noFill/>
          </p:spPr>
          <p:txBody>
            <a:bodyPr wrap="square" lIns="0" tIns="0" rIns="0" bIns="0">
              <a:spAutoFit/>
            </a:bodyPr>
            <a:lstStyle/>
            <a:p>
              <a:pPr defTabSz="810346">
                <a:lnSpc>
                  <a:spcPct val="90000"/>
                </a:lnSpc>
              </a:pPr>
              <a:r>
                <a:rPr lang="fr-CA" sz="2177" kern="0" dirty="0">
                  <a:solidFill>
                    <a:srgbClr val="E60F2D"/>
                  </a:solidFill>
                  <a:latin typeface="EYInterstate Light" panose="02000506000000020004" pitchFamily="2" charset="0"/>
                </a:rPr>
                <a:t>94 % </a:t>
              </a:r>
              <a:r>
                <a:rPr lang="fr-CA" sz="1244" kern="0" dirty="0">
                  <a:solidFill>
                    <a:srgbClr val="4B4B4B"/>
                  </a:solidFill>
                  <a:latin typeface="EYInterstate Light" panose="02000506000000020004" pitchFamily="2" charset="0"/>
                </a:rPr>
                <a:t>des </a:t>
              </a:r>
              <a:r>
                <a:rPr lang="fr-CA" sz="1244" b="1" kern="0" dirty="0">
                  <a:solidFill>
                    <a:srgbClr val="4B4B4B"/>
                  </a:solidFill>
                  <a:latin typeface="EYInterstate Light" panose="02000506000000020004" pitchFamily="2" charset="0"/>
                </a:rPr>
                <a:t>organisations les plus admirées </a:t>
              </a:r>
              <a:r>
                <a:rPr lang="fr-CA" sz="1244" kern="0" dirty="0">
                  <a:solidFill>
                    <a:srgbClr val="4B4B4B"/>
                  </a:solidFill>
                  <a:latin typeface="EYInterstate Light" panose="02000506000000020004" pitchFamily="2" charset="0"/>
                </a:rPr>
                <a:t>dans le monde ont affirmé </a:t>
              </a:r>
              <a:r>
                <a:rPr lang="fr-CA" sz="1398" kern="0" dirty="0">
                  <a:solidFill>
                    <a:srgbClr val="4B4B4B"/>
                  </a:solidFill>
                  <a:latin typeface="EYInterstate Light" panose="02000506000000020004" pitchFamily="2" charset="0"/>
                </a:rPr>
                <a:t>que la mobilisation des </a:t>
              </a:r>
              <a:r>
                <a:rPr lang="fr-CA" sz="1244" kern="0" dirty="0">
                  <a:solidFill>
                    <a:srgbClr val="4B4B4B"/>
                  </a:solidFill>
                  <a:latin typeface="EYInterstate Light" panose="02000506000000020004" pitchFamily="2" charset="0"/>
                </a:rPr>
                <a:t>employés constitue un avantage au plan concurrentiel</a:t>
              </a:r>
            </a:p>
          </p:txBody>
        </p:sp>
        <p:sp>
          <p:nvSpPr>
            <p:cNvPr id="72" name="Freeform 6"/>
            <p:cNvSpPr>
              <a:spLocks noChangeAspect="1" noEditPoints="1"/>
            </p:cNvSpPr>
            <p:nvPr/>
          </p:nvSpPr>
          <p:spPr bwMode="auto">
            <a:xfrm>
              <a:off x="4820721" y="718649"/>
              <a:ext cx="210185" cy="163362"/>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sp>
          <p:nvSpPr>
            <p:cNvPr id="73" name="Freeform 6"/>
            <p:cNvSpPr>
              <a:spLocks noChangeAspect="1" noEditPoints="1"/>
            </p:cNvSpPr>
            <p:nvPr/>
          </p:nvSpPr>
          <p:spPr bwMode="auto">
            <a:xfrm rot="10800000">
              <a:off x="6142139" y="1535684"/>
              <a:ext cx="210185" cy="163363"/>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grpSp>
      <p:grpSp>
        <p:nvGrpSpPr>
          <p:cNvPr id="74" name="Group 73"/>
          <p:cNvGrpSpPr/>
          <p:nvPr/>
        </p:nvGrpSpPr>
        <p:grpSpPr>
          <a:xfrm>
            <a:off x="6749016" y="2934479"/>
            <a:ext cx="2572044" cy="531256"/>
            <a:chOff x="4684894" y="718649"/>
            <a:chExt cx="3227963" cy="539591"/>
          </a:xfrm>
        </p:grpSpPr>
        <p:sp>
          <p:nvSpPr>
            <p:cNvPr id="75" name="Rectangle 74"/>
            <p:cNvSpPr/>
            <p:nvPr/>
          </p:nvSpPr>
          <p:spPr>
            <a:xfrm>
              <a:off x="4684894" y="777112"/>
              <a:ext cx="3227963" cy="461551"/>
            </a:xfrm>
            <a:prstGeom prst="rect">
              <a:avLst/>
            </a:prstGeom>
            <a:noFill/>
          </p:spPr>
          <p:txBody>
            <a:bodyPr wrap="square" lIns="0" tIns="0" rIns="0" bIns="0">
              <a:spAutoFit/>
            </a:bodyPr>
            <a:lstStyle/>
            <a:p>
              <a:pPr defTabSz="810346">
                <a:lnSpc>
                  <a:spcPct val="90000"/>
                </a:lnSpc>
              </a:pPr>
              <a:r>
                <a:rPr lang="fr-CA" sz="1244" kern="0" dirty="0">
                  <a:solidFill>
                    <a:srgbClr val="4B4B4B"/>
                  </a:solidFill>
                  <a:latin typeface="EYInterstate Light" panose="02000506000000020004" pitchFamily="2" charset="0"/>
                </a:rPr>
                <a:t>La probabilité du départ baisse de </a:t>
              </a:r>
              <a:r>
                <a:rPr lang="en-GB" sz="2000" kern="0" dirty="0">
                  <a:solidFill>
                    <a:srgbClr val="E60F2D"/>
                  </a:solidFill>
                  <a:latin typeface="EYInterstate Light" panose="02000506000000020004" pitchFamily="2" charset="0"/>
                </a:rPr>
                <a:t>87 % </a:t>
              </a:r>
              <a:r>
                <a:rPr lang="fr-CA" sz="1200" kern="0" dirty="0">
                  <a:solidFill>
                    <a:srgbClr val="000000"/>
                  </a:solidFill>
                  <a:latin typeface="EYInterstate Light" panose="02000506000000020004" pitchFamily="2" charset="0"/>
                </a:rPr>
                <a:t>si la personne est mobilisée</a:t>
              </a:r>
            </a:p>
          </p:txBody>
        </p:sp>
        <p:sp>
          <p:nvSpPr>
            <p:cNvPr id="76" name="Freeform 6"/>
            <p:cNvSpPr>
              <a:spLocks noChangeAspect="1" noEditPoints="1"/>
            </p:cNvSpPr>
            <p:nvPr/>
          </p:nvSpPr>
          <p:spPr bwMode="auto">
            <a:xfrm>
              <a:off x="4820721" y="718649"/>
              <a:ext cx="210185" cy="163362"/>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sp>
          <p:nvSpPr>
            <p:cNvPr id="77" name="Freeform 6"/>
            <p:cNvSpPr>
              <a:spLocks noChangeAspect="1" noEditPoints="1"/>
            </p:cNvSpPr>
            <p:nvPr/>
          </p:nvSpPr>
          <p:spPr bwMode="auto">
            <a:xfrm rot="10800000">
              <a:off x="6718226" y="1094877"/>
              <a:ext cx="210185" cy="163363"/>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grpSp>
      <p:grpSp>
        <p:nvGrpSpPr>
          <p:cNvPr id="78" name="Group 77"/>
          <p:cNvGrpSpPr/>
          <p:nvPr/>
        </p:nvGrpSpPr>
        <p:grpSpPr>
          <a:xfrm>
            <a:off x="4342019" y="5901730"/>
            <a:ext cx="3252582" cy="582968"/>
            <a:chOff x="5782201" y="1677434"/>
            <a:chExt cx="3418087" cy="749976"/>
          </a:xfrm>
        </p:grpSpPr>
        <p:grpSp>
          <p:nvGrpSpPr>
            <p:cNvPr id="80" name="Group 79"/>
            <p:cNvGrpSpPr/>
            <p:nvPr/>
          </p:nvGrpSpPr>
          <p:grpSpPr>
            <a:xfrm>
              <a:off x="5782201" y="1677434"/>
              <a:ext cx="3418087" cy="720919"/>
              <a:chOff x="4380084" y="718649"/>
              <a:chExt cx="3877679" cy="817854"/>
            </a:xfrm>
          </p:grpSpPr>
          <p:sp>
            <p:nvSpPr>
              <p:cNvPr id="82" name="Rectangle 81"/>
              <p:cNvSpPr/>
              <p:nvPr/>
            </p:nvSpPr>
            <p:spPr>
              <a:xfrm>
                <a:off x="4380084" y="720481"/>
                <a:ext cx="3877679" cy="816022"/>
              </a:xfrm>
              <a:prstGeom prst="rect">
                <a:avLst/>
              </a:prstGeom>
              <a:noFill/>
            </p:spPr>
            <p:txBody>
              <a:bodyPr wrap="square" lIns="0" tIns="0" rIns="0" bIns="0">
                <a:spAutoFit/>
              </a:bodyPr>
              <a:lstStyle/>
              <a:p>
                <a:pPr defTabSz="810346">
                  <a:lnSpc>
                    <a:spcPct val="90000"/>
                  </a:lnSpc>
                </a:pPr>
                <a:r>
                  <a:rPr lang="fr-CA" sz="1244" kern="0" dirty="0">
                    <a:solidFill>
                      <a:srgbClr val="4B4B4B"/>
                    </a:solidFill>
                    <a:latin typeface="EYInterstate Light" panose="02000506000000020004" pitchFamily="2" charset="0"/>
                  </a:rPr>
                  <a:t>74 % des membres de la </a:t>
                </a:r>
                <a:r>
                  <a:rPr lang="fr-CA" sz="2000" kern="0" dirty="0">
                    <a:solidFill>
                      <a:srgbClr val="E60F2D"/>
                    </a:solidFill>
                    <a:latin typeface="EYInterstate Light" panose="02000506000000020004" pitchFamily="2" charset="0"/>
                  </a:rPr>
                  <a:t>génération Z</a:t>
                </a:r>
              </a:p>
              <a:p>
                <a:pPr defTabSz="810346">
                  <a:lnSpc>
                    <a:spcPct val="90000"/>
                  </a:lnSpc>
                </a:pPr>
                <a:endParaRPr lang="fr-CA" sz="2000" kern="0" dirty="0">
                  <a:solidFill>
                    <a:srgbClr val="E60F2D"/>
                  </a:solidFill>
                  <a:latin typeface="EYInterstate Light" panose="02000506000000020004" pitchFamily="2" charset="0"/>
                </a:endParaRPr>
              </a:p>
            </p:txBody>
          </p:sp>
          <p:sp>
            <p:nvSpPr>
              <p:cNvPr id="84" name="Rectangle 83"/>
              <p:cNvSpPr/>
              <p:nvPr/>
            </p:nvSpPr>
            <p:spPr>
              <a:xfrm>
                <a:off x="4820721" y="1035978"/>
                <a:ext cx="3112218" cy="279638"/>
              </a:xfrm>
              <a:prstGeom prst="rect">
                <a:avLst/>
              </a:prstGeom>
              <a:noFill/>
            </p:spPr>
            <p:txBody>
              <a:bodyPr wrap="square" lIns="81063" tIns="40532" rIns="81063" bIns="40532">
                <a:spAutoFit/>
              </a:bodyPr>
              <a:lstStyle/>
              <a:p>
                <a:pPr algn="r" defTabSz="810346">
                  <a:lnSpc>
                    <a:spcPct val="90000"/>
                  </a:lnSpc>
                </a:pPr>
                <a:r>
                  <a:rPr lang="fr-CA" sz="778" kern="0" dirty="0">
                    <a:solidFill>
                      <a:srgbClr val="4B4B4B"/>
                    </a:solidFill>
                    <a:latin typeface="EYInterstate Light" panose="02000506000000020004" pitchFamily="2" charset="0"/>
                  </a:rPr>
                  <a:t>conviennent que l’entreprise a la responsabilité de</a:t>
                </a:r>
                <a:endParaRPr lang="fr-CA" sz="1088" kern="0" dirty="0">
                  <a:solidFill>
                    <a:srgbClr val="4B4B4B"/>
                  </a:solidFill>
                  <a:latin typeface="EYInterstate Light" panose="02000506000000020004" pitchFamily="2" charset="0"/>
                </a:endParaRPr>
              </a:p>
            </p:txBody>
          </p:sp>
          <p:sp>
            <p:nvSpPr>
              <p:cNvPr id="86" name="Freeform 6"/>
              <p:cNvSpPr>
                <a:spLocks noChangeAspect="1" noEditPoints="1"/>
              </p:cNvSpPr>
              <p:nvPr/>
            </p:nvSpPr>
            <p:spPr bwMode="auto">
              <a:xfrm>
                <a:off x="4820721" y="718649"/>
                <a:ext cx="210185" cy="163362"/>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sp>
            <p:nvSpPr>
              <p:cNvPr id="87" name="Freeform 6"/>
              <p:cNvSpPr>
                <a:spLocks noChangeAspect="1" noEditPoints="1"/>
              </p:cNvSpPr>
              <p:nvPr/>
            </p:nvSpPr>
            <p:spPr bwMode="auto">
              <a:xfrm rot="10800000">
                <a:off x="8047575" y="1200251"/>
                <a:ext cx="210185" cy="163362"/>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grpSp>
        <p:sp>
          <p:nvSpPr>
            <p:cNvPr id="81" name="Rectangle 80"/>
            <p:cNvSpPr/>
            <p:nvPr/>
          </p:nvSpPr>
          <p:spPr>
            <a:xfrm>
              <a:off x="6738691" y="2096349"/>
              <a:ext cx="2318435" cy="331061"/>
            </a:xfrm>
            <a:prstGeom prst="rect">
              <a:avLst/>
            </a:prstGeom>
            <a:noFill/>
          </p:spPr>
          <p:txBody>
            <a:bodyPr wrap="square" lIns="81063" tIns="40532" rIns="81063" bIns="40532">
              <a:spAutoFit/>
            </a:bodyPr>
            <a:lstStyle/>
            <a:p>
              <a:pPr algn="r" defTabSz="810346">
                <a:lnSpc>
                  <a:spcPct val="90000"/>
                </a:lnSpc>
              </a:pPr>
              <a:r>
                <a:rPr lang="fr-CA" sz="778" kern="0" dirty="0">
                  <a:solidFill>
                    <a:srgbClr val="4B4B4B"/>
                  </a:solidFill>
                  <a:latin typeface="EYInterstate Light" panose="02000506000000020004" pitchFamily="2" charset="0"/>
                </a:rPr>
                <a:t>créer un </a:t>
              </a:r>
              <a:r>
                <a:rPr lang="fr-CA" sz="1244" b="1" kern="0" dirty="0">
                  <a:solidFill>
                    <a:srgbClr val="4B4B4B"/>
                  </a:solidFill>
                  <a:latin typeface="EYInterstate Light" panose="02000506000000020004" pitchFamily="2" charset="0"/>
                </a:rPr>
                <a:t>monde meilleur</a:t>
              </a:r>
              <a:endParaRPr lang="fr-CA" sz="1088" b="1" kern="0" dirty="0">
                <a:solidFill>
                  <a:srgbClr val="4B4B4B"/>
                </a:solidFill>
                <a:latin typeface="EYInterstate Light" panose="02000506000000020004" pitchFamily="2" charset="0"/>
              </a:endParaRPr>
            </a:p>
          </p:txBody>
        </p:sp>
      </p:grpSp>
      <p:grpSp>
        <p:nvGrpSpPr>
          <p:cNvPr id="88" name="Group 87"/>
          <p:cNvGrpSpPr/>
          <p:nvPr/>
        </p:nvGrpSpPr>
        <p:grpSpPr>
          <a:xfrm>
            <a:off x="3033176" y="5300113"/>
            <a:ext cx="3671500" cy="516287"/>
            <a:chOff x="4772273" y="834438"/>
            <a:chExt cx="2785917" cy="524389"/>
          </a:xfrm>
        </p:grpSpPr>
        <p:sp>
          <p:nvSpPr>
            <p:cNvPr id="89" name="Rectangle 88"/>
            <p:cNvSpPr/>
            <p:nvPr/>
          </p:nvSpPr>
          <p:spPr>
            <a:xfrm>
              <a:off x="4947007" y="876892"/>
              <a:ext cx="2455129" cy="481935"/>
            </a:xfrm>
            <a:prstGeom prst="rect">
              <a:avLst/>
            </a:prstGeom>
            <a:noFill/>
          </p:spPr>
          <p:txBody>
            <a:bodyPr wrap="square" lIns="0" tIns="0" rIns="0" bIns="0">
              <a:spAutoFit/>
            </a:bodyPr>
            <a:lstStyle/>
            <a:p>
              <a:pPr defTabSz="810346">
                <a:lnSpc>
                  <a:spcPct val="90000"/>
                </a:lnSpc>
              </a:pPr>
              <a:r>
                <a:rPr lang="fr-CA" sz="1244" kern="0" dirty="0">
                  <a:solidFill>
                    <a:srgbClr val="4B4B4B"/>
                  </a:solidFill>
                  <a:latin typeface="EYInterstate Light" panose="02000506000000020004" pitchFamily="2" charset="0"/>
                </a:rPr>
                <a:t>La probabilité de quitter baisse de </a:t>
              </a:r>
              <a:r>
                <a:rPr lang="fr-CA" sz="2000" kern="0" dirty="0">
                  <a:solidFill>
                    <a:srgbClr val="E60F2D"/>
                  </a:solidFill>
                  <a:latin typeface="EYInterstate Light" panose="02000506000000020004" pitchFamily="2" charset="0"/>
                </a:rPr>
                <a:t>87% </a:t>
              </a:r>
              <a:r>
                <a:rPr lang="fr-CA" sz="1400" kern="0" dirty="0">
                  <a:solidFill>
                    <a:srgbClr val="000000"/>
                  </a:solidFill>
                  <a:latin typeface="EYInterstate Light" panose="02000506000000020004" pitchFamily="2" charset="0"/>
                </a:rPr>
                <a:t>si la personne est mobilisée</a:t>
              </a:r>
              <a:endParaRPr lang="fr-CA" sz="1398" kern="0" dirty="0">
                <a:solidFill>
                  <a:srgbClr val="000000"/>
                </a:solidFill>
                <a:latin typeface="EYInterstate Light" panose="02000506000000020004" pitchFamily="2" charset="0"/>
              </a:endParaRPr>
            </a:p>
          </p:txBody>
        </p:sp>
        <p:sp>
          <p:nvSpPr>
            <p:cNvPr id="90" name="Freeform 6"/>
            <p:cNvSpPr>
              <a:spLocks noChangeAspect="1" noEditPoints="1"/>
            </p:cNvSpPr>
            <p:nvPr/>
          </p:nvSpPr>
          <p:spPr bwMode="auto">
            <a:xfrm>
              <a:off x="4772273" y="834438"/>
              <a:ext cx="159317" cy="177113"/>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sp>
          <p:nvSpPr>
            <p:cNvPr id="91" name="Freeform 6"/>
            <p:cNvSpPr>
              <a:spLocks noChangeAspect="1" noEditPoints="1"/>
            </p:cNvSpPr>
            <p:nvPr/>
          </p:nvSpPr>
          <p:spPr bwMode="auto">
            <a:xfrm rot="10800000">
              <a:off x="7398873" y="1017589"/>
              <a:ext cx="159317" cy="177114"/>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grpSp>
      <p:grpSp>
        <p:nvGrpSpPr>
          <p:cNvPr id="92" name="Group 91"/>
          <p:cNvGrpSpPr/>
          <p:nvPr/>
        </p:nvGrpSpPr>
        <p:grpSpPr>
          <a:xfrm>
            <a:off x="6593442" y="3988954"/>
            <a:ext cx="2760672" cy="1086226"/>
            <a:chOff x="8436379" y="5027102"/>
            <a:chExt cx="2788735" cy="914598"/>
          </a:xfrm>
        </p:grpSpPr>
        <p:sp>
          <p:nvSpPr>
            <p:cNvPr id="93" name="Rectangle 92"/>
            <p:cNvSpPr/>
            <p:nvPr/>
          </p:nvSpPr>
          <p:spPr>
            <a:xfrm>
              <a:off x="8768897" y="5086656"/>
              <a:ext cx="2337723" cy="84445"/>
            </a:xfrm>
            <a:prstGeom prst="rect">
              <a:avLst/>
            </a:prstGeom>
            <a:noFill/>
          </p:spPr>
          <p:txBody>
            <a:bodyPr wrap="square" lIns="0" tIns="0" rIns="0" bIns="0">
              <a:spAutoFit/>
            </a:bodyPr>
            <a:lstStyle/>
            <a:p>
              <a:pPr defTabSz="810346">
                <a:lnSpc>
                  <a:spcPct val="90000"/>
                </a:lnSpc>
              </a:pPr>
              <a:endParaRPr lang="en-GB" sz="2177" kern="0" dirty="0">
                <a:solidFill>
                  <a:srgbClr val="E60F2D"/>
                </a:solidFill>
                <a:latin typeface="EYInterstate Light" panose="02000506000000020004" pitchFamily="2" charset="0"/>
              </a:endParaRPr>
            </a:p>
          </p:txBody>
        </p:sp>
        <p:sp>
          <p:nvSpPr>
            <p:cNvPr id="94" name="Rectangle 93"/>
            <p:cNvSpPr/>
            <p:nvPr/>
          </p:nvSpPr>
          <p:spPr>
            <a:xfrm>
              <a:off x="8436379" y="5027102"/>
              <a:ext cx="2788735" cy="828213"/>
            </a:xfrm>
            <a:prstGeom prst="rect">
              <a:avLst/>
            </a:prstGeom>
            <a:noFill/>
          </p:spPr>
          <p:txBody>
            <a:bodyPr wrap="square" lIns="0" tIns="40532" rIns="81063" bIns="40532">
              <a:spAutoFit/>
            </a:bodyPr>
            <a:lstStyle/>
            <a:p>
              <a:pPr defTabSz="810346">
                <a:lnSpc>
                  <a:spcPct val="90000"/>
                </a:lnSpc>
              </a:pPr>
              <a:r>
                <a:rPr lang="fr-CA" sz="855" kern="0" dirty="0">
                  <a:solidFill>
                    <a:srgbClr val="4B4B4B"/>
                  </a:solidFill>
                  <a:latin typeface="EYInterstate Light" panose="02000506000000020004" pitchFamily="2" charset="0"/>
                </a:rPr>
                <a:t>La possibilité que </a:t>
              </a:r>
              <a:r>
                <a:rPr lang="fr-CA" sz="1088" b="1" kern="0" dirty="0">
                  <a:solidFill>
                    <a:srgbClr val="4B4B4B"/>
                  </a:solidFill>
                  <a:latin typeface="EYInterstate Light" panose="02000506000000020004" pitchFamily="2" charset="0"/>
                </a:rPr>
                <a:t>les employés </a:t>
              </a:r>
              <a:r>
                <a:rPr lang="fr-CA" sz="855" kern="0" dirty="0">
                  <a:solidFill>
                    <a:srgbClr val="4B4B4B"/>
                  </a:solidFill>
                  <a:latin typeface="EYInterstate Light" panose="02000506000000020004" pitchFamily="2" charset="0"/>
                </a:rPr>
                <a:t>restent est </a:t>
              </a:r>
              <a:r>
                <a:rPr lang="fr-CA" sz="2000" kern="0" dirty="0">
                  <a:solidFill>
                    <a:srgbClr val="E60F2D"/>
                  </a:solidFill>
                  <a:latin typeface="EYInterstate Light" panose="02000506000000020004" pitchFamily="2" charset="0"/>
                </a:rPr>
                <a:t>3 x plus élevée</a:t>
              </a:r>
            </a:p>
            <a:p>
              <a:pPr defTabSz="810346">
                <a:lnSpc>
                  <a:spcPct val="90000"/>
                </a:lnSpc>
              </a:pPr>
              <a:r>
                <a:rPr lang="fr-CA" sz="855" kern="0" dirty="0">
                  <a:solidFill>
                    <a:srgbClr val="4B4B4B"/>
                  </a:solidFill>
                  <a:latin typeface="EYInterstate Light" panose="02000506000000020004" pitchFamily="2" charset="0"/>
                </a:rPr>
                <a:t>dans une </a:t>
              </a:r>
              <a:r>
                <a:rPr lang="fr-CA" sz="1244" b="1" kern="0" dirty="0">
                  <a:solidFill>
                    <a:srgbClr val="4B4B4B"/>
                  </a:solidFill>
                  <a:latin typeface="EYInterstate Light" panose="02000506000000020004" pitchFamily="2" charset="0"/>
                </a:rPr>
                <a:t>organisation axée sur des buts</a:t>
              </a:r>
              <a:r>
                <a:rPr lang="fr-CA" sz="855" kern="0" dirty="0">
                  <a:solidFill>
                    <a:srgbClr val="4B4B4B"/>
                  </a:solidFill>
                  <a:latin typeface="EYInterstate Light" panose="02000506000000020004" pitchFamily="2" charset="0"/>
                </a:rPr>
                <a:t>. </a:t>
              </a:r>
              <a:endParaRPr lang="fr-CA" sz="2799" b="1" kern="0" dirty="0">
                <a:solidFill>
                  <a:srgbClr val="4B4B4B"/>
                </a:solidFill>
                <a:latin typeface="EYInterstate Light" panose="02000506000000020004" pitchFamily="2" charset="0"/>
              </a:endParaRPr>
            </a:p>
          </p:txBody>
        </p:sp>
        <p:sp>
          <p:nvSpPr>
            <p:cNvPr id="95" name="Freeform 6"/>
            <p:cNvSpPr>
              <a:spLocks noChangeAspect="1" noEditPoints="1"/>
            </p:cNvSpPr>
            <p:nvPr/>
          </p:nvSpPr>
          <p:spPr bwMode="auto">
            <a:xfrm>
              <a:off x="8593534" y="5027102"/>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dirty="0">
                <a:solidFill>
                  <a:srgbClr val="4B4B4B"/>
                </a:solidFill>
                <a:latin typeface="EYInterstate Light" panose="02000506000000020004" pitchFamily="2" charset="0"/>
              </a:endParaRPr>
            </a:p>
          </p:txBody>
        </p:sp>
        <p:sp>
          <p:nvSpPr>
            <p:cNvPr id="96" name="Freeform 6"/>
            <p:cNvSpPr>
              <a:spLocks noChangeAspect="1" noEditPoints="1"/>
            </p:cNvSpPr>
            <p:nvPr/>
          </p:nvSpPr>
          <p:spPr bwMode="auto">
            <a:xfrm rot="10800000">
              <a:off x="11006451" y="5688758"/>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dirty="0">
                <a:solidFill>
                  <a:srgbClr val="4B4B4B"/>
                </a:solidFill>
                <a:latin typeface="EYInterstate Light" panose="02000506000000020004" pitchFamily="2" charset="0"/>
              </a:endParaRPr>
            </a:p>
          </p:txBody>
        </p:sp>
        <p:sp>
          <p:nvSpPr>
            <p:cNvPr id="97" name="Rectangle 96"/>
            <p:cNvSpPr/>
            <p:nvPr/>
          </p:nvSpPr>
          <p:spPr>
            <a:xfrm>
              <a:off x="8436379" y="5614204"/>
              <a:ext cx="2670242" cy="327496"/>
            </a:xfrm>
            <a:prstGeom prst="rect">
              <a:avLst/>
            </a:prstGeom>
            <a:noFill/>
          </p:spPr>
          <p:txBody>
            <a:bodyPr wrap="square" lIns="0" tIns="40532" rIns="81063" bIns="40532">
              <a:spAutoFit/>
            </a:bodyPr>
            <a:lstStyle/>
            <a:p>
              <a:pPr defTabSz="810346">
                <a:lnSpc>
                  <a:spcPct val="90000"/>
                </a:lnSpc>
              </a:pPr>
              <a:r>
                <a:rPr lang="fr-CA" sz="1088" kern="0" dirty="0">
                  <a:solidFill>
                    <a:srgbClr val="4B4B4B"/>
                  </a:solidFill>
                  <a:latin typeface="EYInterstate Light" panose="02000506000000020004" pitchFamily="2" charset="0"/>
                </a:rPr>
                <a:t>Ils sont aussi</a:t>
              </a:r>
              <a:r>
                <a:rPr lang="fr-CA" sz="2177" kern="0" dirty="0">
                  <a:solidFill>
                    <a:srgbClr val="E60F2D"/>
                  </a:solidFill>
                  <a:latin typeface="EYInterstate Light" panose="02000506000000020004" pitchFamily="2" charset="0"/>
                </a:rPr>
                <a:t>1,4 x</a:t>
              </a:r>
              <a:r>
                <a:rPr lang="fr-CA" sz="1088" kern="0" dirty="0">
                  <a:solidFill>
                    <a:srgbClr val="4B4B4B"/>
                  </a:solidFill>
                  <a:latin typeface="EYInterstate Light" panose="02000506000000020004" pitchFamily="2" charset="0"/>
                </a:rPr>
                <a:t> plus mobilisés</a:t>
              </a:r>
              <a:endParaRPr lang="fr-CA" sz="3421" b="1" kern="0" dirty="0">
                <a:solidFill>
                  <a:srgbClr val="4B4B4B"/>
                </a:solidFill>
                <a:latin typeface="EYInterstate Light" panose="02000506000000020004" pitchFamily="2" charset="0"/>
              </a:endParaRPr>
            </a:p>
          </p:txBody>
        </p:sp>
      </p:grpSp>
      <p:grpSp>
        <p:nvGrpSpPr>
          <p:cNvPr id="98" name="Group 97"/>
          <p:cNvGrpSpPr/>
          <p:nvPr/>
        </p:nvGrpSpPr>
        <p:grpSpPr>
          <a:xfrm>
            <a:off x="431801" y="3304894"/>
            <a:ext cx="2724453" cy="1092368"/>
            <a:chOff x="8472965" y="5003187"/>
            <a:chExt cx="2752149" cy="919771"/>
          </a:xfrm>
        </p:grpSpPr>
        <p:sp>
          <p:nvSpPr>
            <p:cNvPr id="99" name="Rectangle 98"/>
            <p:cNvSpPr/>
            <p:nvPr/>
          </p:nvSpPr>
          <p:spPr>
            <a:xfrm>
              <a:off x="8812991" y="5078636"/>
              <a:ext cx="2293630" cy="258575"/>
            </a:xfrm>
            <a:prstGeom prst="rect">
              <a:avLst/>
            </a:prstGeom>
            <a:noFill/>
          </p:spPr>
          <p:txBody>
            <a:bodyPr wrap="square" lIns="0" tIns="0" rIns="0" bIns="0">
              <a:spAutoFit/>
            </a:bodyPr>
            <a:lstStyle/>
            <a:p>
              <a:pPr defTabSz="810346">
                <a:lnSpc>
                  <a:spcPct val="90000"/>
                </a:lnSpc>
              </a:pPr>
              <a:endParaRPr lang="en-GB" sz="2177" kern="0" dirty="0">
                <a:solidFill>
                  <a:srgbClr val="E60F2D"/>
                </a:solidFill>
                <a:latin typeface="EYInterstate Light" panose="02000506000000020004" pitchFamily="2" charset="0"/>
              </a:endParaRPr>
            </a:p>
          </p:txBody>
        </p:sp>
        <p:sp>
          <p:nvSpPr>
            <p:cNvPr id="100" name="Rectangle 99"/>
            <p:cNvSpPr/>
            <p:nvPr/>
          </p:nvSpPr>
          <p:spPr>
            <a:xfrm>
              <a:off x="8472965" y="5003187"/>
              <a:ext cx="2752149" cy="919771"/>
            </a:xfrm>
            <a:prstGeom prst="rect">
              <a:avLst/>
            </a:prstGeom>
            <a:noFill/>
          </p:spPr>
          <p:txBody>
            <a:bodyPr wrap="square" lIns="0" tIns="40532" rIns="81063" bIns="40532">
              <a:spAutoFit/>
            </a:bodyPr>
            <a:lstStyle/>
            <a:p>
              <a:pPr defTabSz="810346">
                <a:lnSpc>
                  <a:spcPct val="90000"/>
                </a:lnSpc>
              </a:pPr>
              <a:r>
                <a:rPr lang="fr-CA" sz="1088" kern="0" dirty="0">
                  <a:solidFill>
                    <a:srgbClr val="4B4B4B"/>
                  </a:solidFill>
                  <a:latin typeface="EYInterstate Light" panose="02000506000000020004" pitchFamily="2" charset="0"/>
                </a:rPr>
                <a:t>Une personne mobilisée utilise </a:t>
              </a:r>
              <a:r>
                <a:rPr lang="fr-CA" sz="2000" kern="0" dirty="0">
                  <a:solidFill>
                    <a:srgbClr val="E60F2D"/>
                  </a:solidFill>
                  <a:latin typeface="EYInterstate Light" panose="02000506000000020004" pitchFamily="2" charset="0"/>
                </a:rPr>
                <a:t>4 x moins de </a:t>
              </a:r>
              <a:r>
                <a:rPr lang="fr-CA" sz="1100" b="1" kern="0" dirty="0">
                  <a:solidFill>
                    <a:srgbClr val="4B4B4B"/>
                  </a:solidFill>
                  <a:latin typeface="EYInterstate Light" panose="02000506000000020004" pitchFamily="2" charset="0"/>
                </a:rPr>
                <a:t>jours de congé de maladie au cours d’une année</a:t>
              </a:r>
              <a:endParaRPr lang="fr-CA" sz="1100" kern="0" dirty="0">
                <a:solidFill>
                  <a:srgbClr val="E60F2D"/>
                </a:solidFill>
                <a:latin typeface="EYInterstate Light" panose="02000506000000020004" pitchFamily="2" charset="0"/>
              </a:endParaRPr>
            </a:p>
            <a:p>
              <a:pPr defTabSz="810346">
                <a:lnSpc>
                  <a:spcPct val="90000"/>
                </a:lnSpc>
              </a:pPr>
              <a:r>
                <a:rPr lang="fr-CA" sz="1088" kern="0" dirty="0">
                  <a:solidFill>
                    <a:srgbClr val="4B4B4B"/>
                  </a:solidFill>
                  <a:latin typeface="EYInterstate Light" panose="02000506000000020004" pitchFamily="2" charset="0"/>
                </a:rPr>
                <a:t>en comparaison d’une autre qui ne l’est pas </a:t>
              </a:r>
            </a:p>
          </p:txBody>
        </p:sp>
        <p:sp>
          <p:nvSpPr>
            <p:cNvPr id="101" name="Freeform 6"/>
            <p:cNvSpPr>
              <a:spLocks noChangeAspect="1" noEditPoints="1"/>
            </p:cNvSpPr>
            <p:nvPr/>
          </p:nvSpPr>
          <p:spPr bwMode="auto">
            <a:xfrm>
              <a:off x="8593534" y="5027102"/>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dirty="0">
                <a:solidFill>
                  <a:srgbClr val="4B4B4B"/>
                </a:solidFill>
                <a:latin typeface="EYInterstate Light" panose="02000506000000020004" pitchFamily="2" charset="0"/>
              </a:endParaRPr>
            </a:p>
          </p:txBody>
        </p:sp>
        <p:sp>
          <p:nvSpPr>
            <p:cNvPr id="102" name="Freeform 6"/>
            <p:cNvSpPr>
              <a:spLocks noChangeAspect="1" noEditPoints="1"/>
            </p:cNvSpPr>
            <p:nvPr/>
          </p:nvSpPr>
          <p:spPr bwMode="auto">
            <a:xfrm rot="10800000">
              <a:off x="10923795" y="5360381"/>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dirty="0">
                <a:solidFill>
                  <a:srgbClr val="4B4B4B"/>
                </a:solidFill>
                <a:latin typeface="EYInterstate Light" panose="02000506000000020004" pitchFamily="2" charset="0"/>
              </a:endParaRPr>
            </a:p>
          </p:txBody>
        </p:sp>
      </p:grpSp>
      <p:grpSp>
        <p:nvGrpSpPr>
          <p:cNvPr id="103" name="Group 1"/>
          <p:cNvGrpSpPr/>
          <p:nvPr/>
        </p:nvGrpSpPr>
        <p:grpSpPr>
          <a:xfrm>
            <a:off x="2258483" y="5718332"/>
            <a:ext cx="2605098" cy="1078441"/>
            <a:chOff x="8593534" y="5027102"/>
            <a:chExt cx="2631582" cy="908047"/>
          </a:xfrm>
        </p:grpSpPr>
        <p:sp>
          <p:nvSpPr>
            <p:cNvPr id="104" name="Rectangle 2"/>
            <p:cNvSpPr/>
            <p:nvPr/>
          </p:nvSpPr>
          <p:spPr>
            <a:xfrm>
              <a:off x="8812991" y="5078636"/>
              <a:ext cx="2293630" cy="258575"/>
            </a:xfrm>
            <a:prstGeom prst="rect">
              <a:avLst/>
            </a:prstGeom>
            <a:noFill/>
          </p:spPr>
          <p:txBody>
            <a:bodyPr wrap="square" lIns="0" tIns="0" rIns="0" bIns="0">
              <a:spAutoFit/>
            </a:bodyPr>
            <a:lstStyle/>
            <a:p>
              <a:pPr defTabSz="810346">
                <a:lnSpc>
                  <a:spcPct val="90000"/>
                </a:lnSpc>
              </a:pPr>
              <a:r>
                <a:rPr lang="en-GB" sz="2177" kern="0" dirty="0">
                  <a:solidFill>
                    <a:srgbClr val="E60F2D"/>
                  </a:solidFill>
                  <a:latin typeface="EYInterstate Light" panose="02000506000000020004" pitchFamily="2" charset="0"/>
                </a:rPr>
                <a:t>67 % </a:t>
              </a:r>
              <a:r>
                <a:rPr lang="en-GB" sz="2177" kern="0" dirty="0">
                  <a:solidFill>
                    <a:srgbClr val="4B4B4B"/>
                  </a:solidFill>
                  <a:latin typeface="EYInterstate Light" panose="02000506000000020004" pitchFamily="2" charset="0"/>
                </a:rPr>
                <a:t>des</a:t>
              </a:r>
            </a:p>
          </p:txBody>
        </p:sp>
        <p:sp>
          <p:nvSpPr>
            <p:cNvPr id="105" name="Rectangle 3"/>
            <p:cNvSpPr/>
            <p:nvPr/>
          </p:nvSpPr>
          <p:spPr>
            <a:xfrm>
              <a:off x="8812993" y="5319978"/>
              <a:ext cx="2412123" cy="615171"/>
            </a:xfrm>
            <a:prstGeom prst="rect">
              <a:avLst/>
            </a:prstGeom>
            <a:noFill/>
          </p:spPr>
          <p:txBody>
            <a:bodyPr wrap="square" lIns="0" tIns="40532" rIns="81063" bIns="40532">
              <a:spAutoFit/>
            </a:bodyPr>
            <a:lstStyle/>
            <a:p>
              <a:pPr defTabSz="810346">
                <a:lnSpc>
                  <a:spcPct val="90000"/>
                </a:lnSpc>
              </a:pPr>
              <a:r>
                <a:rPr lang="fr-CA" sz="1244" b="1" kern="0" dirty="0">
                  <a:solidFill>
                    <a:srgbClr val="4B4B4B"/>
                  </a:solidFill>
                  <a:latin typeface="EYInterstate Light" panose="02000506000000020004" pitchFamily="2" charset="0"/>
                </a:rPr>
                <a:t>Employés mobilisés se portent à la défense </a:t>
              </a:r>
              <a:r>
                <a:rPr lang="fr-CA" sz="1088" kern="0" dirty="0">
                  <a:solidFill>
                    <a:srgbClr val="4B4B4B"/>
                  </a:solidFill>
                  <a:latin typeface="EYInterstate Light" panose="02000506000000020004" pitchFamily="2" charset="0"/>
                </a:rPr>
                <a:t>de leur organisation par comparaison à ceux qui ne le sont pas </a:t>
              </a:r>
            </a:p>
          </p:txBody>
        </p:sp>
        <p:sp>
          <p:nvSpPr>
            <p:cNvPr id="106" name="Freeform 6"/>
            <p:cNvSpPr>
              <a:spLocks noChangeAspect="1" noEditPoints="1"/>
            </p:cNvSpPr>
            <p:nvPr/>
          </p:nvSpPr>
          <p:spPr bwMode="auto">
            <a:xfrm>
              <a:off x="8593534" y="5027102"/>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dirty="0">
                <a:solidFill>
                  <a:srgbClr val="4B4B4B"/>
                </a:solidFill>
                <a:latin typeface="EYInterstate Light" panose="02000506000000020004" pitchFamily="2" charset="0"/>
              </a:endParaRPr>
            </a:p>
          </p:txBody>
        </p:sp>
        <p:sp>
          <p:nvSpPr>
            <p:cNvPr id="107" name="Freeform 6"/>
            <p:cNvSpPr>
              <a:spLocks noChangeAspect="1" noEditPoints="1"/>
            </p:cNvSpPr>
            <p:nvPr/>
          </p:nvSpPr>
          <p:spPr bwMode="auto">
            <a:xfrm rot="10800000">
              <a:off x="10495317" y="5674392"/>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dirty="0">
                <a:solidFill>
                  <a:srgbClr val="4B4B4B"/>
                </a:solidFill>
                <a:latin typeface="EYInterstate Light" panose="02000506000000020004" pitchFamily="2" charset="0"/>
              </a:endParaRPr>
            </a:p>
          </p:txBody>
        </p:sp>
      </p:grpSp>
      <p:grpSp>
        <p:nvGrpSpPr>
          <p:cNvPr id="108" name="Group 107"/>
          <p:cNvGrpSpPr/>
          <p:nvPr/>
        </p:nvGrpSpPr>
        <p:grpSpPr>
          <a:xfrm>
            <a:off x="2419608" y="1409420"/>
            <a:ext cx="2001881" cy="891921"/>
            <a:chOff x="4820721" y="592631"/>
            <a:chExt cx="2894083" cy="1289438"/>
          </a:xfrm>
        </p:grpSpPr>
        <p:sp>
          <p:nvSpPr>
            <p:cNvPr id="109" name="Rectangle 108"/>
            <p:cNvSpPr/>
            <p:nvPr/>
          </p:nvSpPr>
          <p:spPr>
            <a:xfrm>
              <a:off x="5069686" y="777113"/>
              <a:ext cx="2455131" cy="829264"/>
            </a:xfrm>
            <a:prstGeom prst="rect">
              <a:avLst/>
            </a:prstGeom>
            <a:noFill/>
          </p:spPr>
          <p:txBody>
            <a:bodyPr wrap="square" lIns="0" tIns="0" rIns="0" bIns="0">
              <a:spAutoFit/>
            </a:bodyPr>
            <a:lstStyle/>
            <a:p>
              <a:pPr defTabSz="818051">
                <a:lnSpc>
                  <a:spcPct val="90000"/>
                </a:lnSpc>
              </a:pPr>
              <a:r>
                <a:rPr lang="fr-CA" sz="1256" kern="0" dirty="0">
                  <a:solidFill>
                    <a:srgbClr val="4B4B4B"/>
                  </a:solidFill>
                  <a:latin typeface="EYInterstate Light" panose="02000506000000020004" pitchFamily="2" charset="0"/>
                </a:rPr>
                <a:t>La mobilisation des </a:t>
              </a:r>
              <a:r>
                <a:rPr lang="fr-CA" sz="1256" b="1" kern="0" dirty="0">
                  <a:solidFill>
                    <a:srgbClr val="4B4B4B"/>
                  </a:solidFill>
                  <a:latin typeface="EYInterstate Light" panose="02000506000000020004" pitchFamily="2" charset="0"/>
                </a:rPr>
                <a:t>employés augmente  de </a:t>
              </a:r>
              <a:r>
                <a:rPr lang="fr-CA" sz="1600" kern="0" dirty="0">
                  <a:solidFill>
                    <a:srgbClr val="E60F2D"/>
                  </a:solidFill>
                  <a:latin typeface="EYInterstate Light" panose="02000506000000020004" pitchFamily="2" charset="0"/>
                </a:rPr>
                <a:t>5 % </a:t>
              </a:r>
              <a:endParaRPr lang="fr-CA" sz="1569" kern="0" dirty="0">
                <a:solidFill>
                  <a:srgbClr val="4B4B4B"/>
                </a:solidFill>
                <a:latin typeface="EYInterstate Light" panose="02000506000000020004" pitchFamily="2" charset="0"/>
              </a:endParaRPr>
            </a:p>
          </p:txBody>
        </p:sp>
        <p:sp>
          <p:nvSpPr>
            <p:cNvPr id="110" name="Rectangle 109"/>
            <p:cNvSpPr/>
            <p:nvPr/>
          </p:nvSpPr>
          <p:spPr>
            <a:xfrm>
              <a:off x="5346741" y="1445339"/>
              <a:ext cx="2253173" cy="436730"/>
            </a:xfrm>
            <a:prstGeom prst="rect">
              <a:avLst/>
            </a:prstGeom>
            <a:noFill/>
          </p:spPr>
          <p:txBody>
            <a:bodyPr wrap="square" lIns="81836" tIns="40918" rIns="81836" bIns="40918">
              <a:spAutoFit/>
            </a:bodyPr>
            <a:lstStyle/>
            <a:p>
              <a:pPr algn="r" defTabSz="818051">
                <a:lnSpc>
                  <a:spcPct val="90000"/>
                </a:lnSpc>
              </a:pPr>
              <a:r>
                <a:rPr lang="fr-CA" sz="785" kern="0" dirty="0">
                  <a:solidFill>
                    <a:srgbClr val="4B4B4B"/>
                  </a:solidFill>
                  <a:latin typeface="EYInterstate Light" panose="02000506000000020004" pitchFamily="2" charset="0"/>
                </a:rPr>
                <a:t>La marge d\exploitation augmente de 0,7 %</a:t>
              </a:r>
              <a:endParaRPr lang="fr-CA" sz="1099" kern="0" dirty="0">
                <a:solidFill>
                  <a:srgbClr val="4B4B4B"/>
                </a:solidFill>
                <a:latin typeface="EYInterstate Light" panose="02000506000000020004" pitchFamily="2" charset="0"/>
              </a:endParaRPr>
            </a:p>
          </p:txBody>
        </p:sp>
        <p:sp>
          <p:nvSpPr>
            <p:cNvPr id="111" name="Freeform 6"/>
            <p:cNvSpPr>
              <a:spLocks noChangeAspect="1" noEditPoints="1"/>
            </p:cNvSpPr>
            <p:nvPr/>
          </p:nvSpPr>
          <p:spPr bwMode="auto">
            <a:xfrm>
              <a:off x="4820721" y="592631"/>
              <a:ext cx="372321" cy="28938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755" tIns="35878" rIns="71755" bIns="35878" numCol="1" anchor="t" anchorCtr="0" compatLnSpc="1">
              <a:prstTxWarp prst="textNoShape">
                <a:avLst/>
              </a:prstTxWarp>
            </a:bodyPr>
            <a:lstStyle/>
            <a:p>
              <a:pPr defTabSz="357326"/>
              <a:endParaRPr lang="en-GB" sz="1256" kern="0" dirty="0">
                <a:solidFill>
                  <a:srgbClr val="4B4B4B"/>
                </a:solidFill>
                <a:latin typeface="EYInterstate Light" panose="02000506000000020004" pitchFamily="2" charset="0"/>
              </a:endParaRPr>
            </a:p>
          </p:txBody>
        </p:sp>
        <p:sp>
          <p:nvSpPr>
            <p:cNvPr id="112" name="Freeform 6"/>
            <p:cNvSpPr>
              <a:spLocks noChangeAspect="1" noEditPoints="1"/>
            </p:cNvSpPr>
            <p:nvPr/>
          </p:nvSpPr>
          <p:spPr bwMode="auto">
            <a:xfrm rot="10800000">
              <a:off x="7504619" y="1545888"/>
              <a:ext cx="210185" cy="163363"/>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755" tIns="35878" rIns="71755" bIns="35878" numCol="1" anchor="t" anchorCtr="0" compatLnSpc="1">
              <a:prstTxWarp prst="textNoShape">
                <a:avLst/>
              </a:prstTxWarp>
            </a:bodyPr>
            <a:lstStyle/>
            <a:p>
              <a:pPr defTabSz="357326"/>
              <a:endParaRPr lang="en-GB" sz="1256" kern="0" dirty="0">
                <a:solidFill>
                  <a:srgbClr val="4B4B4B"/>
                </a:solidFill>
                <a:latin typeface="EYInterstate Light" panose="02000506000000020004" pitchFamily="2" charset="0"/>
              </a:endParaRPr>
            </a:p>
          </p:txBody>
        </p:sp>
      </p:grpSp>
      <p:grpSp>
        <p:nvGrpSpPr>
          <p:cNvPr id="113" name="Group 112"/>
          <p:cNvGrpSpPr/>
          <p:nvPr/>
        </p:nvGrpSpPr>
        <p:grpSpPr>
          <a:xfrm>
            <a:off x="918617" y="1318874"/>
            <a:ext cx="1338808" cy="1218350"/>
            <a:chOff x="496928" y="2271919"/>
            <a:chExt cx="1338808" cy="1218350"/>
          </a:xfrm>
        </p:grpSpPr>
        <p:sp>
          <p:nvSpPr>
            <p:cNvPr id="114" name="Oval 113"/>
            <p:cNvSpPr/>
            <p:nvPr/>
          </p:nvSpPr>
          <p:spPr>
            <a:xfrm>
              <a:off x="551027"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rgbClr val="4B4B4B"/>
                </a:solidFill>
                <a:latin typeface="EYInterstate Light" panose="02000506000000020004" pitchFamily="2" charset="0"/>
              </a:endParaRPr>
            </a:p>
          </p:txBody>
        </p:sp>
        <p:sp>
          <p:nvSpPr>
            <p:cNvPr id="115" name="Rechteck 24"/>
            <p:cNvSpPr/>
            <p:nvPr/>
          </p:nvSpPr>
          <p:spPr bwMode="gray">
            <a:xfrm>
              <a:off x="496928" y="2661358"/>
              <a:ext cx="1338808" cy="444737"/>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rgbClr val="4B4B4B"/>
                  </a:solidFill>
                  <a:latin typeface="EYInterstate Light" panose="02000506000000020004" pitchFamily="2" charset="0"/>
                </a:rPr>
                <a:t>MEILLEUR RENDEMENT</a:t>
              </a:r>
            </a:p>
          </p:txBody>
        </p:sp>
      </p:grpSp>
      <p:grpSp>
        <p:nvGrpSpPr>
          <p:cNvPr id="116" name="Group 115"/>
          <p:cNvGrpSpPr/>
          <p:nvPr/>
        </p:nvGrpSpPr>
        <p:grpSpPr>
          <a:xfrm>
            <a:off x="972716" y="5427955"/>
            <a:ext cx="1285767" cy="1218350"/>
            <a:chOff x="551027" y="2271919"/>
            <a:chExt cx="1285767" cy="1218350"/>
          </a:xfrm>
        </p:grpSpPr>
        <p:sp>
          <p:nvSpPr>
            <p:cNvPr id="117" name="Oval 116"/>
            <p:cNvSpPr/>
            <p:nvPr/>
          </p:nvSpPr>
          <p:spPr>
            <a:xfrm>
              <a:off x="551027"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rgbClr val="4B4B4B"/>
                </a:solidFill>
                <a:latin typeface="EYInterstate Light" panose="02000506000000020004" pitchFamily="2" charset="0"/>
              </a:endParaRPr>
            </a:p>
          </p:txBody>
        </p:sp>
        <p:sp>
          <p:nvSpPr>
            <p:cNvPr id="118" name="Rechteck 24"/>
            <p:cNvSpPr/>
            <p:nvPr/>
          </p:nvSpPr>
          <p:spPr bwMode="gray">
            <a:xfrm>
              <a:off x="592178" y="2746950"/>
              <a:ext cx="1244616" cy="269304"/>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rgbClr val="4B4B4B"/>
                  </a:solidFill>
                  <a:latin typeface="EYInterstate Light" panose="02000506000000020004" pitchFamily="2" charset="0"/>
                </a:rPr>
                <a:t>DÉFENSEURS</a:t>
              </a:r>
            </a:p>
          </p:txBody>
        </p:sp>
      </p:grpSp>
      <p:grpSp>
        <p:nvGrpSpPr>
          <p:cNvPr id="119" name="Group 118"/>
          <p:cNvGrpSpPr/>
          <p:nvPr/>
        </p:nvGrpSpPr>
        <p:grpSpPr>
          <a:xfrm>
            <a:off x="7173765" y="1318874"/>
            <a:ext cx="1230611" cy="1218350"/>
            <a:chOff x="551027" y="2271919"/>
            <a:chExt cx="1230611" cy="1218350"/>
          </a:xfrm>
        </p:grpSpPr>
        <p:sp>
          <p:nvSpPr>
            <p:cNvPr id="120" name="Oval 119"/>
            <p:cNvSpPr/>
            <p:nvPr/>
          </p:nvSpPr>
          <p:spPr>
            <a:xfrm>
              <a:off x="551027"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rgbClr val="4B4B4B"/>
                </a:solidFill>
                <a:latin typeface="EYInterstate Light" panose="02000506000000020004" pitchFamily="2" charset="0"/>
              </a:endParaRPr>
            </a:p>
          </p:txBody>
        </p:sp>
        <p:sp>
          <p:nvSpPr>
            <p:cNvPr id="121" name="Rechteck 24"/>
            <p:cNvSpPr/>
            <p:nvPr/>
          </p:nvSpPr>
          <p:spPr bwMode="gray">
            <a:xfrm>
              <a:off x="587687" y="2657658"/>
              <a:ext cx="1157290" cy="443198"/>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rgbClr val="4B4B4B"/>
                  </a:solidFill>
                  <a:latin typeface="EYInterstate Light" panose="02000506000000020004" pitchFamily="2" charset="0"/>
                </a:rPr>
                <a:t>PLUS INNOVATEUR</a:t>
              </a:r>
            </a:p>
          </p:txBody>
        </p:sp>
      </p:grpSp>
      <p:grpSp>
        <p:nvGrpSpPr>
          <p:cNvPr id="122" name="Group 121"/>
          <p:cNvGrpSpPr/>
          <p:nvPr/>
        </p:nvGrpSpPr>
        <p:grpSpPr>
          <a:xfrm>
            <a:off x="7173765" y="5485215"/>
            <a:ext cx="1362887" cy="1218350"/>
            <a:chOff x="551027" y="2271919"/>
            <a:chExt cx="1362887" cy="1218350"/>
          </a:xfrm>
        </p:grpSpPr>
        <p:sp>
          <p:nvSpPr>
            <p:cNvPr id="123" name="Oval 122"/>
            <p:cNvSpPr/>
            <p:nvPr/>
          </p:nvSpPr>
          <p:spPr>
            <a:xfrm>
              <a:off x="551027"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rgbClr val="4B4B4B"/>
                </a:solidFill>
                <a:latin typeface="EYInterstate Light" panose="02000506000000020004" pitchFamily="2" charset="0"/>
              </a:endParaRPr>
            </a:p>
          </p:txBody>
        </p:sp>
        <p:sp>
          <p:nvSpPr>
            <p:cNvPr id="124" name="Rechteck 24"/>
            <p:cNvSpPr/>
            <p:nvPr/>
          </p:nvSpPr>
          <p:spPr bwMode="gray">
            <a:xfrm>
              <a:off x="795557" y="2660383"/>
              <a:ext cx="1118357" cy="444737"/>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rgbClr val="4B4B4B"/>
                  </a:solidFill>
                  <a:latin typeface="EYInterstate Light" panose="02000506000000020004" pitchFamily="2" charset="0"/>
                </a:rPr>
                <a:t>SOUHAITE RESTER</a:t>
              </a:r>
            </a:p>
          </p:txBody>
        </p:sp>
      </p:grpSp>
      <p:grpSp>
        <p:nvGrpSpPr>
          <p:cNvPr id="6" name="Group 5"/>
          <p:cNvGrpSpPr/>
          <p:nvPr/>
        </p:nvGrpSpPr>
        <p:grpSpPr>
          <a:xfrm>
            <a:off x="3410046" y="2612109"/>
            <a:ext cx="2557003" cy="2531522"/>
            <a:chOff x="3670971" y="2567919"/>
            <a:chExt cx="2035152" cy="2014873"/>
          </a:xfrm>
        </p:grpSpPr>
        <p:sp>
          <p:nvSpPr>
            <p:cNvPr id="126" name="Oval 125"/>
            <p:cNvSpPr/>
            <p:nvPr/>
          </p:nvSpPr>
          <p:spPr>
            <a:xfrm>
              <a:off x="3670971" y="2567919"/>
              <a:ext cx="2035152" cy="2014873"/>
            </a:xfrm>
            <a:prstGeom prst="ellipse">
              <a:avLst/>
            </a:prstGeom>
            <a:solidFill>
              <a:schemeClr val="tx2"/>
            </a:solidFill>
            <a:ln w="9525">
              <a:solidFill>
                <a:srgbClr val="4B4B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dirty="0">
                <a:solidFill>
                  <a:srgbClr val="E60F2D"/>
                </a:solidFill>
                <a:latin typeface="EYInterstate Light" panose="02000506000000020004" pitchFamily="2" charset="0"/>
              </a:endParaRPr>
            </a:p>
          </p:txBody>
        </p:sp>
        <p:sp>
          <p:nvSpPr>
            <p:cNvPr id="127" name="Rechteck 24"/>
            <p:cNvSpPr/>
            <p:nvPr/>
          </p:nvSpPr>
          <p:spPr bwMode="gray">
            <a:xfrm>
              <a:off x="3780606" y="2955878"/>
              <a:ext cx="1815882" cy="1471823"/>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2000" b="1" spc="-50" dirty="0">
                  <a:solidFill>
                    <a:srgbClr val="4B4B4B"/>
                  </a:solidFill>
                  <a:latin typeface="EYInterstate Light" panose="02000506000000020004" pitchFamily="2" charset="0"/>
                </a:rPr>
                <a:t>Les avantages de l’investissement dans l’expérience des employés sont bien documentés</a:t>
              </a:r>
            </a:p>
          </p:txBody>
        </p:sp>
      </p:grpSp>
      <p:sp>
        <p:nvSpPr>
          <p:cNvPr id="66" name="TextBox 65"/>
          <p:cNvSpPr txBox="1"/>
          <p:nvPr/>
        </p:nvSpPr>
        <p:spPr>
          <a:xfrm>
            <a:off x="614566" y="659554"/>
            <a:ext cx="6980034"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Importance de la réflexion conceptuelle</a:t>
            </a:r>
          </a:p>
        </p:txBody>
      </p:sp>
      <p:cxnSp>
        <p:nvCxnSpPr>
          <p:cNvPr id="67" name="Straight Connector 66"/>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 name="ZoneTexte 2"/>
          <p:cNvSpPr txBox="1"/>
          <p:nvPr/>
        </p:nvSpPr>
        <p:spPr>
          <a:xfrm>
            <a:off x="10604500" y="6591300"/>
            <a:ext cx="106617" cy="198516"/>
          </a:xfrm>
          <a:prstGeom prst="rect">
            <a:avLst/>
          </a:prstGeom>
          <a:noFill/>
        </p:spPr>
        <p:txBody>
          <a:bodyPr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fr-FR" sz="1200" dirty="0">
              <a:solidFill>
                <a:schemeClr val="bg1"/>
              </a:solidFill>
            </a:endParaRPr>
          </a:p>
        </p:txBody>
      </p:sp>
    </p:spTree>
    <p:extLst>
      <p:ext uri="{BB962C8B-B14F-4D97-AF65-F5344CB8AC3E}">
        <p14:creationId xmlns:p14="http://schemas.microsoft.com/office/powerpoint/2010/main" val="2389177573"/>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11072361" y="256904"/>
            <a:ext cx="405532" cy="415873"/>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sp>
        <p:nvSpPr>
          <p:cNvPr id="11" name="TextBox 10"/>
          <p:cNvSpPr txBox="1"/>
          <p:nvPr/>
        </p:nvSpPr>
        <p:spPr>
          <a:xfrm>
            <a:off x="614566" y="659554"/>
            <a:ext cx="6980034"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Conséquences d’une expérience négative</a:t>
            </a:r>
          </a:p>
        </p:txBody>
      </p:sp>
      <p:cxnSp>
        <p:nvCxnSpPr>
          <p:cNvPr id="12" name="Straight Connector 11"/>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8090759" y="5084568"/>
            <a:ext cx="2586766" cy="1568121"/>
          </a:xfrm>
          <a:prstGeom prst="rect">
            <a:avLst/>
          </a:prstGeom>
          <a:solidFill>
            <a:schemeClr val="tx2"/>
          </a:solidFill>
        </p:spPr>
        <p:txBody>
          <a:bodyPr wrap="square">
            <a:spAutoFit/>
          </a:bodyPr>
          <a:lstStyle/>
          <a:p>
            <a:pPr algn="ctr">
              <a:lnSpc>
                <a:spcPct val="90000"/>
              </a:lnSpc>
              <a:spcBef>
                <a:spcPts val="300"/>
              </a:spcBef>
              <a:buClr>
                <a:srgbClr val="E60F2D"/>
              </a:buClr>
              <a:buSzPct val="60000"/>
              <a:defRPr/>
            </a:pPr>
            <a:endParaRPr lang="fr-CA"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La gestion du rendement semble subjective, ce qui affaiblit la confiance</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Mécanismes de récompense mal ciblés </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Les interventions peu pertinentes démobilisent les employés</a:t>
            </a:r>
          </a:p>
        </p:txBody>
      </p:sp>
      <p:sp>
        <p:nvSpPr>
          <p:cNvPr id="59" name="Rectangle 58"/>
          <p:cNvSpPr/>
          <p:nvPr/>
        </p:nvSpPr>
        <p:spPr>
          <a:xfrm>
            <a:off x="614566" y="3674468"/>
            <a:ext cx="2334739" cy="1501950"/>
          </a:xfrm>
          <a:prstGeom prst="rect">
            <a:avLst/>
          </a:prstGeom>
          <a:solidFill>
            <a:schemeClr val="tx2"/>
          </a:solidFill>
        </p:spPr>
        <p:txBody>
          <a:bodyPr wrap="square">
            <a:spAutoFit/>
          </a:bodyPr>
          <a:lstStyle/>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Mauvaise impression durable à l’égard de  l’organisation; l’employé est susceptible d’en parler à d’autres</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Sentiment que c’est « trop peu trop tard »</a:t>
            </a:r>
          </a:p>
          <a:p>
            <a:pPr>
              <a:lnSpc>
                <a:spcPct val="90000"/>
              </a:lnSpc>
              <a:spcBef>
                <a:spcPts val="300"/>
              </a:spcBef>
              <a:buClr>
                <a:srgbClr val="E60F2D"/>
              </a:buClr>
              <a:buSzPct val="60000"/>
              <a:defRPr/>
            </a:pPr>
            <a:endParaRPr lang="fr-CA" sz="1200" dirty="0">
              <a:latin typeface="EYInterstate Light" panose="02000506000000020004" pitchFamily="2" charset="0"/>
              <a:cs typeface="Arial" pitchFamily="34" charset="0"/>
            </a:endParaRPr>
          </a:p>
        </p:txBody>
      </p:sp>
      <p:sp>
        <p:nvSpPr>
          <p:cNvPr id="35" name="Rectangle 34"/>
          <p:cNvSpPr/>
          <p:nvPr/>
        </p:nvSpPr>
        <p:spPr>
          <a:xfrm>
            <a:off x="923926" y="1477132"/>
            <a:ext cx="2346706" cy="1606594"/>
          </a:xfrm>
          <a:prstGeom prst="rect">
            <a:avLst/>
          </a:prstGeom>
        </p:spPr>
        <p:txBody>
          <a:bodyPr wrap="square">
            <a:spAutoFit/>
          </a:bodyPr>
          <a:lstStyle/>
          <a:p>
            <a:pPr>
              <a:lnSpc>
                <a:spcPct val="90000"/>
              </a:lnSpc>
              <a:spcBef>
                <a:spcPts val="300"/>
              </a:spcBef>
              <a:buClr>
                <a:srgbClr val="E60F2D"/>
              </a:buClr>
              <a:buSzPct val="60000"/>
              <a:defRPr/>
            </a:pPr>
            <a:endParaRPr lang="fr-CA"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Le candidat navigue dans un processus nébuleux </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Cela crée une mauvaise impression au départ</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Les taux de décrochage sont plus élevés</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Un mauvais « jour 1 » laisse une mauvaise impression </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4410" y="2280380"/>
            <a:ext cx="4020190" cy="4319054"/>
          </a:xfrm>
          <a:prstGeom prst="rect">
            <a:avLst/>
          </a:prstGeom>
        </p:spPr>
      </p:pic>
      <p:sp>
        <p:nvSpPr>
          <p:cNvPr id="5" name="Cloud Callout 4"/>
          <p:cNvSpPr/>
          <p:nvPr/>
        </p:nvSpPr>
        <p:spPr>
          <a:xfrm>
            <a:off x="7877789" y="4717293"/>
            <a:ext cx="2685435" cy="1982433"/>
          </a:xfrm>
          <a:prstGeom prst="cloudCallout">
            <a:avLst>
              <a:gd name="adj1" fmla="val -122661"/>
              <a:gd name="adj2" fmla="val 31455"/>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0" name="Cloud Callout 39"/>
          <p:cNvSpPr/>
          <p:nvPr/>
        </p:nvSpPr>
        <p:spPr>
          <a:xfrm>
            <a:off x="6817745" y="903642"/>
            <a:ext cx="2993005" cy="1696683"/>
          </a:xfrm>
          <a:prstGeom prst="cloudCallout">
            <a:avLst>
              <a:gd name="adj1" fmla="val -68598"/>
              <a:gd name="adj2" fmla="val 52443"/>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7" name="Cloud Callout 36"/>
          <p:cNvSpPr/>
          <p:nvPr/>
        </p:nvSpPr>
        <p:spPr>
          <a:xfrm>
            <a:off x="690465" y="1263171"/>
            <a:ext cx="2613783" cy="1832111"/>
          </a:xfrm>
          <a:prstGeom prst="cloudCallout">
            <a:avLst>
              <a:gd name="adj1" fmla="val 62575"/>
              <a:gd name="adj2" fmla="val 38059"/>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1" name="Rectangle 50"/>
          <p:cNvSpPr/>
          <p:nvPr/>
        </p:nvSpPr>
        <p:spPr>
          <a:xfrm>
            <a:off x="7107134" y="1147762"/>
            <a:ext cx="2532784" cy="1301895"/>
          </a:xfrm>
          <a:prstGeom prst="rect">
            <a:avLst/>
          </a:prstGeom>
        </p:spPr>
        <p:txBody>
          <a:bodyPr wrap="square">
            <a:spAutoFit/>
          </a:bodyPr>
          <a:lstStyle/>
          <a:p>
            <a:pPr>
              <a:lnSpc>
                <a:spcPct val="90000"/>
              </a:lnSpc>
              <a:spcBef>
                <a:spcPts val="300"/>
              </a:spcBef>
              <a:buClr>
                <a:srgbClr val="E60F2D"/>
              </a:buClr>
              <a:buSzPct val="60000"/>
              <a:defRPr/>
            </a:pPr>
            <a:endParaRPr lang="fr-CA" sz="200" b="1" dirty="0">
              <a:latin typeface="EYInterstate Light" panose="02000506000000020004" pitchFamily="2" charset="0"/>
            </a:endParaRPr>
          </a:p>
          <a:p>
            <a:pPr>
              <a:lnSpc>
                <a:spcPct val="90000"/>
              </a:lnSpc>
              <a:spcBef>
                <a:spcPts val="300"/>
              </a:spcBef>
              <a:buClr>
                <a:srgbClr val="E60F2D"/>
              </a:buClr>
              <a:buSzPct val="60000"/>
              <a:defRPr/>
            </a:pPr>
            <a:endParaRPr lang="fr-CA"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L’absence de plaisir au travail démobilise les employés</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Si la technologie est meilleure à la maison l’organisation a le sentiment d’être pingre</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La productivité baisse</a:t>
            </a:r>
          </a:p>
        </p:txBody>
      </p:sp>
      <p:sp>
        <p:nvSpPr>
          <p:cNvPr id="4" name="Cloud Callout 3"/>
          <p:cNvSpPr/>
          <p:nvPr/>
        </p:nvSpPr>
        <p:spPr>
          <a:xfrm>
            <a:off x="430835" y="3309242"/>
            <a:ext cx="2521762" cy="1775326"/>
          </a:xfrm>
          <a:prstGeom prst="cloudCallout">
            <a:avLst>
              <a:gd name="adj1" fmla="val 85419"/>
              <a:gd name="adj2" fmla="val 34521"/>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 name="Rectangle 1"/>
          <p:cNvSpPr/>
          <p:nvPr/>
        </p:nvSpPr>
        <p:spPr>
          <a:xfrm>
            <a:off x="8888917" y="3238428"/>
            <a:ext cx="2256379" cy="964880"/>
          </a:xfrm>
          <a:prstGeom prst="rect">
            <a:avLst/>
          </a:prstGeom>
        </p:spPr>
        <p:txBody>
          <a:bodyPr wrap="square">
            <a:spAutoFit/>
          </a:bodyPr>
          <a:lstStyle/>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Manque d’équité perçu au niveau des rajustements de la rémunération</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Taux de roulement plus élevés</a:t>
            </a:r>
          </a:p>
        </p:txBody>
      </p:sp>
      <p:sp>
        <p:nvSpPr>
          <p:cNvPr id="3" name="Cloud Callout 2"/>
          <p:cNvSpPr/>
          <p:nvPr/>
        </p:nvSpPr>
        <p:spPr>
          <a:xfrm>
            <a:off x="8649746" y="2688423"/>
            <a:ext cx="2532604" cy="1895613"/>
          </a:xfrm>
          <a:prstGeom prst="cloudCallout">
            <a:avLst>
              <a:gd name="adj1" fmla="val -114985"/>
              <a:gd name="adj2" fmla="val 36724"/>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7" name="TextBox 6"/>
          <p:cNvSpPr txBox="1"/>
          <p:nvPr/>
        </p:nvSpPr>
        <p:spPr>
          <a:xfrm>
            <a:off x="5207726" y="4257704"/>
            <a:ext cx="748937" cy="46859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CA" sz="1100" b="1" dirty="0">
                <a:solidFill>
                  <a:srgbClr val="C00000"/>
                </a:solidFill>
                <a:latin typeface="EYInterstate" panose="02000503020000020004" pitchFamily="2" charset="0"/>
              </a:rPr>
              <a:t>Public Service Comission </a:t>
            </a:r>
          </a:p>
        </p:txBody>
      </p:sp>
      <p:sp>
        <p:nvSpPr>
          <p:cNvPr id="8" name="Oval 7"/>
          <p:cNvSpPr/>
          <p:nvPr/>
        </p:nvSpPr>
        <p:spPr>
          <a:xfrm>
            <a:off x="5024989" y="3910526"/>
            <a:ext cx="1058760" cy="105876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9" name="TextBox 8"/>
          <p:cNvSpPr txBox="1"/>
          <p:nvPr/>
        </p:nvSpPr>
        <p:spPr>
          <a:xfrm>
            <a:off x="5077169" y="4205611"/>
            <a:ext cx="954400" cy="616707"/>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CA" sz="1100" b="1" dirty="0">
                <a:solidFill>
                  <a:srgbClr val="C00000"/>
                </a:solidFill>
                <a:latin typeface="EYInterstate Light" panose="02000506000000020004" pitchFamily="2" charset="0"/>
              </a:rPr>
              <a:t>COMMISSION DE LA FONCTION PUBLIQUE </a:t>
            </a:r>
          </a:p>
        </p:txBody>
      </p:sp>
    </p:spTree>
    <p:extLst>
      <p:ext uri="{BB962C8B-B14F-4D97-AF65-F5344CB8AC3E}">
        <p14:creationId xmlns:p14="http://schemas.microsoft.com/office/powerpoint/2010/main" val="24735080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13381" t="3945" b="23185"/>
          <a:stretch/>
        </p:blipFill>
        <p:spPr>
          <a:xfrm flipH="1">
            <a:off x="-4986" y="1785"/>
            <a:ext cx="12208321" cy="6854430"/>
          </a:xfrm>
          <a:prstGeom prst="rect">
            <a:avLst/>
          </a:prstGeom>
        </p:spPr>
      </p:pic>
      <p:sp>
        <p:nvSpPr>
          <p:cNvPr id="11" name="Text Box 2"/>
          <p:cNvSpPr txBox="1">
            <a:spLocks noChangeArrowheads="1"/>
          </p:cNvSpPr>
          <p:nvPr/>
        </p:nvSpPr>
        <p:spPr bwMode="auto">
          <a:xfrm rot="5400000">
            <a:off x="5476974" y="138017"/>
            <a:ext cx="6854434" cy="6581967"/>
          </a:xfrm>
          <a:prstGeom prst="rect">
            <a:avLst/>
          </a:prstGeom>
          <a:solidFill>
            <a:srgbClr val="FFFFFF">
              <a:alpha val="85098"/>
            </a:srgbClr>
          </a:solidFill>
          <a:ln w="9525">
            <a:noFill/>
            <a:miter lim="800000"/>
            <a:headEnd/>
            <a:tailEnd/>
          </a:ln>
        </p:spPr>
        <p:txBody>
          <a:bodyPr rot="0" vert="horz" wrap="square" lIns="539719" tIns="0" rIns="539719" bIns="0" anchor="ctr" anchorCtr="0">
            <a:noAutofit/>
          </a:bodyPr>
          <a:lstStyle/>
          <a:p>
            <a:pPr>
              <a:tabLst>
                <a:tab pos="4369789" algn="l"/>
                <a:tab pos="11511554" algn="r"/>
              </a:tabLst>
            </a:pPr>
            <a:endParaRPr lang="en-CA" sz="1400" baseline="8000" dirty="0">
              <a:solidFill>
                <a:srgbClr val="999999"/>
              </a:solidFill>
              <a:latin typeface="EYInterstate Light" panose="02000506000000020004" pitchFamily="2" charset="0"/>
              <a:ea typeface="Times New Roman" panose="02020603050405020304" pitchFamily="18" charset="0"/>
              <a:cs typeface="Arial" panose="020B0604020202020204" pitchFamily="34" charset="0"/>
            </a:endParaRPr>
          </a:p>
        </p:txBody>
      </p:sp>
      <p:cxnSp>
        <p:nvCxnSpPr>
          <p:cNvPr id="12" name="Straight Connector 11"/>
          <p:cNvCxnSpPr/>
          <p:nvPr/>
        </p:nvCxnSpPr>
        <p:spPr>
          <a:xfrm rot="5400000" flipH="1">
            <a:off x="2185990" y="3427217"/>
            <a:ext cx="6854434" cy="0"/>
          </a:xfrm>
          <a:prstGeom prst="line">
            <a:avLst/>
          </a:prstGeom>
          <a:ln w="762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625931" y="1322766"/>
            <a:ext cx="0" cy="5224479"/>
          </a:xfrm>
          <a:prstGeom prst="line">
            <a:avLst/>
          </a:prstGeom>
          <a:ln>
            <a:solidFill>
              <a:srgbClr val="969696"/>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6235615" y="660997"/>
            <a:ext cx="4740361" cy="399981"/>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Principes directeurs </a:t>
            </a:r>
          </a:p>
        </p:txBody>
      </p:sp>
      <p:cxnSp>
        <p:nvCxnSpPr>
          <p:cNvPr id="44" name="Straight Connector 43"/>
          <p:cNvCxnSpPr/>
          <p:nvPr/>
        </p:nvCxnSpPr>
        <p:spPr>
          <a:xfrm>
            <a:off x="6235614"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6" name="Text Box 2"/>
          <p:cNvSpPr txBox="1">
            <a:spLocks noChangeArrowheads="1"/>
          </p:cNvSpPr>
          <p:nvPr/>
        </p:nvSpPr>
        <p:spPr bwMode="auto">
          <a:xfrm>
            <a:off x="-306986" y="1782524"/>
            <a:ext cx="6182954" cy="4332470"/>
          </a:xfrm>
          <a:prstGeom prst="rect">
            <a:avLst/>
          </a:prstGeom>
          <a:noFill/>
          <a:ln w="9525">
            <a:noFill/>
            <a:miter lim="800000"/>
            <a:headEnd/>
            <a:tailEnd/>
          </a:ln>
        </p:spPr>
        <p:txBody>
          <a:bodyPr rot="0" vert="horz" wrap="square" lIns="539719" tIns="0" rIns="539719" bIns="0" anchor="ctr" anchorCtr="0">
            <a:noAutofit/>
          </a:bodyPr>
          <a:lstStyle/>
          <a:p>
            <a:pPr algn="ctr">
              <a:spcBef>
                <a:spcPts val="1799"/>
              </a:spcBef>
              <a:tabLst>
                <a:tab pos="4369789" algn="l"/>
                <a:tab pos="11511554" algn="r"/>
              </a:tabLst>
            </a:pPr>
            <a:r>
              <a:rPr lang="fr-CA" sz="2999" b="1" dirty="0">
                <a:solidFill>
                  <a:srgbClr val="C00000"/>
                </a:solidFill>
                <a:effectLst>
                  <a:outerShdw blurRad="38100" dist="38100" dir="2700000" algn="tl">
                    <a:srgbClr val="000000">
                      <a:alpha val="43137"/>
                    </a:srgbClr>
                  </a:outerShdw>
                </a:effectLst>
                <a:latin typeface="EYInterstate" panose="02000503020000020004" pitchFamily="2" charset="0"/>
                <a:ea typeface="Times New Roman" panose="02020603050405020304" pitchFamily="18" charset="0"/>
                <a:cs typeface="Arial" panose="020B0604020202020204" pitchFamily="34" charset="0"/>
              </a:rPr>
              <a:t>Déclaration : </a:t>
            </a:r>
          </a:p>
          <a:p>
            <a:pPr algn="ctr">
              <a:spcBef>
                <a:spcPts val="1799"/>
              </a:spcBef>
              <a:tabLst>
                <a:tab pos="4369789" algn="l"/>
                <a:tab pos="11511554" algn="r"/>
              </a:tabLst>
            </a:pPr>
            <a:r>
              <a:rPr lang="fr-CA" sz="2200" i="1" dirty="0">
                <a:solidFill>
                  <a:schemeClr val="tx2"/>
                </a:solidFill>
                <a:latin typeface="EYInterstate Light" panose="02000506000000020004" pitchFamily="2" charset="0"/>
              </a:rPr>
              <a:t>Une solution adaptative d’avenir, qui réserve une place centrale à l’utilisateur et permet d’offrir une expérience utilisateur efficace aux candidats, aux employés actuels et aux anciens fonctionnaires. La solution favorisera l’attraction, le perfectionnement et le maintien en poste de personnes talentueuses, ce qui permettra d’assurer la mise en œuvre de la stratégie du gouvernement du Canada en matière de ressources humaines, tout en améliorant la prestation de services exceptionnels aux Canadiens. </a:t>
            </a:r>
          </a:p>
          <a:p>
            <a:pPr>
              <a:spcBef>
                <a:spcPts val="1799"/>
              </a:spcBef>
              <a:tabLst>
                <a:tab pos="4369789" algn="l"/>
                <a:tab pos="11511554" algn="r"/>
              </a:tabLst>
            </a:pPr>
            <a:endParaRPr lang="fr-CA" sz="2999" b="1" dirty="0">
              <a:solidFill>
                <a:srgbClr val="FFFFFF"/>
              </a:solidFill>
              <a:effectLst>
                <a:outerShdw blurRad="38100" dist="38100" dir="2700000" algn="tl">
                  <a:srgbClr val="000000">
                    <a:alpha val="43137"/>
                  </a:srgbClr>
                </a:outerShdw>
              </a:effectLst>
              <a:latin typeface="EYInterstate" panose="02000503020000020004" pitchFamily="2" charset="0"/>
              <a:ea typeface="Times New Roman" panose="02020603050405020304" pitchFamily="18" charset="0"/>
              <a:cs typeface="Arial" panose="020B0604020202020204" pitchFamily="34" charset="0"/>
            </a:endParaRPr>
          </a:p>
        </p:txBody>
      </p:sp>
      <p:grpSp>
        <p:nvGrpSpPr>
          <p:cNvPr id="31" name="Group 30"/>
          <p:cNvGrpSpPr/>
          <p:nvPr/>
        </p:nvGrpSpPr>
        <p:grpSpPr>
          <a:xfrm>
            <a:off x="6162568" y="2068888"/>
            <a:ext cx="401206" cy="394028"/>
            <a:chOff x="6904389" y="2290422"/>
            <a:chExt cx="216000" cy="216000"/>
          </a:xfrm>
        </p:grpSpPr>
        <p:sp>
          <p:nvSpPr>
            <p:cNvPr id="35" name="Freeform 193"/>
            <p:cNvSpPr>
              <a:spLocks noEditPoints="1"/>
            </p:cNvSpPr>
            <p:nvPr/>
          </p:nvSpPr>
          <p:spPr bwMode="auto">
            <a:xfrm>
              <a:off x="6904389" y="2290422"/>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pic>
          <p:nvPicPr>
            <p:cNvPr id="39" name="Picture 38"/>
            <p:cNvPicPr>
              <a:picLocks noChangeAspect="1"/>
            </p:cNvPicPr>
            <p:nvPr/>
          </p:nvPicPr>
          <p:blipFill>
            <a:blip r:embed="rId3">
              <a:clrChange>
                <a:clrFrom>
                  <a:srgbClr val="FFFFFF"/>
                </a:clrFrom>
                <a:clrTo>
                  <a:srgbClr val="FFFFFF">
                    <a:alpha val="0"/>
                  </a:srgbClr>
                </a:clrTo>
              </a:clrChange>
              <a:duotone>
                <a:srgbClr val="999999">
                  <a:shade val="45000"/>
                  <a:satMod val="135000"/>
                </a:srgbClr>
                <a:prstClr val="white"/>
              </a:duotone>
            </a:blip>
            <a:stretch>
              <a:fillRect/>
            </a:stretch>
          </p:blipFill>
          <p:spPr>
            <a:xfrm>
              <a:off x="6949726" y="2325819"/>
              <a:ext cx="136520" cy="144000"/>
            </a:xfrm>
            <a:prstGeom prst="rect">
              <a:avLst/>
            </a:prstGeom>
            <a:ln>
              <a:noFill/>
            </a:ln>
          </p:spPr>
        </p:pic>
      </p:grpSp>
      <p:grpSp>
        <p:nvGrpSpPr>
          <p:cNvPr id="40" name="Group 39"/>
          <p:cNvGrpSpPr/>
          <p:nvPr/>
        </p:nvGrpSpPr>
        <p:grpSpPr>
          <a:xfrm>
            <a:off x="6160207" y="2713028"/>
            <a:ext cx="401206" cy="394028"/>
            <a:chOff x="8695089" y="2257750"/>
            <a:chExt cx="216000" cy="216000"/>
          </a:xfrm>
        </p:grpSpPr>
        <p:sp>
          <p:nvSpPr>
            <p:cNvPr id="41" name="Freeform 193"/>
            <p:cNvSpPr>
              <a:spLocks noEditPoints="1"/>
            </p:cNvSpPr>
            <p:nvPr/>
          </p:nvSpPr>
          <p:spPr bwMode="auto">
            <a:xfrm>
              <a:off x="8695089" y="2257750"/>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pic>
          <p:nvPicPr>
            <p:cNvPr id="47" name="Picture 18" descr="Image result for design icon"/>
            <p:cNvPicPr>
              <a:picLocks noChangeAspect="1" noChangeArrowheads="1"/>
            </p:cNvPicPr>
            <p:nvPr/>
          </p:nvPicPr>
          <p:blipFill>
            <a:blip r:embed="rId4" cstate="print">
              <a:duotone>
                <a:prstClr val="black"/>
                <a:srgbClr val="999999">
                  <a:tint val="45000"/>
                  <a:satMod val="400000"/>
                </a:srgbClr>
              </a:duotone>
              <a:extLst>
                <a:ext uri="{28A0092B-C50C-407E-A947-70E740481C1C}">
                  <a14:useLocalDpi xmlns:a14="http://schemas.microsoft.com/office/drawing/2010/main" val="0"/>
                </a:ext>
              </a:extLst>
            </a:blip>
            <a:srcRect/>
            <a:stretch>
              <a:fillRect/>
            </a:stretch>
          </p:blipFill>
          <p:spPr bwMode="auto">
            <a:xfrm>
              <a:off x="8732184" y="2291096"/>
              <a:ext cx="144000" cy="144000"/>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48" name="Group 47"/>
          <p:cNvGrpSpPr/>
          <p:nvPr/>
        </p:nvGrpSpPr>
        <p:grpSpPr>
          <a:xfrm>
            <a:off x="6159522" y="3344326"/>
            <a:ext cx="401206" cy="394028"/>
            <a:chOff x="9032213" y="2315238"/>
            <a:chExt cx="216000" cy="216000"/>
          </a:xfrm>
        </p:grpSpPr>
        <p:sp>
          <p:nvSpPr>
            <p:cNvPr id="49" name="Freeform 193"/>
            <p:cNvSpPr>
              <a:spLocks noEditPoints="1"/>
            </p:cNvSpPr>
            <p:nvPr/>
          </p:nvSpPr>
          <p:spPr bwMode="auto">
            <a:xfrm>
              <a:off x="9032213" y="2315238"/>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pic>
          <p:nvPicPr>
            <p:cNvPr id="50" name="Picture 2" descr="Image result for butterfly icon"/>
            <p:cNvPicPr>
              <a:picLocks noChangeAspect="1" noChangeArrowheads="1"/>
            </p:cNvPicPr>
            <p:nvPr/>
          </p:nvPicPr>
          <p:blipFill>
            <a:blip r:embed="rId5" cstate="print">
              <a:duotone>
                <a:srgbClr val="999999">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051263" y="2344530"/>
              <a:ext cx="180000" cy="180000"/>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1" name="Group 50"/>
          <p:cNvGrpSpPr/>
          <p:nvPr/>
        </p:nvGrpSpPr>
        <p:grpSpPr>
          <a:xfrm>
            <a:off x="6154951" y="4001308"/>
            <a:ext cx="401206" cy="394028"/>
            <a:chOff x="9801301" y="2757961"/>
            <a:chExt cx="216000" cy="216000"/>
          </a:xfrm>
        </p:grpSpPr>
        <p:sp>
          <p:nvSpPr>
            <p:cNvPr id="52" name="Freeform 193"/>
            <p:cNvSpPr>
              <a:spLocks noEditPoints="1"/>
            </p:cNvSpPr>
            <p:nvPr/>
          </p:nvSpPr>
          <p:spPr bwMode="auto">
            <a:xfrm>
              <a:off x="9801301" y="2757961"/>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pic>
          <p:nvPicPr>
            <p:cNvPr id="53" name="Picture 52"/>
            <p:cNvPicPr>
              <a:picLocks noChangeAspect="1"/>
            </p:cNvPicPr>
            <p:nvPr/>
          </p:nvPicPr>
          <p:blipFill>
            <a:blip r:embed="rId6" cstate="print">
              <a:duotone>
                <a:srgbClr val="999999">
                  <a:shade val="45000"/>
                  <a:satMod val="135000"/>
                </a:srgbClr>
                <a:prstClr val="white"/>
              </a:duotone>
              <a:extLst>
                <a:ext uri="{28A0092B-C50C-407E-A947-70E740481C1C}">
                  <a14:useLocalDpi xmlns:a14="http://schemas.microsoft.com/office/drawing/2010/main" val="0"/>
                </a:ext>
              </a:extLst>
            </a:blip>
            <a:stretch>
              <a:fillRect/>
            </a:stretch>
          </p:blipFill>
          <p:spPr>
            <a:xfrm>
              <a:off x="9856751" y="2808334"/>
              <a:ext cx="101790" cy="101790"/>
            </a:xfrm>
            <a:prstGeom prst="rect">
              <a:avLst/>
            </a:prstGeom>
          </p:spPr>
        </p:pic>
      </p:grpSp>
      <p:grpSp>
        <p:nvGrpSpPr>
          <p:cNvPr id="54" name="Group 53"/>
          <p:cNvGrpSpPr/>
          <p:nvPr/>
        </p:nvGrpSpPr>
        <p:grpSpPr>
          <a:xfrm>
            <a:off x="6154951" y="4666579"/>
            <a:ext cx="401206" cy="394028"/>
            <a:chOff x="9953701" y="2519355"/>
            <a:chExt cx="216000" cy="216000"/>
          </a:xfrm>
        </p:grpSpPr>
        <p:sp>
          <p:nvSpPr>
            <p:cNvPr id="55" name="Freeform 193"/>
            <p:cNvSpPr>
              <a:spLocks noEditPoints="1"/>
            </p:cNvSpPr>
            <p:nvPr/>
          </p:nvSpPr>
          <p:spPr bwMode="auto">
            <a:xfrm>
              <a:off x="9953701" y="2519355"/>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pic>
          <p:nvPicPr>
            <p:cNvPr id="56" name="Picture 55"/>
            <p:cNvPicPr>
              <a:picLocks noChangeAspect="1"/>
            </p:cNvPicPr>
            <p:nvPr/>
          </p:nvPicPr>
          <p:blipFill>
            <a:blip r:embed="rId7">
              <a:clrChange>
                <a:clrFrom>
                  <a:srgbClr val="FFFFFF"/>
                </a:clrFrom>
                <a:clrTo>
                  <a:srgbClr val="FFFFFF">
                    <a:alpha val="0"/>
                  </a:srgbClr>
                </a:clrTo>
              </a:clrChange>
              <a:duotone>
                <a:srgbClr val="808080">
                  <a:shade val="45000"/>
                  <a:satMod val="135000"/>
                </a:srgbClr>
                <a:prstClr val="white"/>
              </a:duotone>
            </a:blip>
            <a:stretch>
              <a:fillRect/>
            </a:stretch>
          </p:blipFill>
          <p:spPr>
            <a:xfrm>
              <a:off x="9972751" y="2528880"/>
              <a:ext cx="176716" cy="196082"/>
            </a:xfrm>
            <a:prstGeom prst="rect">
              <a:avLst/>
            </a:prstGeom>
          </p:spPr>
        </p:pic>
      </p:grpSp>
      <p:grpSp>
        <p:nvGrpSpPr>
          <p:cNvPr id="57" name="Group 56"/>
          <p:cNvGrpSpPr/>
          <p:nvPr/>
        </p:nvGrpSpPr>
        <p:grpSpPr>
          <a:xfrm>
            <a:off x="6162568" y="5352544"/>
            <a:ext cx="401206" cy="394028"/>
            <a:chOff x="10375826" y="2541961"/>
            <a:chExt cx="216000" cy="216000"/>
          </a:xfrm>
        </p:grpSpPr>
        <p:sp>
          <p:nvSpPr>
            <p:cNvPr id="58" name="Freeform 193"/>
            <p:cNvSpPr>
              <a:spLocks noEditPoints="1"/>
            </p:cNvSpPr>
            <p:nvPr/>
          </p:nvSpPr>
          <p:spPr bwMode="auto">
            <a:xfrm>
              <a:off x="10375826" y="2541961"/>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pic>
          <p:nvPicPr>
            <p:cNvPr id="59" name="Picture 58"/>
            <p:cNvPicPr>
              <a:picLocks noChangeAspect="1"/>
            </p:cNvPicPr>
            <p:nvPr/>
          </p:nvPicPr>
          <p:blipFill>
            <a:blip r:embed="rId8" cstate="print">
              <a:duotone>
                <a:srgbClr val="999999">
                  <a:shade val="45000"/>
                  <a:satMod val="135000"/>
                </a:srgbClr>
                <a:prstClr val="white"/>
              </a:duotone>
              <a:extLst>
                <a:ext uri="{28A0092B-C50C-407E-A947-70E740481C1C}">
                  <a14:useLocalDpi xmlns:a14="http://schemas.microsoft.com/office/drawing/2010/main" val="0"/>
                </a:ext>
              </a:extLst>
            </a:blip>
            <a:stretch>
              <a:fillRect/>
            </a:stretch>
          </p:blipFill>
          <p:spPr>
            <a:xfrm>
              <a:off x="10425677" y="2595135"/>
              <a:ext cx="118058" cy="118058"/>
            </a:xfrm>
            <a:prstGeom prst="rect">
              <a:avLst/>
            </a:prstGeom>
            <a:ln>
              <a:noFill/>
            </a:ln>
          </p:spPr>
        </p:pic>
      </p:grpSp>
      <p:grpSp>
        <p:nvGrpSpPr>
          <p:cNvPr id="60" name="Group 59"/>
          <p:cNvGrpSpPr/>
          <p:nvPr/>
        </p:nvGrpSpPr>
        <p:grpSpPr>
          <a:xfrm>
            <a:off x="6154951" y="6071868"/>
            <a:ext cx="401206" cy="394028"/>
            <a:chOff x="10239451" y="2592638"/>
            <a:chExt cx="216000" cy="216000"/>
          </a:xfrm>
        </p:grpSpPr>
        <p:pic>
          <p:nvPicPr>
            <p:cNvPr id="61" name="Picture 2" descr="Image result for handshake icon"/>
            <p:cNvPicPr>
              <a:picLocks noChangeAspect="1" noChangeArrowheads="1"/>
            </p:cNvPicPr>
            <p:nvPr/>
          </p:nvPicPr>
          <p:blipFill>
            <a:blip r:embed="rId9" cstate="print">
              <a:duotone>
                <a:srgbClr val="80808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264606" y="2630911"/>
              <a:ext cx="170119" cy="144000"/>
            </a:xfrm>
            <a:prstGeom prst="rect">
              <a:avLst/>
            </a:prstGeom>
            <a:noFill/>
            <a:extLst>
              <a:ext uri="{909E8E84-426E-40dd-AFC4-6F175D3DCCD1}">
                <a14:hiddenFill xmlns="" xmlns:a14="http://schemas.microsoft.com/office/drawing/2010/main">
                  <a:solidFill>
                    <a:srgbClr val="FFFFFF"/>
                  </a:solidFill>
                </a14:hiddenFill>
              </a:ext>
            </a:extLst>
          </p:spPr>
        </p:pic>
        <p:sp>
          <p:nvSpPr>
            <p:cNvPr id="62" name="Freeform 193"/>
            <p:cNvSpPr>
              <a:spLocks noEditPoints="1"/>
            </p:cNvSpPr>
            <p:nvPr/>
          </p:nvSpPr>
          <p:spPr bwMode="auto">
            <a:xfrm>
              <a:off x="10239451" y="2592638"/>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grpSp>
      <p:grpSp>
        <p:nvGrpSpPr>
          <p:cNvPr id="63" name="Group 62"/>
          <p:cNvGrpSpPr/>
          <p:nvPr/>
        </p:nvGrpSpPr>
        <p:grpSpPr>
          <a:xfrm>
            <a:off x="6160207" y="1424748"/>
            <a:ext cx="402388" cy="394028"/>
            <a:chOff x="1603086" y="-674110"/>
            <a:chExt cx="402388" cy="394028"/>
          </a:xfrm>
        </p:grpSpPr>
        <p:sp>
          <p:nvSpPr>
            <p:cNvPr id="64" name="Freeform 903"/>
            <p:cNvSpPr>
              <a:spLocks noEditPoints="1"/>
            </p:cNvSpPr>
            <p:nvPr/>
          </p:nvSpPr>
          <p:spPr bwMode="auto">
            <a:xfrm>
              <a:off x="1603086" y="-674110"/>
              <a:ext cx="402388" cy="39402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pic>
          <p:nvPicPr>
            <p:cNvPr id="65" name="Picture 64"/>
            <p:cNvPicPr>
              <a:picLocks noChangeAspect="1"/>
            </p:cNvPicPr>
            <p:nvPr/>
          </p:nvPicPr>
          <p:blipFill>
            <a:blip r:embed="rId10" cstate="print">
              <a:duotone>
                <a:srgbClr val="999999">
                  <a:shade val="45000"/>
                  <a:satMod val="135000"/>
                </a:srgbClr>
                <a:prstClr val="white"/>
              </a:duotone>
              <a:extLst>
                <a:ext uri="{28A0092B-C50C-407E-A947-70E740481C1C}">
                  <a14:useLocalDpi xmlns:a14="http://schemas.microsoft.com/office/drawing/2010/main" val="0"/>
                </a:ext>
              </a:extLst>
            </a:blip>
            <a:stretch>
              <a:fillRect/>
            </a:stretch>
          </p:blipFill>
          <p:spPr>
            <a:xfrm>
              <a:off x="1698042" y="-594686"/>
              <a:ext cx="216016" cy="216016"/>
            </a:xfrm>
            <a:prstGeom prst="rect">
              <a:avLst/>
            </a:prstGeom>
            <a:ln>
              <a:noFill/>
            </a:ln>
          </p:spPr>
        </p:pic>
      </p:grpSp>
      <p:sp>
        <p:nvSpPr>
          <p:cNvPr id="66" name="Text Placeholder 5"/>
          <p:cNvSpPr txBox="1">
            <a:spLocks/>
          </p:cNvSpPr>
          <p:nvPr/>
        </p:nvSpPr>
        <p:spPr>
          <a:xfrm>
            <a:off x="6657552" y="1508204"/>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400" b="1" dirty="0">
                <a:solidFill>
                  <a:schemeClr val="tx1"/>
                </a:solidFill>
                <a:latin typeface="EYInterstate Light" panose="02000506000000020004" pitchFamily="2" charset="0"/>
              </a:rPr>
              <a:t>Solution orientée utilisateur</a:t>
            </a:r>
          </a:p>
        </p:txBody>
      </p:sp>
      <p:sp>
        <p:nvSpPr>
          <p:cNvPr id="67" name="Text Placeholder 5"/>
          <p:cNvSpPr txBox="1">
            <a:spLocks/>
          </p:cNvSpPr>
          <p:nvPr/>
        </p:nvSpPr>
        <p:spPr>
          <a:xfrm>
            <a:off x="6645609" y="2029437"/>
            <a:ext cx="5276299" cy="52322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400" b="1" dirty="0">
                <a:solidFill>
                  <a:schemeClr val="tx1"/>
                </a:solidFill>
                <a:latin typeface="EYInterstate Light" panose="02000506000000020004" pitchFamily="2" charset="0"/>
              </a:rPr>
              <a:t>Solution intégrée permettant l’harmonisation des opérations </a:t>
            </a:r>
          </a:p>
        </p:txBody>
      </p:sp>
      <p:sp>
        <p:nvSpPr>
          <p:cNvPr id="68" name="Text Placeholder 5"/>
          <p:cNvSpPr txBox="1">
            <a:spLocks/>
          </p:cNvSpPr>
          <p:nvPr/>
        </p:nvSpPr>
        <p:spPr>
          <a:xfrm>
            <a:off x="6645609" y="2800275"/>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400" b="1" dirty="0">
                <a:solidFill>
                  <a:schemeClr val="tx1"/>
                </a:solidFill>
                <a:latin typeface="EYInterstate Light" panose="02000506000000020004" pitchFamily="2" charset="0"/>
              </a:rPr>
              <a:t>Source d’enregistrement unique</a:t>
            </a:r>
          </a:p>
        </p:txBody>
      </p:sp>
      <p:sp>
        <p:nvSpPr>
          <p:cNvPr id="69" name="Text Placeholder 5"/>
          <p:cNvSpPr txBox="1">
            <a:spLocks/>
          </p:cNvSpPr>
          <p:nvPr/>
        </p:nvSpPr>
        <p:spPr>
          <a:xfrm>
            <a:off x="6645609" y="3345447"/>
            <a:ext cx="5276299" cy="52322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400" b="1" dirty="0">
                <a:solidFill>
                  <a:schemeClr val="tx1"/>
                </a:solidFill>
                <a:latin typeface="EYInterstate Light" panose="02000506000000020004" pitchFamily="2" charset="0"/>
              </a:rPr>
              <a:t>Accessible à tous les utilisateurs finaux indépendamment de la langue ou du lieu</a:t>
            </a:r>
          </a:p>
        </p:txBody>
      </p:sp>
      <p:sp>
        <p:nvSpPr>
          <p:cNvPr id="70" name="Text Placeholder 5"/>
          <p:cNvSpPr txBox="1">
            <a:spLocks/>
          </p:cNvSpPr>
          <p:nvPr/>
        </p:nvSpPr>
        <p:spPr>
          <a:xfrm>
            <a:off x="6648643" y="3998025"/>
            <a:ext cx="5276299" cy="52322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400" b="1" dirty="0">
                <a:solidFill>
                  <a:schemeClr val="tx1"/>
                </a:solidFill>
                <a:latin typeface="EYInterstate Light" panose="02000506000000020004" pitchFamily="2" charset="0"/>
              </a:rPr>
              <a:t>Libre-service simple, assurant l’accès 24 heures sur 24, 7 jours sur 7</a:t>
            </a:r>
          </a:p>
        </p:txBody>
      </p:sp>
      <p:sp>
        <p:nvSpPr>
          <p:cNvPr id="71" name="Text Placeholder 5"/>
          <p:cNvSpPr txBox="1">
            <a:spLocks/>
          </p:cNvSpPr>
          <p:nvPr/>
        </p:nvSpPr>
        <p:spPr>
          <a:xfrm>
            <a:off x="6651477" y="4704237"/>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400" b="1" dirty="0">
                <a:solidFill>
                  <a:schemeClr val="tx1"/>
                </a:solidFill>
                <a:latin typeface="EYInterstate Light" panose="02000506000000020004" pitchFamily="2" charset="0"/>
              </a:rPr>
              <a:t>Permet la normalisation des processus opérationnels </a:t>
            </a:r>
          </a:p>
        </p:txBody>
      </p:sp>
      <p:sp>
        <p:nvSpPr>
          <p:cNvPr id="72" name="Text Placeholder 5"/>
          <p:cNvSpPr txBox="1">
            <a:spLocks/>
          </p:cNvSpPr>
          <p:nvPr/>
        </p:nvSpPr>
        <p:spPr>
          <a:xfrm>
            <a:off x="6645610" y="5357130"/>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400" b="1" dirty="0">
                <a:solidFill>
                  <a:schemeClr val="tx1"/>
                </a:solidFill>
                <a:latin typeface="EYInterstate Light" panose="02000506000000020004" pitchFamily="2" charset="0"/>
              </a:rPr>
              <a:t>Appuie notre future façon de travailler</a:t>
            </a:r>
          </a:p>
        </p:txBody>
      </p:sp>
      <p:sp>
        <p:nvSpPr>
          <p:cNvPr id="73" name="Text Placeholder 5"/>
          <p:cNvSpPr txBox="1">
            <a:spLocks/>
          </p:cNvSpPr>
          <p:nvPr/>
        </p:nvSpPr>
        <p:spPr>
          <a:xfrm>
            <a:off x="6622327" y="6007273"/>
            <a:ext cx="5276299" cy="52322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400" b="1" dirty="0">
                <a:solidFill>
                  <a:schemeClr val="tx1"/>
                </a:solidFill>
                <a:latin typeface="EYInterstate Light" panose="02000506000000020004" pitchFamily="2" charset="0"/>
              </a:rPr>
              <a:t>Répond aux normes en matière de numérisation et d’architecture</a:t>
            </a:r>
          </a:p>
        </p:txBody>
      </p:sp>
    </p:spTree>
    <p:extLst>
      <p:ext uri="{BB962C8B-B14F-4D97-AF65-F5344CB8AC3E}">
        <p14:creationId xmlns:p14="http://schemas.microsoft.com/office/powerpoint/2010/main" val="324547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custDataLst>
              <p:tags r:id="rId1"/>
            </p:custDataLst>
          </p:nvPr>
        </p:nvPicPr>
        <p:blipFill>
          <a:blip r:embed="rId4" cstate="email">
            <a:extLst>
              <a:ext uri="{28A0092B-C50C-407E-A947-70E740481C1C}">
                <a14:useLocalDpi xmlns:a14="http://schemas.microsoft.com/office/drawing/2010/main"/>
              </a:ext>
            </a:extLst>
          </a:blip>
          <a:srcRect/>
          <a:stretch>
            <a:fillRect/>
          </a:stretch>
        </p:blipFill>
        <p:spPr>
          <a:xfrm>
            <a:off x="11072361" y="256904"/>
            <a:ext cx="405532" cy="415873"/>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sp>
        <p:nvSpPr>
          <p:cNvPr id="11" name="TextBox 10"/>
          <p:cNvSpPr txBox="1"/>
          <p:nvPr>
            <p:custDataLst>
              <p:tags r:id="rId2"/>
            </p:custDataLst>
          </p:nvPr>
        </p:nvSpPr>
        <p:spPr>
          <a:xfrm>
            <a:off x="614566" y="659554"/>
            <a:ext cx="6980034"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Leçons apprises </a:t>
            </a:r>
          </a:p>
        </p:txBody>
      </p:sp>
    </p:spTree>
    <p:extLst>
      <p:ext uri="{BB962C8B-B14F-4D97-AF65-F5344CB8AC3E}">
        <p14:creationId xmlns:p14="http://schemas.microsoft.com/office/powerpoint/2010/main" val="31755160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custDataLst>
              <p:tags r:id="rId1"/>
            </p:custDataLst>
          </p:nvPr>
        </p:nvPicPr>
        <p:blipFill>
          <a:blip r:embed="rId4" cstate="email">
            <a:extLst>
              <a:ext uri="{28A0092B-C50C-407E-A947-70E740481C1C}">
                <a14:useLocalDpi xmlns:a14="http://schemas.microsoft.com/office/drawing/2010/main"/>
              </a:ext>
            </a:extLst>
          </a:blip>
          <a:stretch>
            <a:fillRect/>
          </a:stretch>
        </p:blipFill>
        <p:spPr>
          <a:xfrm flipH="1">
            <a:off x="3174" y="0"/>
            <a:ext cx="12203342" cy="6858000"/>
          </a:xfrm>
          <a:prstGeom prst="rect">
            <a:avLst/>
          </a:prstGeom>
        </p:spPr>
      </p:pic>
      <p:sp>
        <p:nvSpPr>
          <p:cNvPr id="38" name="TextBox 37"/>
          <p:cNvSpPr txBox="1"/>
          <p:nvPr>
            <p:custDataLst>
              <p:tags r:id="rId2"/>
            </p:custDataLst>
          </p:nvPr>
        </p:nvSpPr>
        <p:spPr>
          <a:xfrm>
            <a:off x="609600" y="534850"/>
            <a:ext cx="4111634" cy="1231106"/>
          </a:xfrm>
          <a:prstGeom prst="rect">
            <a:avLst/>
          </a:prstGeom>
          <a:noFill/>
        </p:spPr>
        <p:txBody>
          <a:bodyPr wrap="square" lIns="0" tIns="0" rIns="0" bIns="0" rtlCol="0" anchor="t" anchorCtr="0">
            <a:spAutoFit/>
          </a:bodyPr>
          <a:lstStyle/>
          <a:p>
            <a:r>
              <a:rPr lang="fr-CA" sz="6000" dirty="0">
                <a:solidFill>
                  <a:schemeClr val="tx2"/>
                </a:solidFill>
                <a:latin typeface="EYInterstate Light" panose="02000506000000020004" pitchFamily="2" charset="0"/>
              </a:rPr>
              <a:t>Pause</a:t>
            </a:r>
          </a:p>
          <a:p>
            <a:r>
              <a:rPr lang="fr-CA" sz="2000" dirty="0">
                <a:solidFill>
                  <a:schemeClr val="tx2"/>
                </a:solidFill>
                <a:latin typeface="EYInterstate Light" panose="02000506000000020004" pitchFamily="2" charset="0"/>
              </a:rPr>
              <a:t>(15 minutes)</a:t>
            </a:r>
          </a:p>
        </p:txBody>
      </p:sp>
    </p:spTree>
    <p:extLst>
      <p:ext uri="{BB962C8B-B14F-4D97-AF65-F5344CB8AC3E}">
        <p14:creationId xmlns:p14="http://schemas.microsoft.com/office/powerpoint/2010/main" val="2456692277"/>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2" cstate="print">
            <a:extLst>
              <a:ext uri="{28A0092B-C50C-407E-A947-70E740481C1C}">
                <a14:useLocalDpi xmlns:a14="http://schemas.microsoft.com/office/drawing/2010/main" val="0"/>
              </a:ext>
            </a:extLst>
          </a:blip>
          <a:srcRect l="4411" t="9340" r="51" b="10111"/>
          <a:stretch/>
        </p:blipFill>
        <p:spPr>
          <a:xfrm>
            <a:off x="-43543" y="0"/>
            <a:ext cx="12260943" cy="6886020"/>
          </a:xfrm>
          <a:prstGeom prst="rect">
            <a:avLst/>
          </a:prstGeom>
        </p:spPr>
      </p:pic>
      <p:sp>
        <p:nvSpPr>
          <p:cNvPr id="16" name="Freeform 15"/>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Oval 16"/>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8" name="Freeform 17"/>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Oval 18"/>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1" name="Freeform 20"/>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Oval 23"/>
          <p:cNvSpPr/>
          <p:nvPr/>
        </p:nvSpPr>
        <p:spPr>
          <a:xfrm>
            <a:off x="4490201"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6" name="Freeform 25"/>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Freeform 28"/>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 name="Oval 29"/>
          <p:cNvSpPr/>
          <p:nvPr/>
        </p:nvSpPr>
        <p:spPr>
          <a:xfrm>
            <a:off x="3239417"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7" name="Oval 26"/>
          <p:cNvSpPr/>
          <p:nvPr/>
        </p:nvSpPr>
        <p:spPr>
          <a:xfrm>
            <a:off x="6845197"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8" name="Freeform 27"/>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Freeform 36"/>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chemeClr val="tx1"/>
              </a:solidFill>
            </a:endParaRPr>
          </a:p>
        </p:txBody>
      </p:sp>
      <p:sp>
        <p:nvSpPr>
          <p:cNvPr id="38" name="TextBox 37"/>
          <p:cNvSpPr txBox="1"/>
          <p:nvPr/>
        </p:nvSpPr>
        <p:spPr>
          <a:xfrm>
            <a:off x="0" y="352216"/>
            <a:ext cx="12198350" cy="400110"/>
          </a:xfrm>
          <a:prstGeom prst="rect">
            <a:avLst/>
          </a:prstGeom>
          <a:noFill/>
        </p:spPr>
        <p:txBody>
          <a:bodyPr wrap="square" lIns="0" tIns="0" rIns="0" bIns="0" rtlCol="0" anchor="t" anchorCtr="0">
            <a:spAutoFit/>
          </a:bodyPr>
          <a:lstStyle/>
          <a:p>
            <a:pPr algn="ctr"/>
            <a:r>
              <a:rPr lang="fr-CA" sz="2600" dirty="0">
                <a:solidFill>
                  <a:schemeClr val="tx2"/>
                </a:solidFill>
                <a:latin typeface="EYInterstate" panose="02000503020000020004" pitchFamily="2" charset="0"/>
              </a:rPr>
              <a:t>Gestion des ressources humaines : aperçu du processus et de la technologie </a:t>
            </a:r>
          </a:p>
        </p:txBody>
      </p:sp>
      <p:sp>
        <p:nvSpPr>
          <p:cNvPr id="23" name="Oval 22"/>
          <p:cNvSpPr/>
          <p:nvPr/>
        </p:nvSpPr>
        <p:spPr>
          <a:xfrm>
            <a:off x="1281818" y="3865854"/>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20" name="Group 19"/>
          <p:cNvGrpSpPr/>
          <p:nvPr/>
        </p:nvGrpSpPr>
        <p:grpSpPr>
          <a:xfrm>
            <a:off x="5431798" y="2517189"/>
            <a:ext cx="585235" cy="585235"/>
            <a:chOff x="3057925" y="3581400"/>
            <a:chExt cx="690010" cy="690010"/>
          </a:xfrm>
        </p:grpSpPr>
        <p:sp>
          <p:nvSpPr>
            <p:cNvPr id="25" name="Oval 24"/>
            <p:cNvSpPr/>
            <p:nvPr/>
          </p:nvSpPr>
          <p:spPr>
            <a:xfrm>
              <a:off x="3057925" y="3581400"/>
              <a:ext cx="690010" cy="69001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chemeClr val="tx1"/>
                </a:solidFill>
              </a:endParaRPr>
            </a:p>
          </p:txBody>
        </p:sp>
        <p:sp>
          <p:nvSpPr>
            <p:cNvPr id="32" name="Text Placeholder 5"/>
            <p:cNvSpPr txBox="1">
              <a:spLocks/>
            </p:cNvSpPr>
            <p:nvPr/>
          </p:nvSpPr>
          <p:spPr>
            <a:xfrm>
              <a:off x="3181612" y="3654246"/>
              <a:ext cx="442635" cy="544317"/>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rgbClr val="4B4B4B"/>
                  </a:solidFill>
                  <a:latin typeface="EYInterstate Light" panose="02000506000000020004" pitchFamily="2" charset="0"/>
                </a:rPr>
                <a:t>4</a:t>
              </a:r>
            </a:p>
          </p:txBody>
        </p:sp>
      </p:grpSp>
      <p:pic>
        <p:nvPicPr>
          <p:cNvPr id="34" name="Picture 33"/>
          <p:cNvPicPr>
            <a:picLocks noChangeAspect="1"/>
          </p:cNvPicPr>
          <p:nvPr/>
        </p:nvPicPr>
        <p:blipFill rotWithShape="1">
          <a:blip r:embed="rId3"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Tree>
    <p:extLst>
      <p:ext uri="{BB962C8B-B14F-4D97-AF65-F5344CB8AC3E}">
        <p14:creationId xmlns:p14="http://schemas.microsoft.com/office/powerpoint/2010/main" val="2389186074"/>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5" y="659554"/>
            <a:ext cx="10582797"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Valeur d’une solution moderne de gestion des ressources humaines </a:t>
            </a:r>
          </a:p>
        </p:txBody>
      </p:sp>
      <p:sp>
        <p:nvSpPr>
          <p:cNvPr id="102" name="TextBox 101"/>
          <p:cNvSpPr txBox="1"/>
          <p:nvPr/>
        </p:nvSpPr>
        <p:spPr>
          <a:xfrm>
            <a:off x="614566" y="1140060"/>
            <a:ext cx="4687982" cy="246221"/>
          </a:xfrm>
          <a:prstGeom prst="rect">
            <a:avLst/>
          </a:prstGeom>
          <a:noFill/>
        </p:spPr>
        <p:txBody>
          <a:bodyPr wrap="none" lIns="0" tIns="0" rIns="0" bIns="0" rtlCol="0" anchor="t" anchorCtr="0">
            <a:spAutoFit/>
          </a:bodyPr>
          <a:lstStyle/>
          <a:p>
            <a:r>
              <a:rPr lang="fr-CA" sz="1600" dirty="0">
                <a:solidFill>
                  <a:schemeClr val="tx2">
                    <a:lumMod val="50000"/>
                  </a:schemeClr>
                </a:solidFill>
                <a:latin typeface="EYInterstate Light" panose="02000506000000020004" pitchFamily="2" charset="0"/>
              </a:rPr>
              <a:t>La bonne stratégie peut procurer divers avantages</a:t>
            </a:r>
            <a:endParaRPr lang="fr-CA" sz="1600" dirty="0">
              <a:solidFill>
                <a:srgbClr val="969696"/>
              </a:solidFill>
              <a:latin typeface="EYInterstate Light" panose="02000506000000020004" pitchFamily="2" charset="0"/>
            </a:endParaRPr>
          </a:p>
        </p:txBody>
      </p:sp>
      <p:sp>
        <p:nvSpPr>
          <p:cNvPr id="81" name="Oval 80"/>
          <p:cNvSpPr/>
          <p:nvPr/>
        </p:nvSpPr>
        <p:spPr>
          <a:xfrm>
            <a:off x="4493733" y="3932467"/>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35" name="Oval 34"/>
          <p:cNvSpPr/>
          <p:nvPr/>
        </p:nvSpPr>
        <p:spPr>
          <a:xfrm>
            <a:off x="4493733"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50" name="Oval 49"/>
          <p:cNvSpPr/>
          <p:nvPr/>
        </p:nvSpPr>
        <p:spPr>
          <a:xfrm>
            <a:off x="4908550" y="2087539"/>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7" name="Oval 56"/>
          <p:cNvSpPr/>
          <p:nvPr/>
        </p:nvSpPr>
        <p:spPr>
          <a:xfrm>
            <a:off x="4905375" y="3759258"/>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82" name="Rechteck 24"/>
          <p:cNvSpPr/>
          <p:nvPr/>
        </p:nvSpPr>
        <p:spPr bwMode="gray">
          <a:xfrm>
            <a:off x="4606343" y="4254256"/>
            <a:ext cx="1204566" cy="620170"/>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Réduction du risque opérationnel</a:t>
            </a:r>
          </a:p>
        </p:txBody>
      </p:sp>
      <p:sp>
        <p:nvSpPr>
          <p:cNvPr id="37" name="Rechteck 24"/>
          <p:cNvSpPr/>
          <p:nvPr/>
        </p:nvSpPr>
        <p:spPr bwMode="gray">
          <a:xfrm>
            <a:off x="4407167" y="2674115"/>
            <a:ext cx="1403742" cy="444737"/>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Normalisation des processus</a:t>
            </a:r>
          </a:p>
        </p:txBody>
      </p:sp>
      <p:sp>
        <p:nvSpPr>
          <p:cNvPr id="84" name="Freeform 96"/>
          <p:cNvSpPr>
            <a:spLocks noChangeAspect="1" noEditPoints="1"/>
          </p:cNvSpPr>
          <p:nvPr/>
        </p:nvSpPr>
        <p:spPr bwMode="auto">
          <a:xfrm>
            <a:off x="4977526" y="3822994"/>
            <a:ext cx="266690" cy="285148"/>
          </a:xfrm>
          <a:custGeom>
            <a:avLst/>
            <a:gdLst>
              <a:gd name="T0" fmla="*/ 730 w 730"/>
              <a:gd name="T1" fmla="*/ 386 h 780"/>
              <a:gd name="T2" fmla="*/ 677 w 730"/>
              <a:gd name="T3" fmla="*/ 198 h 780"/>
              <a:gd name="T4" fmla="*/ 476 w 730"/>
              <a:gd name="T5" fmla="*/ 46 h 780"/>
              <a:gd name="T6" fmla="*/ 659 w 730"/>
              <a:gd name="T7" fmla="*/ 195 h 780"/>
              <a:gd name="T8" fmla="*/ 523 w 730"/>
              <a:gd name="T9" fmla="*/ 163 h 780"/>
              <a:gd name="T10" fmla="*/ 510 w 730"/>
              <a:gd name="T11" fmla="*/ 169 h 780"/>
              <a:gd name="T12" fmla="*/ 372 w 730"/>
              <a:gd name="T13" fmla="*/ 195 h 780"/>
              <a:gd name="T14" fmla="*/ 365 w 730"/>
              <a:gd name="T15" fmla="*/ 22 h 780"/>
              <a:gd name="T16" fmla="*/ 52 w 730"/>
              <a:gd name="T17" fmla="*/ 200 h 780"/>
              <a:gd name="T18" fmla="*/ 52 w 730"/>
              <a:gd name="T19" fmla="*/ 574 h 780"/>
              <a:gd name="T20" fmla="*/ 247 w 730"/>
              <a:gd name="T21" fmla="*/ 732 h 780"/>
              <a:gd name="T22" fmla="*/ 256 w 730"/>
              <a:gd name="T23" fmla="*/ 727 h 780"/>
              <a:gd name="T24" fmla="*/ 71 w 730"/>
              <a:gd name="T25" fmla="*/ 577 h 780"/>
              <a:gd name="T26" fmla="*/ 207 w 730"/>
              <a:gd name="T27" fmla="*/ 608 h 780"/>
              <a:gd name="T28" fmla="*/ 216 w 730"/>
              <a:gd name="T29" fmla="*/ 612 h 780"/>
              <a:gd name="T30" fmla="*/ 210 w 730"/>
              <a:gd name="T31" fmla="*/ 577 h 780"/>
              <a:gd name="T32" fmla="*/ 358 w 730"/>
              <a:gd name="T33" fmla="*/ 744 h 780"/>
              <a:gd name="T34" fmla="*/ 677 w 730"/>
              <a:gd name="T35" fmla="*/ 575 h 780"/>
              <a:gd name="T36" fmla="*/ 564 w 730"/>
              <a:gd name="T37" fmla="*/ 393 h 780"/>
              <a:gd name="T38" fmla="*/ 668 w 730"/>
              <a:gd name="T39" fmla="*/ 563 h 780"/>
              <a:gd name="T40" fmla="*/ 564 w 730"/>
              <a:gd name="T41" fmla="*/ 393 h 780"/>
              <a:gd name="T42" fmla="*/ 372 w 730"/>
              <a:gd name="T43" fmla="*/ 563 h 780"/>
              <a:gd name="T44" fmla="*/ 550 w 730"/>
              <a:gd name="T45" fmla="*/ 393 h 780"/>
              <a:gd name="T46" fmla="*/ 668 w 730"/>
              <a:gd name="T47" fmla="*/ 209 h 780"/>
              <a:gd name="T48" fmla="*/ 564 w 730"/>
              <a:gd name="T49" fmla="*/ 379 h 780"/>
              <a:gd name="T50" fmla="*/ 668 w 730"/>
              <a:gd name="T51" fmla="*/ 209 h 780"/>
              <a:gd name="T52" fmla="*/ 550 w 730"/>
              <a:gd name="T53" fmla="*/ 379 h 780"/>
              <a:gd name="T54" fmla="*/ 372 w 730"/>
              <a:gd name="T55" fmla="*/ 209 h 780"/>
              <a:gd name="T56" fmla="*/ 14 w 730"/>
              <a:gd name="T57" fmla="*/ 379 h 780"/>
              <a:gd name="T58" fmla="*/ 191 w 730"/>
              <a:gd name="T59" fmla="*/ 209 h 780"/>
              <a:gd name="T60" fmla="*/ 14 w 730"/>
              <a:gd name="T61" fmla="*/ 379 h 780"/>
              <a:gd name="T62" fmla="*/ 358 w 730"/>
              <a:gd name="T63" fmla="*/ 209 h 780"/>
              <a:gd name="T64" fmla="*/ 180 w 730"/>
              <a:gd name="T65" fmla="*/ 379 h 780"/>
              <a:gd name="T66" fmla="*/ 210 w 730"/>
              <a:gd name="T67" fmla="*/ 195 h 780"/>
              <a:gd name="T68" fmla="*/ 358 w 730"/>
              <a:gd name="T69" fmla="*/ 195 h 780"/>
              <a:gd name="T70" fmla="*/ 299 w 730"/>
              <a:gd name="T71" fmla="*/ 42 h 780"/>
              <a:gd name="T72" fmla="*/ 195 w 730"/>
              <a:gd name="T73" fmla="*/ 195 h 780"/>
              <a:gd name="T74" fmla="*/ 299 w 730"/>
              <a:gd name="T75" fmla="*/ 42 h 780"/>
              <a:gd name="T76" fmla="*/ 14 w 730"/>
              <a:gd name="T77" fmla="*/ 393 h 780"/>
              <a:gd name="T78" fmla="*/ 191 w 730"/>
              <a:gd name="T79" fmla="*/ 563 h 780"/>
              <a:gd name="T80" fmla="*/ 205 w 730"/>
              <a:gd name="T81" fmla="*/ 563 h 780"/>
              <a:gd name="T82" fmla="*/ 358 w 730"/>
              <a:gd name="T83" fmla="*/ 393 h 780"/>
              <a:gd name="T84" fmla="*/ 205 w 730"/>
              <a:gd name="T85" fmla="*/ 563 h 780"/>
              <a:gd name="T86" fmla="*/ 372 w 730"/>
              <a:gd name="T87" fmla="*/ 737 h 780"/>
              <a:gd name="T88" fmla="*/ 520 w 730"/>
              <a:gd name="T89" fmla="*/ 577 h 780"/>
              <a:gd name="T90" fmla="*/ 507 w 730"/>
              <a:gd name="T91" fmla="*/ 643 h 780"/>
              <a:gd name="T92" fmla="*/ 659 w 730"/>
              <a:gd name="T93" fmla="*/ 577 h 780"/>
              <a:gd name="T94" fmla="*/ 324 w 730"/>
              <a:gd name="T95" fmla="*/ 740 h 780"/>
              <a:gd name="T96" fmla="*/ 321 w 730"/>
              <a:gd name="T97" fmla="*/ 752 h 780"/>
              <a:gd name="T98" fmla="*/ 194 w 730"/>
              <a:gd name="T99" fmla="*/ 780 h 780"/>
              <a:gd name="T100" fmla="*/ 193 w 730"/>
              <a:gd name="T101" fmla="*/ 766 h 780"/>
              <a:gd name="T102" fmla="*/ 227 w 730"/>
              <a:gd name="T103" fmla="*/ 653 h 780"/>
              <a:gd name="T104" fmla="*/ 238 w 730"/>
              <a:gd name="T105" fmla="*/ 643 h 780"/>
              <a:gd name="T106" fmla="*/ 416 w 730"/>
              <a:gd name="T107" fmla="*/ 38 h 780"/>
              <a:gd name="T108" fmla="*/ 420 w 730"/>
              <a:gd name="T109" fmla="*/ 27 h 780"/>
              <a:gd name="T110" fmla="*/ 540 w 730"/>
              <a:gd name="T111" fmla="*/ 7 h 780"/>
              <a:gd name="T112" fmla="*/ 435 w 730"/>
              <a:gd name="T113" fmla="*/ 38 h 780"/>
              <a:gd name="T114" fmla="*/ 504 w 730"/>
              <a:gd name="T115" fmla="*/ 125 h 780"/>
              <a:gd name="T116" fmla="*/ 494 w 730"/>
              <a:gd name="T117" fmla="*/ 125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0" h="780">
                <a:moveTo>
                  <a:pt x="678" y="573"/>
                </a:moveTo>
                <a:cubicBezTo>
                  <a:pt x="711" y="518"/>
                  <a:pt x="730" y="454"/>
                  <a:pt x="730" y="386"/>
                </a:cubicBezTo>
                <a:cubicBezTo>
                  <a:pt x="730" y="319"/>
                  <a:pt x="711" y="255"/>
                  <a:pt x="678" y="200"/>
                </a:cubicBezTo>
                <a:cubicBezTo>
                  <a:pt x="678" y="199"/>
                  <a:pt x="678" y="199"/>
                  <a:pt x="677" y="198"/>
                </a:cubicBezTo>
                <a:cubicBezTo>
                  <a:pt x="634" y="127"/>
                  <a:pt x="567" y="70"/>
                  <a:pt x="485" y="42"/>
                </a:cubicBezTo>
                <a:cubicBezTo>
                  <a:pt x="481" y="41"/>
                  <a:pt x="477" y="42"/>
                  <a:pt x="476" y="46"/>
                </a:cubicBezTo>
                <a:cubicBezTo>
                  <a:pt x="475" y="50"/>
                  <a:pt x="476" y="54"/>
                  <a:pt x="480" y="55"/>
                </a:cubicBezTo>
                <a:cubicBezTo>
                  <a:pt x="556" y="81"/>
                  <a:pt x="618" y="131"/>
                  <a:pt x="659" y="195"/>
                </a:cubicBezTo>
                <a:cubicBezTo>
                  <a:pt x="535" y="195"/>
                  <a:pt x="535" y="195"/>
                  <a:pt x="535" y="195"/>
                </a:cubicBezTo>
                <a:cubicBezTo>
                  <a:pt x="531" y="184"/>
                  <a:pt x="527" y="174"/>
                  <a:pt x="523" y="163"/>
                </a:cubicBezTo>
                <a:cubicBezTo>
                  <a:pt x="521" y="160"/>
                  <a:pt x="517" y="158"/>
                  <a:pt x="514" y="159"/>
                </a:cubicBezTo>
                <a:cubicBezTo>
                  <a:pt x="510" y="161"/>
                  <a:pt x="508" y="165"/>
                  <a:pt x="510" y="169"/>
                </a:cubicBezTo>
                <a:cubicBezTo>
                  <a:pt x="514" y="177"/>
                  <a:pt x="517" y="186"/>
                  <a:pt x="520" y="195"/>
                </a:cubicBezTo>
                <a:cubicBezTo>
                  <a:pt x="372" y="195"/>
                  <a:pt x="372" y="195"/>
                  <a:pt x="372" y="195"/>
                </a:cubicBezTo>
                <a:cubicBezTo>
                  <a:pt x="372" y="29"/>
                  <a:pt x="372" y="29"/>
                  <a:pt x="372" y="29"/>
                </a:cubicBezTo>
                <a:cubicBezTo>
                  <a:pt x="372" y="25"/>
                  <a:pt x="369" y="22"/>
                  <a:pt x="365" y="22"/>
                </a:cubicBezTo>
                <a:cubicBezTo>
                  <a:pt x="233" y="22"/>
                  <a:pt x="117" y="92"/>
                  <a:pt x="53" y="198"/>
                </a:cubicBezTo>
                <a:cubicBezTo>
                  <a:pt x="52" y="199"/>
                  <a:pt x="52" y="199"/>
                  <a:pt x="52" y="200"/>
                </a:cubicBezTo>
                <a:cubicBezTo>
                  <a:pt x="19" y="255"/>
                  <a:pt x="0" y="318"/>
                  <a:pt x="0" y="386"/>
                </a:cubicBezTo>
                <a:cubicBezTo>
                  <a:pt x="0" y="454"/>
                  <a:pt x="19" y="519"/>
                  <a:pt x="52" y="574"/>
                </a:cubicBezTo>
                <a:cubicBezTo>
                  <a:pt x="52" y="574"/>
                  <a:pt x="52" y="574"/>
                  <a:pt x="52" y="574"/>
                </a:cubicBezTo>
                <a:cubicBezTo>
                  <a:pt x="96" y="646"/>
                  <a:pt x="164" y="703"/>
                  <a:pt x="247" y="732"/>
                </a:cubicBezTo>
                <a:cubicBezTo>
                  <a:pt x="248" y="732"/>
                  <a:pt x="248" y="732"/>
                  <a:pt x="249" y="732"/>
                </a:cubicBezTo>
                <a:cubicBezTo>
                  <a:pt x="252" y="732"/>
                  <a:pt x="255" y="730"/>
                  <a:pt x="256" y="727"/>
                </a:cubicBezTo>
                <a:cubicBezTo>
                  <a:pt x="257" y="724"/>
                  <a:pt x="255" y="720"/>
                  <a:pt x="251" y="718"/>
                </a:cubicBezTo>
                <a:cubicBezTo>
                  <a:pt x="175" y="692"/>
                  <a:pt x="113" y="642"/>
                  <a:pt x="71" y="577"/>
                </a:cubicBezTo>
                <a:cubicBezTo>
                  <a:pt x="195" y="577"/>
                  <a:pt x="195" y="577"/>
                  <a:pt x="195" y="577"/>
                </a:cubicBezTo>
                <a:cubicBezTo>
                  <a:pt x="199" y="588"/>
                  <a:pt x="202" y="598"/>
                  <a:pt x="207" y="608"/>
                </a:cubicBezTo>
                <a:cubicBezTo>
                  <a:pt x="208" y="611"/>
                  <a:pt x="210" y="612"/>
                  <a:pt x="213" y="612"/>
                </a:cubicBezTo>
                <a:cubicBezTo>
                  <a:pt x="214" y="612"/>
                  <a:pt x="215" y="612"/>
                  <a:pt x="216" y="612"/>
                </a:cubicBezTo>
                <a:cubicBezTo>
                  <a:pt x="219" y="610"/>
                  <a:pt x="221" y="606"/>
                  <a:pt x="219" y="603"/>
                </a:cubicBezTo>
                <a:cubicBezTo>
                  <a:pt x="216" y="594"/>
                  <a:pt x="213" y="586"/>
                  <a:pt x="210" y="577"/>
                </a:cubicBezTo>
                <a:cubicBezTo>
                  <a:pt x="358" y="577"/>
                  <a:pt x="358" y="577"/>
                  <a:pt x="358" y="577"/>
                </a:cubicBezTo>
                <a:cubicBezTo>
                  <a:pt x="358" y="744"/>
                  <a:pt x="358" y="744"/>
                  <a:pt x="358" y="744"/>
                </a:cubicBezTo>
                <a:cubicBezTo>
                  <a:pt x="358" y="748"/>
                  <a:pt x="361" y="751"/>
                  <a:pt x="365" y="751"/>
                </a:cubicBezTo>
                <a:cubicBezTo>
                  <a:pt x="497" y="751"/>
                  <a:pt x="613" y="680"/>
                  <a:pt x="677" y="575"/>
                </a:cubicBezTo>
                <a:cubicBezTo>
                  <a:pt x="678" y="574"/>
                  <a:pt x="678" y="574"/>
                  <a:pt x="678" y="573"/>
                </a:cubicBezTo>
                <a:close/>
                <a:moveTo>
                  <a:pt x="564" y="393"/>
                </a:moveTo>
                <a:cubicBezTo>
                  <a:pt x="716" y="393"/>
                  <a:pt x="716" y="393"/>
                  <a:pt x="716" y="393"/>
                </a:cubicBezTo>
                <a:cubicBezTo>
                  <a:pt x="714" y="455"/>
                  <a:pt x="697" y="513"/>
                  <a:pt x="668" y="563"/>
                </a:cubicBezTo>
                <a:cubicBezTo>
                  <a:pt x="539" y="563"/>
                  <a:pt x="539" y="563"/>
                  <a:pt x="539" y="563"/>
                </a:cubicBezTo>
                <a:cubicBezTo>
                  <a:pt x="555" y="512"/>
                  <a:pt x="564" y="454"/>
                  <a:pt x="564" y="393"/>
                </a:cubicBezTo>
                <a:close/>
                <a:moveTo>
                  <a:pt x="525" y="563"/>
                </a:moveTo>
                <a:cubicBezTo>
                  <a:pt x="372" y="563"/>
                  <a:pt x="372" y="563"/>
                  <a:pt x="372" y="563"/>
                </a:cubicBezTo>
                <a:cubicBezTo>
                  <a:pt x="372" y="393"/>
                  <a:pt x="372" y="393"/>
                  <a:pt x="372" y="393"/>
                </a:cubicBezTo>
                <a:cubicBezTo>
                  <a:pt x="550" y="393"/>
                  <a:pt x="550" y="393"/>
                  <a:pt x="550" y="393"/>
                </a:cubicBezTo>
                <a:cubicBezTo>
                  <a:pt x="550" y="455"/>
                  <a:pt x="540" y="513"/>
                  <a:pt x="525" y="563"/>
                </a:cubicBezTo>
                <a:close/>
                <a:moveTo>
                  <a:pt x="668" y="209"/>
                </a:moveTo>
                <a:cubicBezTo>
                  <a:pt x="697" y="260"/>
                  <a:pt x="714" y="318"/>
                  <a:pt x="716" y="379"/>
                </a:cubicBezTo>
                <a:cubicBezTo>
                  <a:pt x="564" y="379"/>
                  <a:pt x="564" y="379"/>
                  <a:pt x="564" y="379"/>
                </a:cubicBezTo>
                <a:cubicBezTo>
                  <a:pt x="564" y="319"/>
                  <a:pt x="555" y="261"/>
                  <a:pt x="539" y="209"/>
                </a:cubicBezTo>
                <a:lnTo>
                  <a:pt x="668" y="209"/>
                </a:lnTo>
                <a:close/>
                <a:moveTo>
                  <a:pt x="525" y="209"/>
                </a:moveTo>
                <a:cubicBezTo>
                  <a:pt x="541" y="261"/>
                  <a:pt x="550" y="319"/>
                  <a:pt x="550" y="379"/>
                </a:cubicBezTo>
                <a:cubicBezTo>
                  <a:pt x="372" y="379"/>
                  <a:pt x="372" y="379"/>
                  <a:pt x="372" y="379"/>
                </a:cubicBezTo>
                <a:cubicBezTo>
                  <a:pt x="372" y="209"/>
                  <a:pt x="372" y="209"/>
                  <a:pt x="372" y="209"/>
                </a:cubicBezTo>
                <a:lnTo>
                  <a:pt x="525" y="209"/>
                </a:lnTo>
                <a:close/>
                <a:moveTo>
                  <a:pt x="14" y="379"/>
                </a:moveTo>
                <a:cubicBezTo>
                  <a:pt x="16" y="318"/>
                  <a:pt x="33" y="260"/>
                  <a:pt x="62" y="209"/>
                </a:cubicBezTo>
                <a:cubicBezTo>
                  <a:pt x="191" y="209"/>
                  <a:pt x="191" y="209"/>
                  <a:pt x="191" y="209"/>
                </a:cubicBezTo>
                <a:cubicBezTo>
                  <a:pt x="175" y="261"/>
                  <a:pt x="166" y="319"/>
                  <a:pt x="166" y="379"/>
                </a:cubicBezTo>
                <a:lnTo>
                  <a:pt x="14" y="379"/>
                </a:lnTo>
                <a:close/>
                <a:moveTo>
                  <a:pt x="205" y="209"/>
                </a:moveTo>
                <a:cubicBezTo>
                  <a:pt x="358" y="209"/>
                  <a:pt x="358" y="209"/>
                  <a:pt x="358" y="209"/>
                </a:cubicBezTo>
                <a:cubicBezTo>
                  <a:pt x="358" y="379"/>
                  <a:pt x="358" y="379"/>
                  <a:pt x="358" y="379"/>
                </a:cubicBezTo>
                <a:cubicBezTo>
                  <a:pt x="180" y="379"/>
                  <a:pt x="180" y="379"/>
                  <a:pt x="180" y="379"/>
                </a:cubicBezTo>
                <a:cubicBezTo>
                  <a:pt x="180" y="318"/>
                  <a:pt x="190" y="260"/>
                  <a:pt x="205" y="209"/>
                </a:cubicBezTo>
                <a:close/>
                <a:moveTo>
                  <a:pt x="210" y="195"/>
                </a:moveTo>
                <a:cubicBezTo>
                  <a:pt x="242" y="103"/>
                  <a:pt x="296" y="40"/>
                  <a:pt x="358" y="36"/>
                </a:cubicBezTo>
                <a:cubicBezTo>
                  <a:pt x="358" y="195"/>
                  <a:pt x="358" y="195"/>
                  <a:pt x="358" y="195"/>
                </a:cubicBezTo>
                <a:lnTo>
                  <a:pt x="210" y="195"/>
                </a:lnTo>
                <a:close/>
                <a:moveTo>
                  <a:pt x="299" y="42"/>
                </a:moveTo>
                <a:cubicBezTo>
                  <a:pt x="271" y="60"/>
                  <a:pt x="245" y="90"/>
                  <a:pt x="223" y="130"/>
                </a:cubicBezTo>
                <a:cubicBezTo>
                  <a:pt x="212" y="150"/>
                  <a:pt x="203" y="172"/>
                  <a:pt x="195" y="195"/>
                </a:cubicBezTo>
                <a:cubicBezTo>
                  <a:pt x="71" y="195"/>
                  <a:pt x="71" y="195"/>
                  <a:pt x="71" y="195"/>
                </a:cubicBezTo>
                <a:cubicBezTo>
                  <a:pt x="122" y="117"/>
                  <a:pt x="204" y="60"/>
                  <a:pt x="299" y="42"/>
                </a:cubicBezTo>
                <a:close/>
                <a:moveTo>
                  <a:pt x="62" y="563"/>
                </a:moveTo>
                <a:cubicBezTo>
                  <a:pt x="33" y="513"/>
                  <a:pt x="16" y="455"/>
                  <a:pt x="14" y="393"/>
                </a:cubicBezTo>
                <a:cubicBezTo>
                  <a:pt x="166" y="393"/>
                  <a:pt x="166" y="393"/>
                  <a:pt x="166" y="393"/>
                </a:cubicBezTo>
                <a:cubicBezTo>
                  <a:pt x="166" y="454"/>
                  <a:pt x="175" y="512"/>
                  <a:pt x="191" y="563"/>
                </a:cubicBezTo>
                <a:lnTo>
                  <a:pt x="62" y="563"/>
                </a:lnTo>
                <a:close/>
                <a:moveTo>
                  <a:pt x="205" y="563"/>
                </a:moveTo>
                <a:cubicBezTo>
                  <a:pt x="189" y="512"/>
                  <a:pt x="180" y="454"/>
                  <a:pt x="180" y="393"/>
                </a:cubicBezTo>
                <a:cubicBezTo>
                  <a:pt x="358" y="393"/>
                  <a:pt x="358" y="393"/>
                  <a:pt x="358" y="393"/>
                </a:cubicBezTo>
                <a:cubicBezTo>
                  <a:pt x="358" y="563"/>
                  <a:pt x="358" y="563"/>
                  <a:pt x="358" y="563"/>
                </a:cubicBezTo>
                <a:lnTo>
                  <a:pt x="205" y="563"/>
                </a:lnTo>
                <a:close/>
                <a:moveTo>
                  <a:pt x="520" y="577"/>
                </a:moveTo>
                <a:cubicBezTo>
                  <a:pt x="488" y="670"/>
                  <a:pt x="434" y="732"/>
                  <a:pt x="372" y="737"/>
                </a:cubicBezTo>
                <a:cubicBezTo>
                  <a:pt x="372" y="577"/>
                  <a:pt x="372" y="577"/>
                  <a:pt x="372" y="577"/>
                </a:cubicBezTo>
                <a:lnTo>
                  <a:pt x="520" y="577"/>
                </a:lnTo>
                <a:close/>
                <a:moveTo>
                  <a:pt x="431" y="731"/>
                </a:moveTo>
                <a:cubicBezTo>
                  <a:pt x="459" y="713"/>
                  <a:pt x="485" y="683"/>
                  <a:pt x="507" y="643"/>
                </a:cubicBezTo>
                <a:cubicBezTo>
                  <a:pt x="518" y="623"/>
                  <a:pt x="527" y="601"/>
                  <a:pt x="535" y="577"/>
                </a:cubicBezTo>
                <a:cubicBezTo>
                  <a:pt x="659" y="577"/>
                  <a:pt x="659" y="577"/>
                  <a:pt x="659" y="577"/>
                </a:cubicBezTo>
                <a:cubicBezTo>
                  <a:pt x="608" y="656"/>
                  <a:pt x="526" y="713"/>
                  <a:pt x="431" y="731"/>
                </a:cubicBezTo>
                <a:close/>
                <a:moveTo>
                  <a:pt x="324" y="740"/>
                </a:moveTo>
                <a:cubicBezTo>
                  <a:pt x="326" y="742"/>
                  <a:pt x="327" y="745"/>
                  <a:pt x="326" y="747"/>
                </a:cubicBezTo>
                <a:cubicBezTo>
                  <a:pt x="325" y="749"/>
                  <a:pt x="323" y="751"/>
                  <a:pt x="321" y="752"/>
                </a:cubicBezTo>
                <a:cubicBezTo>
                  <a:pt x="196" y="780"/>
                  <a:pt x="196" y="780"/>
                  <a:pt x="196" y="780"/>
                </a:cubicBezTo>
                <a:cubicBezTo>
                  <a:pt x="195" y="780"/>
                  <a:pt x="195" y="780"/>
                  <a:pt x="194" y="780"/>
                </a:cubicBezTo>
                <a:cubicBezTo>
                  <a:pt x="191" y="780"/>
                  <a:pt x="188" y="778"/>
                  <a:pt x="187" y="775"/>
                </a:cubicBezTo>
                <a:cubicBezTo>
                  <a:pt x="186" y="771"/>
                  <a:pt x="189" y="767"/>
                  <a:pt x="193" y="766"/>
                </a:cubicBezTo>
                <a:cubicBezTo>
                  <a:pt x="306" y="741"/>
                  <a:pt x="306" y="741"/>
                  <a:pt x="306" y="741"/>
                </a:cubicBezTo>
                <a:cubicBezTo>
                  <a:pt x="227" y="653"/>
                  <a:pt x="227" y="653"/>
                  <a:pt x="227" y="653"/>
                </a:cubicBezTo>
                <a:cubicBezTo>
                  <a:pt x="225" y="650"/>
                  <a:pt x="225" y="646"/>
                  <a:pt x="228" y="643"/>
                </a:cubicBezTo>
                <a:cubicBezTo>
                  <a:pt x="231" y="640"/>
                  <a:pt x="235" y="641"/>
                  <a:pt x="238" y="643"/>
                </a:cubicBezTo>
                <a:lnTo>
                  <a:pt x="324" y="740"/>
                </a:lnTo>
                <a:close/>
                <a:moveTo>
                  <a:pt x="416" y="38"/>
                </a:moveTo>
                <a:cubicBezTo>
                  <a:pt x="415" y="36"/>
                  <a:pt x="414" y="34"/>
                  <a:pt x="415" y="31"/>
                </a:cubicBezTo>
                <a:cubicBezTo>
                  <a:pt x="415" y="29"/>
                  <a:pt x="417" y="27"/>
                  <a:pt x="420" y="27"/>
                </a:cubicBezTo>
                <a:cubicBezTo>
                  <a:pt x="532" y="1"/>
                  <a:pt x="532" y="1"/>
                  <a:pt x="532" y="1"/>
                </a:cubicBezTo>
                <a:cubicBezTo>
                  <a:pt x="536" y="0"/>
                  <a:pt x="539" y="3"/>
                  <a:pt x="540" y="7"/>
                </a:cubicBezTo>
                <a:cubicBezTo>
                  <a:pt x="541" y="10"/>
                  <a:pt x="539" y="14"/>
                  <a:pt x="535" y="15"/>
                </a:cubicBezTo>
                <a:cubicBezTo>
                  <a:pt x="435" y="38"/>
                  <a:pt x="435" y="38"/>
                  <a:pt x="435" y="38"/>
                </a:cubicBezTo>
                <a:cubicBezTo>
                  <a:pt x="504" y="115"/>
                  <a:pt x="504" y="115"/>
                  <a:pt x="504" y="115"/>
                </a:cubicBezTo>
                <a:cubicBezTo>
                  <a:pt x="507" y="118"/>
                  <a:pt x="506" y="123"/>
                  <a:pt x="504" y="125"/>
                </a:cubicBezTo>
                <a:cubicBezTo>
                  <a:pt x="502" y="127"/>
                  <a:pt x="501" y="127"/>
                  <a:pt x="499" y="127"/>
                </a:cubicBezTo>
                <a:cubicBezTo>
                  <a:pt x="497" y="127"/>
                  <a:pt x="495" y="126"/>
                  <a:pt x="494" y="125"/>
                </a:cubicBezTo>
                <a:lnTo>
                  <a:pt x="416" y="38"/>
                </a:ln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38" name="Freeform 123"/>
          <p:cNvSpPr>
            <a:spLocks noChangeAspect="1" noEditPoints="1"/>
          </p:cNvSpPr>
          <p:nvPr/>
        </p:nvSpPr>
        <p:spPr bwMode="auto">
          <a:xfrm>
            <a:off x="4972264" y="2159849"/>
            <a:ext cx="273548" cy="274455"/>
          </a:xfrm>
          <a:custGeom>
            <a:avLst/>
            <a:gdLst>
              <a:gd name="T0" fmla="*/ 529 w 676"/>
              <a:gd name="T1" fmla="*/ 279 h 678"/>
              <a:gd name="T2" fmla="*/ 431 w 676"/>
              <a:gd name="T3" fmla="*/ 293 h 678"/>
              <a:gd name="T4" fmla="*/ 409 w 676"/>
              <a:gd name="T5" fmla="*/ 210 h 678"/>
              <a:gd name="T6" fmla="*/ 367 w 676"/>
              <a:gd name="T7" fmla="*/ 125 h 678"/>
              <a:gd name="T8" fmla="*/ 401 w 676"/>
              <a:gd name="T9" fmla="*/ 58 h 678"/>
              <a:gd name="T10" fmla="*/ 504 w 676"/>
              <a:gd name="T11" fmla="*/ 6 h 678"/>
              <a:gd name="T12" fmla="*/ 579 w 676"/>
              <a:gd name="T13" fmla="*/ 18 h 678"/>
              <a:gd name="T14" fmla="*/ 659 w 676"/>
              <a:gd name="T15" fmla="*/ 100 h 678"/>
              <a:gd name="T16" fmla="*/ 676 w 676"/>
              <a:gd name="T17" fmla="*/ 169 h 678"/>
              <a:gd name="T18" fmla="*/ 605 w 676"/>
              <a:gd name="T19" fmla="*/ 241 h 678"/>
              <a:gd name="T20" fmla="*/ 558 w 676"/>
              <a:gd name="T21" fmla="*/ 314 h 678"/>
              <a:gd name="T22" fmla="*/ 539 w 676"/>
              <a:gd name="T23" fmla="*/ 267 h 678"/>
              <a:gd name="T24" fmla="*/ 590 w 676"/>
              <a:gd name="T25" fmla="*/ 242 h 678"/>
              <a:gd name="T26" fmla="*/ 626 w 676"/>
              <a:gd name="T27" fmla="*/ 172 h 678"/>
              <a:gd name="T28" fmla="*/ 655 w 676"/>
              <a:gd name="T29" fmla="*/ 114 h 678"/>
              <a:gd name="T30" fmla="*/ 566 w 676"/>
              <a:gd name="T31" fmla="*/ 67 h 678"/>
              <a:gd name="T32" fmla="*/ 517 w 676"/>
              <a:gd name="T33" fmla="*/ 15 h 678"/>
              <a:gd name="T34" fmla="*/ 500 w 676"/>
              <a:gd name="T35" fmla="*/ 56 h 678"/>
              <a:gd name="T36" fmla="*/ 401 w 676"/>
              <a:gd name="T37" fmla="*/ 73 h 678"/>
              <a:gd name="T38" fmla="*/ 413 w 676"/>
              <a:gd name="T39" fmla="*/ 144 h 678"/>
              <a:gd name="T40" fmla="*/ 422 w 676"/>
              <a:gd name="T41" fmla="*/ 215 h 678"/>
              <a:gd name="T42" fmla="*/ 463 w 676"/>
              <a:gd name="T43" fmla="*/ 255 h 678"/>
              <a:gd name="T44" fmla="*/ 532 w 676"/>
              <a:gd name="T45" fmla="*/ 264 h 678"/>
              <a:gd name="T46" fmla="*/ 478 w 676"/>
              <a:gd name="T47" fmla="*/ 160 h 678"/>
              <a:gd name="T48" fmla="*/ 517 w 676"/>
              <a:gd name="T49" fmla="*/ 199 h 678"/>
              <a:gd name="T50" fmla="*/ 517 w 676"/>
              <a:gd name="T51" fmla="*/ 185 h 678"/>
              <a:gd name="T52" fmla="*/ 258 w 676"/>
              <a:gd name="T53" fmla="*/ 678 h 678"/>
              <a:gd name="T54" fmla="*/ 233 w 676"/>
              <a:gd name="T55" fmla="*/ 615 h 678"/>
              <a:gd name="T56" fmla="*/ 105 w 676"/>
              <a:gd name="T57" fmla="*/ 628 h 678"/>
              <a:gd name="T58" fmla="*/ 90 w 676"/>
              <a:gd name="T59" fmla="*/ 522 h 678"/>
              <a:gd name="T60" fmla="*/ 0 w 676"/>
              <a:gd name="T61" fmla="*/ 424 h 678"/>
              <a:gd name="T62" fmla="*/ 14 w 676"/>
              <a:gd name="T63" fmla="*/ 350 h 678"/>
              <a:gd name="T64" fmla="*/ 91 w 676"/>
              <a:gd name="T65" fmla="*/ 229 h 678"/>
              <a:gd name="T66" fmla="*/ 159 w 676"/>
              <a:gd name="T67" fmla="*/ 185 h 678"/>
              <a:gd name="T68" fmla="*/ 276 w 676"/>
              <a:gd name="T69" fmla="*/ 222 h 678"/>
              <a:gd name="T70" fmla="*/ 378 w 676"/>
              <a:gd name="T71" fmla="*/ 190 h 678"/>
              <a:gd name="T72" fmla="*/ 423 w 676"/>
              <a:gd name="T73" fmla="*/ 310 h 678"/>
              <a:gd name="T74" fmla="*/ 513 w 676"/>
              <a:gd name="T75" fmla="*/ 370 h 678"/>
              <a:gd name="T76" fmla="*/ 456 w 676"/>
              <a:gd name="T77" fmla="*/ 419 h 678"/>
              <a:gd name="T78" fmla="*/ 494 w 676"/>
              <a:gd name="T79" fmla="*/ 527 h 678"/>
              <a:gd name="T80" fmla="*/ 393 w 676"/>
              <a:gd name="T81" fmla="*/ 564 h 678"/>
              <a:gd name="T82" fmla="*/ 325 w 676"/>
              <a:gd name="T83" fmla="*/ 669 h 678"/>
              <a:gd name="T84" fmla="*/ 165 w 676"/>
              <a:gd name="T85" fmla="*/ 577 h 678"/>
              <a:gd name="T86" fmla="*/ 261 w 676"/>
              <a:gd name="T87" fmla="*/ 664 h 678"/>
              <a:gd name="T88" fmla="*/ 323 w 676"/>
              <a:gd name="T89" fmla="*/ 591 h 678"/>
              <a:gd name="T90" fmla="*/ 449 w 676"/>
              <a:gd name="T91" fmla="*/ 573 h 678"/>
              <a:gd name="T92" fmla="*/ 432 w 676"/>
              <a:gd name="T93" fmla="*/ 479 h 678"/>
              <a:gd name="T94" fmla="*/ 445 w 676"/>
              <a:gd name="T95" fmla="*/ 396 h 678"/>
              <a:gd name="T96" fmla="*/ 421 w 676"/>
              <a:gd name="T97" fmla="*/ 325 h 678"/>
              <a:gd name="T98" fmla="*/ 356 w 676"/>
              <a:gd name="T99" fmla="*/ 258 h 678"/>
              <a:gd name="T100" fmla="*/ 286 w 676"/>
              <a:gd name="T101" fmla="*/ 233 h 678"/>
              <a:gd name="T102" fmla="*/ 199 w 676"/>
              <a:gd name="T103" fmla="*/ 245 h 678"/>
              <a:gd name="T104" fmla="*/ 106 w 676"/>
              <a:gd name="T105" fmla="*/ 228 h 678"/>
              <a:gd name="T106" fmla="*/ 85 w 676"/>
              <a:gd name="T107" fmla="*/ 357 h 678"/>
              <a:gd name="T108" fmla="*/ 14 w 676"/>
              <a:gd name="T109" fmla="*/ 419 h 678"/>
              <a:gd name="T110" fmla="*/ 104 w 676"/>
              <a:gd name="T111" fmla="*/ 519 h 678"/>
              <a:gd name="T112" fmla="*/ 109 w 676"/>
              <a:gd name="T113" fmla="*/ 613 h 678"/>
              <a:gd name="T114" fmla="*/ 258 w 676"/>
              <a:gd name="T115" fmla="*/ 484 h 678"/>
              <a:gd name="T116" fmla="*/ 323 w 676"/>
              <a:gd name="T117" fmla="*/ 419 h 678"/>
              <a:gd name="T118" fmla="*/ 207 w 676"/>
              <a:gd name="T119" fmla="*/ 419 h 678"/>
              <a:gd name="T120" fmla="*/ 258 w 676"/>
              <a:gd name="T121" fmla="*/ 36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6" h="678">
                <a:moveTo>
                  <a:pt x="556" y="314"/>
                </a:moveTo>
                <a:cubicBezTo>
                  <a:pt x="554" y="314"/>
                  <a:pt x="551" y="313"/>
                  <a:pt x="550" y="311"/>
                </a:cubicBezTo>
                <a:cubicBezTo>
                  <a:pt x="529" y="279"/>
                  <a:pt x="529" y="279"/>
                  <a:pt x="529" y="279"/>
                </a:cubicBezTo>
                <a:cubicBezTo>
                  <a:pt x="508" y="281"/>
                  <a:pt x="488" y="277"/>
                  <a:pt x="468" y="269"/>
                </a:cubicBezTo>
                <a:cubicBezTo>
                  <a:pt x="439" y="293"/>
                  <a:pt x="439" y="293"/>
                  <a:pt x="439" y="293"/>
                </a:cubicBezTo>
                <a:cubicBezTo>
                  <a:pt x="437" y="295"/>
                  <a:pt x="433" y="295"/>
                  <a:pt x="431" y="293"/>
                </a:cubicBezTo>
                <a:cubicBezTo>
                  <a:pt x="412" y="281"/>
                  <a:pt x="397" y="266"/>
                  <a:pt x="385" y="248"/>
                </a:cubicBezTo>
                <a:cubicBezTo>
                  <a:pt x="383" y="245"/>
                  <a:pt x="383" y="242"/>
                  <a:pt x="385" y="239"/>
                </a:cubicBezTo>
                <a:cubicBezTo>
                  <a:pt x="409" y="210"/>
                  <a:pt x="409" y="210"/>
                  <a:pt x="409" y="210"/>
                </a:cubicBezTo>
                <a:cubicBezTo>
                  <a:pt x="401" y="194"/>
                  <a:pt x="398" y="177"/>
                  <a:pt x="398" y="160"/>
                </a:cubicBezTo>
                <a:cubicBezTo>
                  <a:pt x="398" y="155"/>
                  <a:pt x="398" y="151"/>
                  <a:pt x="398" y="146"/>
                </a:cubicBezTo>
                <a:cubicBezTo>
                  <a:pt x="367" y="125"/>
                  <a:pt x="367" y="125"/>
                  <a:pt x="367" y="125"/>
                </a:cubicBezTo>
                <a:cubicBezTo>
                  <a:pt x="364" y="124"/>
                  <a:pt x="363" y="120"/>
                  <a:pt x="364" y="117"/>
                </a:cubicBezTo>
                <a:cubicBezTo>
                  <a:pt x="370" y="96"/>
                  <a:pt x="380" y="77"/>
                  <a:pt x="393" y="60"/>
                </a:cubicBezTo>
                <a:cubicBezTo>
                  <a:pt x="395" y="57"/>
                  <a:pt x="399" y="57"/>
                  <a:pt x="401" y="58"/>
                </a:cubicBezTo>
                <a:cubicBezTo>
                  <a:pt x="437" y="71"/>
                  <a:pt x="437" y="71"/>
                  <a:pt x="437" y="71"/>
                </a:cubicBezTo>
                <a:cubicBezTo>
                  <a:pt x="453" y="57"/>
                  <a:pt x="472" y="47"/>
                  <a:pt x="494" y="43"/>
                </a:cubicBezTo>
                <a:cubicBezTo>
                  <a:pt x="504" y="6"/>
                  <a:pt x="504" y="6"/>
                  <a:pt x="504" y="6"/>
                </a:cubicBezTo>
                <a:cubicBezTo>
                  <a:pt x="505" y="3"/>
                  <a:pt x="507" y="1"/>
                  <a:pt x="510" y="1"/>
                </a:cubicBezTo>
                <a:cubicBezTo>
                  <a:pt x="532" y="0"/>
                  <a:pt x="554" y="4"/>
                  <a:pt x="574" y="11"/>
                </a:cubicBezTo>
                <a:cubicBezTo>
                  <a:pt x="577" y="12"/>
                  <a:pt x="579" y="15"/>
                  <a:pt x="579" y="18"/>
                </a:cubicBezTo>
                <a:cubicBezTo>
                  <a:pt x="577" y="56"/>
                  <a:pt x="577" y="56"/>
                  <a:pt x="577" y="56"/>
                </a:cubicBezTo>
                <a:cubicBezTo>
                  <a:pt x="596" y="67"/>
                  <a:pt x="611" y="83"/>
                  <a:pt x="621" y="102"/>
                </a:cubicBezTo>
                <a:cubicBezTo>
                  <a:pt x="659" y="100"/>
                  <a:pt x="659" y="100"/>
                  <a:pt x="659" y="100"/>
                </a:cubicBezTo>
                <a:cubicBezTo>
                  <a:pt x="662" y="100"/>
                  <a:pt x="665" y="102"/>
                  <a:pt x="666" y="105"/>
                </a:cubicBezTo>
                <a:cubicBezTo>
                  <a:pt x="673" y="122"/>
                  <a:pt x="676" y="141"/>
                  <a:pt x="676" y="160"/>
                </a:cubicBezTo>
                <a:cubicBezTo>
                  <a:pt x="676" y="163"/>
                  <a:pt x="676" y="166"/>
                  <a:pt x="676" y="169"/>
                </a:cubicBezTo>
                <a:cubicBezTo>
                  <a:pt x="676" y="172"/>
                  <a:pt x="674" y="174"/>
                  <a:pt x="671" y="175"/>
                </a:cubicBezTo>
                <a:cubicBezTo>
                  <a:pt x="634" y="185"/>
                  <a:pt x="634" y="185"/>
                  <a:pt x="634" y="185"/>
                </a:cubicBezTo>
                <a:cubicBezTo>
                  <a:pt x="629" y="206"/>
                  <a:pt x="619" y="225"/>
                  <a:pt x="605" y="241"/>
                </a:cubicBezTo>
                <a:cubicBezTo>
                  <a:pt x="618" y="277"/>
                  <a:pt x="618" y="277"/>
                  <a:pt x="618" y="277"/>
                </a:cubicBezTo>
                <a:cubicBezTo>
                  <a:pt x="619" y="279"/>
                  <a:pt x="618" y="283"/>
                  <a:pt x="616" y="284"/>
                </a:cubicBezTo>
                <a:cubicBezTo>
                  <a:pt x="598" y="298"/>
                  <a:pt x="579" y="308"/>
                  <a:pt x="558" y="314"/>
                </a:cubicBezTo>
                <a:cubicBezTo>
                  <a:pt x="557" y="314"/>
                  <a:pt x="557" y="314"/>
                  <a:pt x="556" y="314"/>
                </a:cubicBezTo>
                <a:close/>
                <a:moveTo>
                  <a:pt x="533" y="264"/>
                </a:moveTo>
                <a:cubicBezTo>
                  <a:pt x="535" y="264"/>
                  <a:pt x="538" y="265"/>
                  <a:pt x="539" y="267"/>
                </a:cubicBezTo>
                <a:cubicBezTo>
                  <a:pt x="559" y="299"/>
                  <a:pt x="559" y="299"/>
                  <a:pt x="559" y="299"/>
                </a:cubicBezTo>
                <a:cubicBezTo>
                  <a:pt x="575" y="294"/>
                  <a:pt x="590" y="286"/>
                  <a:pt x="603" y="277"/>
                </a:cubicBezTo>
                <a:cubicBezTo>
                  <a:pt x="590" y="242"/>
                  <a:pt x="590" y="242"/>
                  <a:pt x="590" y="242"/>
                </a:cubicBezTo>
                <a:cubicBezTo>
                  <a:pt x="589" y="239"/>
                  <a:pt x="590" y="236"/>
                  <a:pt x="592" y="234"/>
                </a:cubicBezTo>
                <a:cubicBezTo>
                  <a:pt x="607" y="219"/>
                  <a:pt x="617" y="199"/>
                  <a:pt x="621" y="178"/>
                </a:cubicBezTo>
                <a:cubicBezTo>
                  <a:pt x="621" y="175"/>
                  <a:pt x="623" y="173"/>
                  <a:pt x="626" y="172"/>
                </a:cubicBezTo>
                <a:cubicBezTo>
                  <a:pt x="662" y="163"/>
                  <a:pt x="662" y="163"/>
                  <a:pt x="662" y="163"/>
                </a:cubicBezTo>
                <a:cubicBezTo>
                  <a:pt x="662" y="162"/>
                  <a:pt x="662" y="161"/>
                  <a:pt x="662" y="160"/>
                </a:cubicBezTo>
                <a:cubicBezTo>
                  <a:pt x="662" y="144"/>
                  <a:pt x="660" y="129"/>
                  <a:pt x="655" y="114"/>
                </a:cubicBezTo>
                <a:cubicBezTo>
                  <a:pt x="618" y="116"/>
                  <a:pt x="618" y="116"/>
                  <a:pt x="618" y="116"/>
                </a:cubicBezTo>
                <a:cubicBezTo>
                  <a:pt x="615" y="116"/>
                  <a:pt x="612" y="114"/>
                  <a:pt x="611" y="112"/>
                </a:cubicBezTo>
                <a:cubicBezTo>
                  <a:pt x="601" y="92"/>
                  <a:pt x="586" y="77"/>
                  <a:pt x="566" y="67"/>
                </a:cubicBezTo>
                <a:cubicBezTo>
                  <a:pt x="564" y="65"/>
                  <a:pt x="562" y="63"/>
                  <a:pt x="563" y="60"/>
                </a:cubicBezTo>
                <a:cubicBezTo>
                  <a:pt x="565" y="23"/>
                  <a:pt x="565" y="23"/>
                  <a:pt x="565" y="23"/>
                </a:cubicBezTo>
                <a:cubicBezTo>
                  <a:pt x="549" y="17"/>
                  <a:pt x="533" y="15"/>
                  <a:pt x="517" y="15"/>
                </a:cubicBezTo>
                <a:cubicBezTo>
                  <a:pt x="517" y="15"/>
                  <a:pt x="516" y="15"/>
                  <a:pt x="516" y="15"/>
                </a:cubicBezTo>
                <a:cubicBezTo>
                  <a:pt x="506" y="51"/>
                  <a:pt x="506" y="51"/>
                  <a:pt x="506" y="51"/>
                </a:cubicBezTo>
                <a:cubicBezTo>
                  <a:pt x="505" y="53"/>
                  <a:pt x="503" y="55"/>
                  <a:pt x="500" y="56"/>
                </a:cubicBezTo>
                <a:cubicBezTo>
                  <a:pt x="479" y="59"/>
                  <a:pt x="459" y="69"/>
                  <a:pt x="443" y="84"/>
                </a:cubicBezTo>
                <a:cubicBezTo>
                  <a:pt x="442" y="86"/>
                  <a:pt x="439" y="87"/>
                  <a:pt x="436" y="86"/>
                </a:cubicBezTo>
                <a:cubicBezTo>
                  <a:pt x="401" y="73"/>
                  <a:pt x="401" y="73"/>
                  <a:pt x="401" y="73"/>
                </a:cubicBezTo>
                <a:cubicBezTo>
                  <a:pt x="391" y="86"/>
                  <a:pt x="384" y="101"/>
                  <a:pt x="379" y="116"/>
                </a:cubicBezTo>
                <a:cubicBezTo>
                  <a:pt x="410" y="137"/>
                  <a:pt x="410" y="137"/>
                  <a:pt x="410" y="137"/>
                </a:cubicBezTo>
                <a:cubicBezTo>
                  <a:pt x="412" y="138"/>
                  <a:pt x="413" y="141"/>
                  <a:pt x="413" y="144"/>
                </a:cubicBezTo>
                <a:cubicBezTo>
                  <a:pt x="412" y="149"/>
                  <a:pt x="412" y="154"/>
                  <a:pt x="412" y="160"/>
                </a:cubicBezTo>
                <a:cubicBezTo>
                  <a:pt x="412" y="176"/>
                  <a:pt x="415" y="193"/>
                  <a:pt x="423" y="207"/>
                </a:cubicBezTo>
                <a:cubicBezTo>
                  <a:pt x="424" y="210"/>
                  <a:pt x="424" y="213"/>
                  <a:pt x="422" y="215"/>
                </a:cubicBezTo>
                <a:cubicBezTo>
                  <a:pt x="399" y="244"/>
                  <a:pt x="399" y="244"/>
                  <a:pt x="399" y="244"/>
                </a:cubicBezTo>
                <a:cubicBezTo>
                  <a:pt x="409" y="258"/>
                  <a:pt x="421" y="269"/>
                  <a:pt x="434" y="279"/>
                </a:cubicBezTo>
                <a:cubicBezTo>
                  <a:pt x="463" y="255"/>
                  <a:pt x="463" y="255"/>
                  <a:pt x="463" y="255"/>
                </a:cubicBezTo>
                <a:cubicBezTo>
                  <a:pt x="465" y="254"/>
                  <a:pt x="468" y="253"/>
                  <a:pt x="471" y="254"/>
                </a:cubicBezTo>
                <a:cubicBezTo>
                  <a:pt x="485" y="262"/>
                  <a:pt x="501" y="265"/>
                  <a:pt x="517" y="265"/>
                </a:cubicBezTo>
                <a:cubicBezTo>
                  <a:pt x="522" y="265"/>
                  <a:pt x="527" y="265"/>
                  <a:pt x="532" y="264"/>
                </a:cubicBezTo>
                <a:cubicBezTo>
                  <a:pt x="532" y="264"/>
                  <a:pt x="533" y="264"/>
                  <a:pt x="533" y="264"/>
                </a:cubicBezTo>
                <a:close/>
                <a:moveTo>
                  <a:pt x="517" y="199"/>
                </a:moveTo>
                <a:cubicBezTo>
                  <a:pt x="496" y="199"/>
                  <a:pt x="478" y="181"/>
                  <a:pt x="478" y="160"/>
                </a:cubicBezTo>
                <a:cubicBezTo>
                  <a:pt x="478" y="138"/>
                  <a:pt x="496" y="121"/>
                  <a:pt x="517" y="121"/>
                </a:cubicBezTo>
                <a:cubicBezTo>
                  <a:pt x="539" y="121"/>
                  <a:pt x="556" y="138"/>
                  <a:pt x="556" y="160"/>
                </a:cubicBezTo>
                <a:cubicBezTo>
                  <a:pt x="556" y="181"/>
                  <a:pt x="539" y="199"/>
                  <a:pt x="517" y="199"/>
                </a:cubicBezTo>
                <a:close/>
                <a:moveTo>
                  <a:pt x="517" y="135"/>
                </a:moveTo>
                <a:cubicBezTo>
                  <a:pt x="503" y="135"/>
                  <a:pt x="492" y="146"/>
                  <a:pt x="492" y="160"/>
                </a:cubicBezTo>
                <a:cubicBezTo>
                  <a:pt x="492" y="174"/>
                  <a:pt x="503" y="185"/>
                  <a:pt x="517" y="185"/>
                </a:cubicBezTo>
                <a:cubicBezTo>
                  <a:pt x="531" y="185"/>
                  <a:pt x="542" y="174"/>
                  <a:pt x="542" y="160"/>
                </a:cubicBezTo>
                <a:cubicBezTo>
                  <a:pt x="542" y="146"/>
                  <a:pt x="531" y="135"/>
                  <a:pt x="517" y="135"/>
                </a:cubicBezTo>
                <a:close/>
                <a:moveTo>
                  <a:pt x="258" y="678"/>
                </a:moveTo>
                <a:cubicBezTo>
                  <a:pt x="256" y="678"/>
                  <a:pt x="256" y="678"/>
                  <a:pt x="256" y="678"/>
                </a:cubicBezTo>
                <a:cubicBezTo>
                  <a:pt x="252" y="678"/>
                  <a:pt x="250" y="676"/>
                  <a:pt x="249" y="673"/>
                </a:cubicBezTo>
                <a:cubicBezTo>
                  <a:pt x="233" y="615"/>
                  <a:pt x="233" y="615"/>
                  <a:pt x="233" y="615"/>
                </a:cubicBezTo>
                <a:cubicBezTo>
                  <a:pt x="208" y="612"/>
                  <a:pt x="184" y="604"/>
                  <a:pt x="162" y="592"/>
                </a:cubicBezTo>
                <a:cubicBezTo>
                  <a:pt x="113" y="628"/>
                  <a:pt x="113" y="628"/>
                  <a:pt x="113" y="628"/>
                </a:cubicBezTo>
                <a:cubicBezTo>
                  <a:pt x="111" y="630"/>
                  <a:pt x="108" y="630"/>
                  <a:pt x="105" y="628"/>
                </a:cubicBezTo>
                <a:cubicBezTo>
                  <a:pt x="86" y="614"/>
                  <a:pt x="69" y="598"/>
                  <a:pt x="55" y="579"/>
                </a:cubicBezTo>
                <a:cubicBezTo>
                  <a:pt x="53" y="577"/>
                  <a:pt x="53" y="574"/>
                  <a:pt x="55" y="571"/>
                </a:cubicBezTo>
                <a:cubicBezTo>
                  <a:pt x="90" y="522"/>
                  <a:pt x="90" y="522"/>
                  <a:pt x="90" y="522"/>
                </a:cubicBezTo>
                <a:cubicBezTo>
                  <a:pt x="75" y="499"/>
                  <a:pt x="66" y="474"/>
                  <a:pt x="62" y="447"/>
                </a:cubicBezTo>
                <a:cubicBezTo>
                  <a:pt x="5" y="431"/>
                  <a:pt x="5" y="431"/>
                  <a:pt x="5" y="431"/>
                </a:cubicBezTo>
                <a:cubicBezTo>
                  <a:pt x="2" y="430"/>
                  <a:pt x="0" y="427"/>
                  <a:pt x="0" y="424"/>
                </a:cubicBezTo>
                <a:cubicBezTo>
                  <a:pt x="0" y="423"/>
                  <a:pt x="0" y="421"/>
                  <a:pt x="0" y="419"/>
                </a:cubicBezTo>
                <a:cubicBezTo>
                  <a:pt x="0" y="398"/>
                  <a:pt x="2" y="376"/>
                  <a:pt x="8" y="355"/>
                </a:cubicBezTo>
                <a:cubicBezTo>
                  <a:pt x="8" y="352"/>
                  <a:pt x="11" y="350"/>
                  <a:pt x="14" y="350"/>
                </a:cubicBezTo>
                <a:cubicBezTo>
                  <a:pt x="74" y="348"/>
                  <a:pt x="74" y="348"/>
                  <a:pt x="74" y="348"/>
                </a:cubicBezTo>
                <a:cubicBezTo>
                  <a:pt x="83" y="324"/>
                  <a:pt x="97" y="302"/>
                  <a:pt x="114" y="283"/>
                </a:cubicBezTo>
                <a:cubicBezTo>
                  <a:pt x="91" y="229"/>
                  <a:pt x="91" y="229"/>
                  <a:pt x="91" y="229"/>
                </a:cubicBezTo>
                <a:cubicBezTo>
                  <a:pt x="89" y="226"/>
                  <a:pt x="90" y="223"/>
                  <a:pt x="93" y="221"/>
                </a:cubicBezTo>
                <a:cubicBezTo>
                  <a:pt x="110" y="206"/>
                  <a:pt x="130" y="193"/>
                  <a:pt x="151" y="184"/>
                </a:cubicBezTo>
                <a:cubicBezTo>
                  <a:pt x="154" y="182"/>
                  <a:pt x="157" y="183"/>
                  <a:pt x="159" y="185"/>
                </a:cubicBezTo>
                <a:cubicBezTo>
                  <a:pt x="199" y="230"/>
                  <a:pt x="199" y="230"/>
                  <a:pt x="199" y="230"/>
                </a:cubicBezTo>
                <a:cubicBezTo>
                  <a:pt x="218" y="224"/>
                  <a:pt x="238" y="221"/>
                  <a:pt x="258" y="221"/>
                </a:cubicBezTo>
                <a:cubicBezTo>
                  <a:pt x="264" y="221"/>
                  <a:pt x="270" y="222"/>
                  <a:pt x="276" y="222"/>
                </a:cubicBezTo>
                <a:cubicBezTo>
                  <a:pt x="304" y="170"/>
                  <a:pt x="304" y="170"/>
                  <a:pt x="304" y="170"/>
                </a:cubicBezTo>
                <a:cubicBezTo>
                  <a:pt x="306" y="167"/>
                  <a:pt x="309" y="165"/>
                  <a:pt x="312" y="166"/>
                </a:cubicBezTo>
                <a:cubicBezTo>
                  <a:pt x="335" y="171"/>
                  <a:pt x="357" y="179"/>
                  <a:pt x="378" y="190"/>
                </a:cubicBezTo>
                <a:cubicBezTo>
                  <a:pt x="380" y="191"/>
                  <a:pt x="382" y="194"/>
                  <a:pt x="381" y="197"/>
                </a:cubicBezTo>
                <a:cubicBezTo>
                  <a:pt x="371" y="256"/>
                  <a:pt x="371" y="256"/>
                  <a:pt x="371" y="256"/>
                </a:cubicBezTo>
                <a:cubicBezTo>
                  <a:pt x="391" y="271"/>
                  <a:pt x="410" y="289"/>
                  <a:pt x="423" y="310"/>
                </a:cubicBezTo>
                <a:cubicBezTo>
                  <a:pt x="482" y="300"/>
                  <a:pt x="482" y="300"/>
                  <a:pt x="482" y="300"/>
                </a:cubicBezTo>
                <a:cubicBezTo>
                  <a:pt x="485" y="299"/>
                  <a:pt x="489" y="301"/>
                  <a:pt x="490" y="303"/>
                </a:cubicBezTo>
                <a:cubicBezTo>
                  <a:pt x="500" y="325"/>
                  <a:pt x="508" y="347"/>
                  <a:pt x="513" y="370"/>
                </a:cubicBezTo>
                <a:cubicBezTo>
                  <a:pt x="513" y="373"/>
                  <a:pt x="512" y="376"/>
                  <a:pt x="509" y="378"/>
                </a:cubicBezTo>
                <a:cubicBezTo>
                  <a:pt x="456" y="406"/>
                  <a:pt x="456" y="406"/>
                  <a:pt x="456" y="406"/>
                </a:cubicBezTo>
                <a:cubicBezTo>
                  <a:pt x="456" y="410"/>
                  <a:pt x="456" y="415"/>
                  <a:pt x="456" y="419"/>
                </a:cubicBezTo>
                <a:cubicBezTo>
                  <a:pt x="456" y="439"/>
                  <a:pt x="453" y="459"/>
                  <a:pt x="447" y="479"/>
                </a:cubicBezTo>
                <a:cubicBezTo>
                  <a:pt x="492" y="519"/>
                  <a:pt x="492" y="519"/>
                  <a:pt x="492" y="519"/>
                </a:cubicBezTo>
                <a:cubicBezTo>
                  <a:pt x="494" y="521"/>
                  <a:pt x="495" y="524"/>
                  <a:pt x="494" y="527"/>
                </a:cubicBezTo>
                <a:cubicBezTo>
                  <a:pt x="484" y="548"/>
                  <a:pt x="471" y="568"/>
                  <a:pt x="456" y="586"/>
                </a:cubicBezTo>
                <a:cubicBezTo>
                  <a:pt x="454" y="589"/>
                  <a:pt x="451" y="589"/>
                  <a:pt x="448" y="588"/>
                </a:cubicBezTo>
                <a:cubicBezTo>
                  <a:pt x="393" y="564"/>
                  <a:pt x="393" y="564"/>
                  <a:pt x="393" y="564"/>
                </a:cubicBezTo>
                <a:cubicBezTo>
                  <a:pt x="375" y="581"/>
                  <a:pt x="355" y="594"/>
                  <a:pt x="333" y="603"/>
                </a:cubicBezTo>
                <a:cubicBezTo>
                  <a:pt x="330" y="663"/>
                  <a:pt x="330" y="663"/>
                  <a:pt x="330" y="663"/>
                </a:cubicBezTo>
                <a:cubicBezTo>
                  <a:pt x="330" y="666"/>
                  <a:pt x="328" y="669"/>
                  <a:pt x="325" y="669"/>
                </a:cubicBezTo>
                <a:cubicBezTo>
                  <a:pt x="303" y="675"/>
                  <a:pt x="281" y="678"/>
                  <a:pt x="258" y="678"/>
                </a:cubicBezTo>
                <a:close/>
                <a:moveTo>
                  <a:pt x="161" y="576"/>
                </a:moveTo>
                <a:cubicBezTo>
                  <a:pt x="162" y="576"/>
                  <a:pt x="164" y="577"/>
                  <a:pt x="165" y="577"/>
                </a:cubicBezTo>
                <a:cubicBezTo>
                  <a:pt x="188" y="591"/>
                  <a:pt x="213" y="599"/>
                  <a:pt x="239" y="602"/>
                </a:cubicBezTo>
                <a:cubicBezTo>
                  <a:pt x="242" y="602"/>
                  <a:pt x="244" y="604"/>
                  <a:pt x="245" y="607"/>
                </a:cubicBezTo>
                <a:cubicBezTo>
                  <a:pt x="261" y="664"/>
                  <a:pt x="261" y="664"/>
                  <a:pt x="261" y="664"/>
                </a:cubicBezTo>
                <a:cubicBezTo>
                  <a:pt x="280" y="664"/>
                  <a:pt x="298" y="661"/>
                  <a:pt x="316" y="657"/>
                </a:cubicBezTo>
                <a:cubicBezTo>
                  <a:pt x="319" y="598"/>
                  <a:pt x="319" y="598"/>
                  <a:pt x="319" y="598"/>
                </a:cubicBezTo>
                <a:cubicBezTo>
                  <a:pt x="319" y="595"/>
                  <a:pt x="321" y="592"/>
                  <a:pt x="323" y="591"/>
                </a:cubicBezTo>
                <a:cubicBezTo>
                  <a:pt x="347" y="582"/>
                  <a:pt x="368" y="569"/>
                  <a:pt x="387" y="551"/>
                </a:cubicBezTo>
                <a:cubicBezTo>
                  <a:pt x="389" y="549"/>
                  <a:pt x="392" y="548"/>
                  <a:pt x="394" y="549"/>
                </a:cubicBezTo>
                <a:cubicBezTo>
                  <a:pt x="449" y="573"/>
                  <a:pt x="449" y="573"/>
                  <a:pt x="449" y="573"/>
                </a:cubicBezTo>
                <a:cubicBezTo>
                  <a:pt x="461" y="558"/>
                  <a:pt x="471" y="542"/>
                  <a:pt x="479" y="526"/>
                </a:cubicBezTo>
                <a:cubicBezTo>
                  <a:pt x="434" y="486"/>
                  <a:pt x="434" y="486"/>
                  <a:pt x="434" y="486"/>
                </a:cubicBezTo>
                <a:cubicBezTo>
                  <a:pt x="432" y="484"/>
                  <a:pt x="431" y="481"/>
                  <a:pt x="432" y="479"/>
                </a:cubicBezTo>
                <a:cubicBezTo>
                  <a:pt x="439" y="459"/>
                  <a:pt x="442" y="439"/>
                  <a:pt x="442" y="419"/>
                </a:cubicBezTo>
                <a:cubicBezTo>
                  <a:pt x="442" y="414"/>
                  <a:pt x="442" y="408"/>
                  <a:pt x="441" y="402"/>
                </a:cubicBezTo>
                <a:cubicBezTo>
                  <a:pt x="441" y="400"/>
                  <a:pt x="443" y="397"/>
                  <a:pt x="445" y="396"/>
                </a:cubicBezTo>
                <a:cubicBezTo>
                  <a:pt x="498" y="368"/>
                  <a:pt x="498" y="368"/>
                  <a:pt x="498" y="368"/>
                </a:cubicBezTo>
                <a:cubicBezTo>
                  <a:pt x="494" y="349"/>
                  <a:pt x="488" y="331"/>
                  <a:pt x="480" y="314"/>
                </a:cubicBezTo>
                <a:cubicBezTo>
                  <a:pt x="421" y="325"/>
                  <a:pt x="421" y="325"/>
                  <a:pt x="421" y="325"/>
                </a:cubicBezTo>
                <a:cubicBezTo>
                  <a:pt x="419" y="325"/>
                  <a:pt x="416" y="324"/>
                  <a:pt x="414" y="322"/>
                </a:cubicBezTo>
                <a:cubicBezTo>
                  <a:pt x="400" y="299"/>
                  <a:pt x="381" y="280"/>
                  <a:pt x="359" y="265"/>
                </a:cubicBezTo>
                <a:cubicBezTo>
                  <a:pt x="357" y="264"/>
                  <a:pt x="356" y="261"/>
                  <a:pt x="356" y="258"/>
                </a:cubicBezTo>
                <a:cubicBezTo>
                  <a:pt x="367" y="200"/>
                  <a:pt x="367" y="200"/>
                  <a:pt x="367" y="200"/>
                </a:cubicBezTo>
                <a:cubicBezTo>
                  <a:pt x="350" y="191"/>
                  <a:pt x="332" y="185"/>
                  <a:pt x="314" y="181"/>
                </a:cubicBezTo>
                <a:cubicBezTo>
                  <a:pt x="286" y="233"/>
                  <a:pt x="286" y="233"/>
                  <a:pt x="286" y="233"/>
                </a:cubicBezTo>
                <a:cubicBezTo>
                  <a:pt x="285" y="235"/>
                  <a:pt x="282" y="237"/>
                  <a:pt x="279" y="237"/>
                </a:cubicBezTo>
                <a:cubicBezTo>
                  <a:pt x="272" y="236"/>
                  <a:pt x="265" y="235"/>
                  <a:pt x="258" y="235"/>
                </a:cubicBezTo>
                <a:cubicBezTo>
                  <a:pt x="238" y="235"/>
                  <a:pt x="218" y="239"/>
                  <a:pt x="199" y="245"/>
                </a:cubicBezTo>
                <a:cubicBezTo>
                  <a:pt x="197" y="246"/>
                  <a:pt x="194" y="245"/>
                  <a:pt x="192" y="243"/>
                </a:cubicBezTo>
                <a:cubicBezTo>
                  <a:pt x="152" y="198"/>
                  <a:pt x="152" y="198"/>
                  <a:pt x="152" y="198"/>
                </a:cubicBezTo>
                <a:cubicBezTo>
                  <a:pt x="136" y="207"/>
                  <a:pt x="120" y="216"/>
                  <a:pt x="106" y="228"/>
                </a:cubicBezTo>
                <a:cubicBezTo>
                  <a:pt x="129" y="282"/>
                  <a:pt x="129" y="282"/>
                  <a:pt x="129" y="282"/>
                </a:cubicBezTo>
                <a:cubicBezTo>
                  <a:pt x="130" y="285"/>
                  <a:pt x="130" y="288"/>
                  <a:pt x="128" y="290"/>
                </a:cubicBezTo>
                <a:cubicBezTo>
                  <a:pt x="109" y="309"/>
                  <a:pt x="94" y="332"/>
                  <a:pt x="85" y="357"/>
                </a:cubicBezTo>
                <a:cubicBezTo>
                  <a:pt x="84" y="360"/>
                  <a:pt x="82" y="361"/>
                  <a:pt x="79" y="362"/>
                </a:cubicBezTo>
                <a:cubicBezTo>
                  <a:pt x="20" y="364"/>
                  <a:pt x="20" y="364"/>
                  <a:pt x="20" y="364"/>
                </a:cubicBezTo>
                <a:cubicBezTo>
                  <a:pt x="16" y="382"/>
                  <a:pt x="14" y="400"/>
                  <a:pt x="14" y="419"/>
                </a:cubicBezTo>
                <a:cubicBezTo>
                  <a:pt x="71" y="435"/>
                  <a:pt x="71" y="435"/>
                  <a:pt x="71" y="435"/>
                </a:cubicBezTo>
                <a:cubicBezTo>
                  <a:pt x="73" y="435"/>
                  <a:pt x="75" y="438"/>
                  <a:pt x="76" y="441"/>
                </a:cubicBezTo>
                <a:cubicBezTo>
                  <a:pt x="79" y="468"/>
                  <a:pt x="89" y="495"/>
                  <a:pt x="104" y="519"/>
                </a:cubicBezTo>
                <a:cubicBezTo>
                  <a:pt x="105" y="521"/>
                  <a:pt x="105" y="524"/>
                  <a:pt x="104" y="527"/>
                </a:cubicBezTo>
                <a:cubicBezTo>
                  <a:pt x="69" y="575"/>
                  <a:pt x="69" y="575"/>
                  <a:pt x="69" y="575"/>
                </a:cubicBezTo>
                <a:cubicBezTo>
                  <a:pt x="81" y="589"/>
                  <a:pt x="94" y="602"/>
                  <a:pt x="109" y="613"/>
                </a:cubicBezTo>
                <a:cubicBezTo>
                  <a:pt x="157" y="578"/>
                  <a:pt x="157" y="578"/>
                  <a:pt x="157" y="578"/>
                </a:cubicBezTo>
                <a:cubicBezTo>
                  <a:pt x="158" y="577"/>
                  <a:pt x="160" y="576"/>
                  <a:pt x="161" y="576"/>
                </a:cubicBezTo>
                <a:close/>
                <a:moveTo>
                  <a:pt x="258" y="484"/>
                </a:moveTo>
                <a:cubicBezTo>
                  <a:pt x="223" y="484"/>
                  <a:pt x="193" y="455"/>
                  <a:pt x="193" y="419"/>
                </a:cubicBezTo>
                <a:cubicBezTo>
                  <a:pt x="193" y="383"/>
                  <a:pt x="223" y="354"/>
                  <a:pt x="258" y="354"/>
                </a:cubicBezTo>
                <a:cubicBezTo>
                  <a:pt x="294" y="354"/>
                  <a:pt x="323" y="383"/>
                  <a:pt x="323" y="419"/>
                </a:cubicBezTo>
                <a:cubicBezTo>
                  <a:pt x="323" y="455"/>
                  <a:pt x="294" y="484"/>
                  <a:pt x="258" y="484"/>
                </a:cubicBezTo>
                <a:close/>
                <a:moveTo>
                  <a:pt x="258" y="368"/>
                </a:moveTo>
                <a:cubicBezTo>
                  <a:pt x="230" y="368"/>
                  <a:pt x="207" y="391"/>
                  <a:pt x="207" y="419"/>
                </a:cubicBezTo>
                <a:cubicBezTo>
                  <a:pt x="207" y="447"/>
                  <a:pt x="230" y="470"/>
                  <a:pt x="258" y="470"/>
                </a:cubicBezTo>
                <a:cubicBezTo>
                  <a:pt x="286" y="470"/>
                  <a:pt x="309" y="447"/>
                  <a:pt x="309" y="419"/>
                </a:cubicBezTo>
                <a:cubicBezTo>
                  <a:pt x="309" y="391"/>
                  <a:pt x="286" y="368"/>
                  <a:pt x="258" y="368"/>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48" name="Oval 47"/>
          <p:cNvSpPr/>
          <p:nvPr/>
        </p:nvSpPr>
        <p:spPr>
          <a:xfrm>
            <a:off x="551027" y="3932467"/>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31" name="Oval 30"/>
          <p:cNvSpPr/>
          <p:nvPr/>
        </p:nvSpPr>
        <p:spPr>
          <a:xfrm>
            <a:off x="551027"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52" name="Oval 51"/>
          <p:cNvSpPr/>
          <p:nvPr/>
        </p:nvSpPr>
        <p:spPr>
          <a:xfrm>
            <a:off x="957721" y="2087539"/>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8" name="Oval 57"/>
          <p:cNvSpPr/>
          <p:nvPr/>
        </p:nvSpPr>
        <p:spPr>
          <a:xfrm>
            <a:off x="976771" y="3759258"/>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9" name="Rechteck 24"/>
          <p:cNvSpPr/>
          <p:nvPr/>
        </p:nvSpPr>
        <p:spPr bwMode="gray">
          <a:xfrm>
            <a:off x="642233" y="4334663"/>
            <a:ext cx="1048198" cy="620170"/>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Amélioration de la conformité</a:t>
            </a:r>
          </a:p>
        </p:txBody>
      </p:sp>
      <p:sp>
        <p:nvSpPr>
          <p:cNvPr id="32" name="Rechteck 24"/>
          <p:cNvSpPr/>
          <p:nvPr/>
        </p:nvSpPr>
        <p:spPr bwMode="gray">
          <a:xfrm>
            <a:off x="693772" y="2593708"/>
            <a:ext cx="945120" cy="620170"/>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Réduction de l’effort manuel</a:t>
            </a:r>
          </a:p>
        </p:txBody>
      </p:sp>
      <p:sp>
        <p:nvSpPr>
          <p:cNvPr id="51" name="Freeform 81"/>
          <p:cNvSpPr>
            <a:spLocks noEditPoints="1"/>
          </p:cNvSpPr>
          <p:nvPr/>
        </p:nvSpPr>
        <p:spPr bwMode="auto">
          <a:xfrm>
            <a:off x="1070265" y="3812236"/>
            <a:ext cx="226470" cy="303856"/>
          </a:xfrm>
          <a:custGeom>
            <a:avLst/>
            <a:gdLst>
              <a:gd name="T0" fmla="*/ 596 w 603"/>
              <a:gd name="T1" fmla="*/ 239 h 757"/>
              <a:gd name="T2" fmla="*/ 578 w 603"/>
              <a:gd name="T3" fmla="*/ 180 h 757"/>
              <a:gd name="T4" fmla="*/ 548 w 603"/>
              <a:gd name="T5" fmla="*/ 126 h 757"/>
              <a:gd name="T6" fmla="*/ 507 w 603"/>
              <a:gd name="T7" fmla="*/ 80 h 757"/>
              <a:gd name="T8" fmla="*/ 458 w 603"/>
              <a:gd name="T9" fmla="*/ 43 h 757"/>
              <a:gd name="T10" fmla="*/ 403 w 603"/>
              <a:gd name="T11" fmla="*/ 17 h 757"/>
              <a:gd name="T12" fmla="*/ 343 w 603"/>
              <a:gd name="T13" fmla="*/ 3 h 757"/>
              <a:gd name="T14" fmla="*/ 281 w 603"/>
              <a:gd name="T15" fmla="*/ 2 h 757"/>
              <a:gd name="T16" fmla="*/ 221 w 603"/>
              <a:gd name="T17" fmla="*/ 14 h 757"/>
              <a:gd name="T18" fmla="*/ 164 w 603"/>
              <a:gd name="T19" fmla="*/ 38 h 757"/>
              <a:gd name="T20" fmla="*/ 114 w 603"/>
              <a:gd name="T21" fmla="*/ 73 h 757"/>
              <a:gd name="T22" fmla="*/ 72 w 603"/>
              <a:gd name="T23" fmla="*/ 118 h 757"/>
              <a:gd name="T24" fmla="*/ 40 w 603"/>
              <a:gd name="T25" fmla="*/ 171 h 757"/>
              <a:gd name="T26" fmla="*/ 20 w 603"/>
              <a:gd name="T27" fmla="*/ 229 h 757"/>
              <a:gd name="T28" fmla="*/ 13 w 603"/>
              <a:gd name="T29" fmla="*/ 290 h 757"/>
              <a:gd name="T30" fmla="*/ 18 w 603"/>
              <a:gd name="T31" fmla="*/ 351 h 757"/>
              <a:gd name="T32" fmla="*/ 36 w 603"/>
              <a:gd name="T33" fmla="*/ 410 h 757"/>
              <a:gd name="T34" fmla="*/ 66 w 603"/>
              <a:gd name="T35" fmla="*/ 464 h 757"/>
              <a:gd name="T36" fmla="*/ 1 w 603"/>
              <a:gd name="T37" fmla="*/ 650 h 757"/>
              <a:gd name="T38" fmla="*/ 202 w 603"/>
              <a:gd name="T39" fmla="*/ 755 h 757"/>
              <a:gd name="T40" fmla="*/ 303 w 603"/>
              <a:gd name="T41" fmla="*/ 569 h 757"/>
              <a:gd name="T42" fmla="*/ 381 w 603"/>
              <a:gd name="T43" fmla="*/ 711 h 757"/>
              <a:gd name="T44" fmla="*/ 578 w 603"/>
              <a:gd name="T45" fmla="*/ 622 h 757"/>
              <a:gd name="T46" fmla="*/ 547 w 603"/>
              <a:gd name="T47" fmla="*/ 469 h 757"/>
              <a:gd name="T48" fmla="*/ 578 w 603"/>
              <a:gd name="T49" fmla="*/ 416 h 757"/>
              <a:gd name="T50" fmla="*/ 597 w 603"/>
              <a:gd name="T51" fmla="*/ 357 h 757"/>
              <a:gd name="T52" fmla="*/ 603 w 603"/>
              <a:gd name="T53" fmla="*/ 295 h 757"/>
              <a:gd name="T54" fmla="*/ 552 w 603"/>
              <a:gd name="T55" fmla="*/ 370 h 757"/>
              <a:gd name="T56" fmla="*/ 526 w 603"/>
              <a:gd name="T57" fmla="*/ 427 h 757"/>
              <a:gd name="T58" fmla="*/ 498 w 603"/>
              <a:gd name="T59" fmla="*/ 472 h 757"/>
              <a:gd name="T60" fmla="*/ 383 w 603"/>
              <a:gd name="T61" fmla="*/ 692 h 757"/>
              <a:gd name="T62" fmla="*/ 302 w 603"/>
              <a:gd name="T63" fmla="*/ 551 h 757"/>
              <a:gd name="T64" fmla="*/ 132 w 603"/>
              <a:gd name="T65" fmla="*/ 654 h 757"/>
              <a:gd name="T66" fmla="*/ 103 w 603"/>
              <a:gd name="T67" fmla="*/ 465 h 757"/>
              <a:gd name="T68" fmla="*/ 83 w 603"/>
              <a:gd name="T69" fmla="*/ 419 h 757"/>
              <a:gd name="T70" fmla="*/ 34 w 603"/>
              <a:gd name="T71" fmla="*/ 353 h 757"/>
              <a:gd name="T72" fmla="*/ 52 w 603"/>
              <a:gd name="T73" fmla="*/ 273 h 757"/>
              <a:gd name="T74" fmla="*/ 65 w 603"/>
              <a:gd name="T75" fmla="*/ 212 h 757"/>
              <a:gd name="T76" fmla="*/ 81 w 603"/>
              <a:gd name="T77" fmla="*/ 131 h 757"/>
              <a:gd name="T78" fmla="*/ 153 w 603"/>
              <a:gd name="T79" fmla="*/ 91 h 757"/>
              <a:gd name="T80" fmla="*/ 207 w 603"/>
              <a:gd name="T81" fmla="*/ 59 h 757"/>
              <a:gd name="T82" fmla="*/ 278 w 603"/>
              <a:gd name="T83" fmla="*/ 18 h 757"/>
              <a:gd name="T84" fmla="*/ 356 w 603"/>
              <a:gd name="T85" fmla="*/ 44 h 757"/>
              <a:gd name="T86" fmla="*/ 415 w 603"/>
              <a:gd name="T87" fmla="*/ 63 h 757"/>
              <a:gd name="T88" fmla="*/ 494 w 603"/>
              <a:gd name="T89" fmla="*/ 88 h 757"/>
              <a:gd name="T90" fmla="*/ 526 w 603"/>
              <a:gd name="T91" fmla="*/ 163 h 757"/>
              <a:gd name="T92" fmla="*/ 552 w 603"/>
              <a:gd name="T93" fmla="*/ 220 h 757"/>
              <a:gd name="T94" fmla="*/ 586 w 603"/>
              <a:gd name="T95" fmla="*/ 295 h 757"/>
              <a:gd name="T96" fmla="*/ 307 w 603"/>
              <a:gd name="T97" fmla="*/ 463 h 757"/>
              <a:gd name="T98" fmla="*/ 147 w 603"/>
              <a:gd name="T99" fmla="*/ 28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3" h="757">
                <a:moveTo>
                  <a:pt x="603" y="295"/>
                </a:moveTo>
                <a:cubicBezTo>
                  <a:pt x="603" y="293"/>
                  <a:pt x="602" y="291"/>
                  <a:pt x="601" y="290"/>
                </a:cubicBezTo>
                <a:cubicBezTo>
                  <a:pt x="576" y="267"/>
                  <a:pt x="576" y="267"/>
                  <a:pt x="576" y="267"/>
                </a:cubicBezTo>
                <a:cubicBezTo>
                  <a:pt x="596" y="239"/>
                  <a:pt x="596" y="239"/>
                  <a:pt x="596" y="239"/>
                </a:cubicBezTo>
                <a:cubicBezTo>
                  <a:pt x="597" y="237"/>
                  <a:pt x="597" y="235"/>
                  <a:pt x="597" y="233"/>
                </a:cubicBezTo>
                <a:cubicBezTo>
                  <a:pt x="596" y="232"/>
                  <a:pt x="595" y="230"/>
                  <a:pt x="593" y="229"/>
                </a:cubicBezTo>
                <a:cubicBezTo>
                  <a:pt x="564" y="211"/>
                  <a:pt x="564" y="211"/>
                  <a:pt x="564" y="211"/>
                </a:cubicBezTo>
                <a:cubicBezTo>
                  <a:pt x="578" y="180"/>
                  <a:pt x="578" y="180"/>
                  <a:pt x="578" y="180"/>
                </a:cubicBezTo>
                <a:cubicBezTo>
                  <a:pt x="578" y="178"/>
                  <a:pt x="578" y="176"/>
                  <a:pt x="578" y="175"/>
                </a:cubicBezTo>
                <a:cubicBezTo>
                  <a:pt x="577" y="173"/>
                  <a:pt x="575" y="171"/>
                  <a:pt x="573" y="171"/>
                </a:cubicBezTo>
                <a:cubicBezTo>
                  <a:pt x="541" y="160"/>
                  <a:pt x="541" y="160"/>
                  <a:pt x="541" y="160"/>
                </a:cubicBezTo>
                <a:cubicBezTo>
                  <a:pt x="548" y="126"/>
                  <a:pt x="548" y="126"/>
                  <a:pt x="548" y="126"/>
                </a:cubicBezTo>
                <a:cubicBezTo>
                  <a:pt x="548" y="124"/>
                  <a:pt x="548" y="122"/>
                  <a:pt x="547" y="121"/>
                </a:cubicBezTo>
                <a:cubicBezTo>
                  <a:pt x="545" y="119"/>
                  <a:pt x="544" y="118"/>
                  <a:pt x="542" y="118"/>
                </a:cubicBezTo>
                <a:cubicBezTo>
                  <a:pt x="508" y="114"/>
                  <a:pt x="508" y="114"/>
                  <a:pt x="508" y="114"/>
                </a:cubicBezTo>
                <a:cubicBezTo>
                  <a:pt x="507" y="80"/>
                  <a:pt x="507" y="80"/>
                  <a:pt x="507" y="80"/>
                </a:cubicBezTo>
                <a:cubicBezTo>
                  <a:pt x="507" y="78"/>
                  <a:pt x="507" y="76"/>
                  <a:pt x="505" y="75"/>
                </a:cubicBezTo>
                <a:cubicBezTo>
                  <a:pt x="504" y="73"/>
                  <a:pt x="502" y="73"/>
                  <a:pt x="500" y="73"/>
                </a:cubicBezTo>
                <a:cubicBezTo>
                  <a:pt x="466" y="76"/>
                  <a:pt x="466" y="76"/>
                  <a:pt x="466" y="76"/>
                </a:cubicBezTo>
                <a:cubicBezTo>
                  <a:pt x="458" y="43"/>
                  <a:pt x="458" y="43"/>
                  <a:pt x="458" y="43"/>
                </a:cubicBezTo>
                <a:cubicBezTo>
                  <a:pt x="458" y="41"/>
                  <a:pt x="457" y="39"/>
                  <a:pt x="455" y="38"/>
                </a:cubicBezTo>
                <a:cubicBezTo>
                  <a:pt x="453" y="37"/>
                  <a:pt x="451" y="37"/>
                  <a:pt x="449" y="38"/>
                </a:cubicBezTo>
                <a:cubicBezTo>
                  <a:pt x="417" y="48"/>
                  <a:pt x="417" y="48"/>
                  <a:pt x="417" y="48"/>
                </a:cubicBezTo>
                <a:cubicBezTo>
                  <a:pt x="403" y="17"/>
                  <a:pt x="403" y="17"/>
                  <a:pt x="403" y="17"/>
                </a:cubicBezTo>
                <a:cubicBezTo>
                  <a:pt x="402" y="15"/>
                  <a:pt x="400" y="14"/>
                  <a:pt x="398" y="13"/>
                </a:cubicBezTo>
                <a:cubicBezTo>
                  <a:pt x="397" y="13"/>
                  <a:pt x="395" y="13"/>
                  <a:pt x="393" y="14"/>
                </a:cubicBezTo>
                <a:cubicBezTo>
                  <a:pt x="363" y="30"/>
                  <a:pt x="363" y="30"/>
                  <a:pt x="363" y="30"/>
                </a:cubicBezTo>
                <a:cubicBezTo>
                  <a:pt x="343" y="3"/>
                  <a:pt x="343" y="3"/>
                  <a:pt x="343" y="3"/>
                </a:cubicBezTo>
                <a:cubicBezTo>
                  <a:pt x="342" y="2"/>
                  <a:pt x="340" y="0"/>
                  <a:pt x="338" y="0"/>
                </a:cubicBezTo>
                <a:cubicBezTo>
                  <a:pt x="336" y="0"/>
                  <a:pt x="334" y="1"/>
                  <a:pt x="332" y="2"/>
                </a:cubicBezTo>
                <a:cubicBezTo>
                  <a:pt x="307" y="24"/>
                  <a:pt x="307" y="24"/>
                  <a:pt x="307" y="24"/>
                </a:cubicBezTo>
                <a:cubicBezTo>
                  <a:pt x="281" y="2"/>
                  <a:pt x="281" y="2"/>
                  <a:pt x="281" y="2"/>
                </a:cubicBezTo>
                <a:cubicBezTo>
                  <a:pt x="280" y="1"/>
                  <a:pt x="278" y="0"/>
                  <a:pt x="276" y="0"/>
                </a:cubicBezTo>
                <a:cubicBezTo>
                  <a:pt x="274" y="0"/>
                  <a:pt x="272" y="2"/>
                  <a:pt x="271" y="3"/>
                </a:cubicBezTo>
                <a:cubicBezTo>
                  <a:pt x="251" y="30"/>
                  <a:pt x="251" y="30"/>
                  <a:pt x="251" y="30"/>
                </a:cubicBezTo>
                <a:cubicBezTo>
                  <a:pt x="221" y="14"/>
                  <a:pt x="221" y="14"/>
                  <a:pt x="221" y="14"/>
                </a:cubicBezTo>
                <a:cubicBezTo>
                  <a:pt x="219" y="13"/>
                  <a:pt x="217" y="13"/>
                  <a:pt x="215" y="13"/>
                </a:cubicBezTo>
                <a:cubicBezTo>
                  <a:pt x="213" y="14"/>
                  <a:pt x="212" y="15"/>
                  <a:pt x="211" y="17"/>
                </a:cubicBezTo>
                <a:cubicBezTo>
                  <a:pt x="197" y="48"/>
                  <a:pt x="197" y="48"/>
                  <a:pt x="197" y="48"/>
                </a:cubicBezTo>
                <a:cubicBezTo>
                  <a:pt x="164" y="38"/>
                  <a:pt x="164" y="38"/>
                  <a:pt x="164" y="38"/>
                </a:cubicBezTo>
                <a:cubicBezTo>
                  <a:pt x="162" y="37"/>
                  <a:pt x="160" y="37"/>
                  <a:pt x="159" y="38"/>
                </a:cubicBezTo>
                <a:cubicBezTo>
                  <a:pt x="157" y="39"/>
                  <a:pt x="156" y="41"/>
                  <a:pt x="155" y="43"/>
                </a:cubicBezTo>
                <a:cubicBezTo>
                  <a:pt x="148" y="76"/>
                  <a:pt x="148" y="76"/>
                  <a:pt x="148" y="76"/>
                </a:cubicBezTo>
                <a:cubicBezTo>
                  <a:pt x="114" y="73"/>
                  <a:pt x="114" y="73"/>
                  <a:pt x="114" y="73"/>
                </a:cubicBezTo>
                <a:cubicBezTo>
                  <a:pt x="112" y="73"/>
                  <a:pt x="110" y="73"/>
                  <a:pt x="109" y="75"/>
                </a:cubicBezTo>
                <a:cubicBezTo>
                  <a:pt x="107" y="76"/>
                  <a:pt x="106" y="78"/>
                  <a:pt x="106" y="80"/>
                </a:cubicBezTo>
                <a:cubicBezTo>
                  <a:pt x="106" y="114"/>
                  <a:pt x="106" y="114"/>
                  <a:pt x="106" y="114"/>
                </a:cubicBezTo>
                <a:cubicBezTo>
                  <a:pt x="72" y="118"/>
                  <a:pt x="72" y="118"/>
                  <a:pt x="72" y="118"/>
                </a:cubicBezTo>
                <a:cubicBezTo>
                  <a:pt x="70" y="118"/>
                  <a:pt x="68" y="119"/>
                  <a:pt x="67" y="121"/>
                </a:cubicBezTo>
                <a:cubicBezTo>
                  <a:pt x="66" y="122"/>
                  <a:pt x="65" y="124"/>
                  <a:pt x="66" y="126"/>
                </a:cubicBezTo>
                <a:cubicBezTo>
                  <a:pt x="73" y="160"/>
                  <a:pt x="73" y="160"/>
                  <a:pt x="73" y="160"/>
                </a:cubicBezTo>
                <a:cubicBezTo>
                  <a:pt x="40" y="171"/>
                  <a:pt x="40" y="171"/>
                  <a:pt x="40" y="171"/>
                </a:cubicBezTo>
                <a:cubicBezTo>
                  <a:pt x="38" y="171"/>
                  <a:pt x="37" y="173"/>
                  <a:pt x="36" y="175"/>
                </a:cubicBezTo>
                <a:cubicBezTo>
                  <a:pt x="35" y="176"/>
                  <a:pt x="35" y="178"/>
                  <a:pt x="36" y="180"/>
                </a:cubicBezTo>
                <a:cubicBezTo>
                  <a:pt x="50" y="211"/>
                  <a:pt x="50" y="211"/>
                  <a:pt x="50" y="211"/>
                </a:cubicBezTo>
                <a:cubicBezTo>
                  <a:pt x="20" y="229"/>
                  <a:pt x="20" y="229"/>
                  <a:pt x="20" y="229"/>
                </a:cubicBezTo>
                <a:cubicBezTo>
                  <a:pt x="19" y="230"/>
                  <a:pt x="17" y="232"/>
                  <a:pt x="17" y="233"/>
                </a:cubicBezTo>
                <a:cubicBezTo>
                  <a:pt x="17" y="235"/>
                  <a:pt x="17" y="237"/>
                  <a:pt x="18" y="239"/>
                </a:cubicBezTo>
                <a:cubicBezTo>
                  <a:pt x="38" y="267"/>
                  <a:pt x="38" y="267"/>
                  <a:pt x="38" y="267"/>
                </a:cubicBezTo>
                <a:cubicBezTo>
                  <a:pt x="13" y="290"/>
                  <a:pt x="13" y="290"/>
                  <a:pt x="13" y="290"/>
                </a:cubicBezTo>
                <a:cubicBezTo>
                  <a:pt x="11" y="291"/>
                  <a:pt x="10" y="293"/>
                  <a:pt x="10" y="295"/>
                </a:cubicBezTo>
                <a:cubicBezTo>
                  <a:pt x="10" y="297"/>
                  <a:pt x="11" y="299"/>
                  <a:pt x="13" y="300"/>
                </a:cubicBezTo>
                <a:cubicBezTo>
                  <a:pt x="38" y="323"/>
                  <a:pt x="38" y="323"/>
                  <a:pt x="38" y="323"/>
                </a:cubicBezTo>
                <a:cubicBezTo>
                  <a:pt x="18" y="351"/>
                  <a:pt x="18" y="351"/>
                  <a:pt x="18" y="351"/>
                </a:cubicBezTo>
                <a:cubicBezTo>
                  <a:pt x="17" y="353"/>
                  <a:pt x="17" y="355"/>
                  <a:pt x="17" y="357"/>
                </a:cubicBezTo>
                <a:cubicBezTo>
                  <a:pt x="17" y="359"/>
                  <a:pt x="19" y="360"/>
                  <a:pt x="20" y="361"/>
                </a:cubicBezTo>
                <a:cubicBezTo>
                  <a:pt x="50" y="379"/>
                  <a:pt x="50" y="379"/>
                  <a:pt x="50" y="379"/>
                </a:cubicBezTo>
                <a:cubicBezTo>
                  <a:pt x="36" y="410"/>
                  <a:pt x="36" y="410"/>
                  <a:pt x="36" y="410"/>
                </a:cubicBezTo>
                <a:cubicBezTo>
                  <a:pt x="35" y="412"/>
                  <a:pt x="35" y="414"/>
                  <a:pt x="36" y="416"/>
                </a:cubicBezTo>
                <a:cubicBezTo>
                  <a:pt x="37" y="417"/>
                  <a:pt x="38" y="419"/>
                  <a:pt x="40" y="419"/>
                </a:cubicBezTo>
                <a:cubicBezTo>
                  <a:pt x="73" y="430"/>
                  <a:pt x="73" y="430"/>
                  <a:pt x="73" y="430"/>
                </a:cubicBezTo>
                <a:cubicBezTo>
                  <a:pt x="66" y="464"/>
                  <a:pt x="66" y="464"/>
                  <a:pt x="66" y="464"/>
                </a:cubicBezTo>
                <a:cubicBezTo>
                  <a:pt x="65" y="466"/>
                  <a:pt x="66" y="468"/>
                  <a:pt x="67" y="469"/>
                </a:cubicBezTo>
                <a:cubicBezTo>
                  <a:pt x="68" y="471"/>
                  <a:pt x="70" y="472"/>
                  <a:pt x="72" y="472"/>
                </a:cubicBezTo>
                <a:cubicBezTo>
                  <a:pt x="87" y="474"/>
                  <a:pt x="87" y="474"/>
                  <a:pt x="87" y="474"/>
                </a:cubicBezTo>
                <a:cubicBezTo>
                  <a:pt x="1" y="650"/>
                  <a:pt x="1" y="650"/>
                  <a:pt x="1" y="650"/>
                </a:cubicBezTo>
                <a:cubicBezTo>
                  <a:pt x="0" y="652"/>
                  <a:pt x="0" y="654"/>
                  <a:pt x="1" y="656"/>
                </a:cubicBezTo>
                <a:cubicBezTo>
                  <a:pt x="3" y="658"/>
                  <a:pt x="5" y="660"/>
                  <a:pt x="7" y="660"/>
                </a:cubicBezTo>
                <a:cubicBezTo>
                  <a:pt x="124" y="665"/>
                  <a:pt x="124" y="665"/>
                  <a:pt x="124" y="665"/>
                </a:cubicBezTo>
                <a:cubicBezTo>
                  <a:pt x="202" y="755"/>
                  <a:pt x="202" y="755"/>
                  <a:pt x="202" y="755"/>
                </a:cubicBezTo>
                <a:cubicBezTo>
                  <a:pt x="203" y="756"/>
                  <a:pt x="205" y="757"/>
                  <a:pt x="207" y="757"/>
                </a:cubicBezTo>
                <a:cubicBezTo>
                  <a:pt x="208" y="757"/>
                  <a:pt x="208" y="757"/>
                  <a:pt x="208" y="757"/>
                </a:cubicBezTo>
                <a:cubicBezTo>
                  <a:pt x="211" y="757"/>
                  <a:pt x="213" y="755"/>
                  <a:pt x="214" y="753"/>
                </a:cubicBezTo>
                <a:cubicBezTo>
                  <a:pt x="303" y="569"/>
                  <a:pt x="303" y="569"/>
                  <a:pt x="303" y="569"/>
                </a:cubicBezTo>
                <a:cubicBezTo>
                  <a:pt x="307" y="566"/>
                  <a:pt x="307" y="566"/>
                  <a:pt x="307" y="566"/>
                </a:cubicBezTo>
                <a:cubicBezTo>
                  <a:pt x="314" y="572"/>
                  <a:pt x="314" y="572"/>
                  <a:pt x="314" y="572"/>
                </a:cubicBezTo>
                <a:cubicBezTo>
                  <a:pt x="375" y="707"/>
                  <a:pt x="375" y="707"/>
                  <a:pt x="375" y="707"/>
                </a:cubicBezTo>
                <a:cubicBezTo>
                  <a:pt x="376" y="709"/>
                  <a:pt x="378" y="711"/>
                  <a:pt x="381" y="711"/>
                </a:cubicBezTo>
                <a:cubicBezTo>
                  <a:pt x="383" y="712"/>
                  <a:pt x="385" y="711"/>
                  <a:pt x="387" y="709"/>
                </a:cubicBezTo>
                <a:cubicBezTo>
                  <a:pt x="459" y="626"/>
                  <a:pt x="459" y="626"/>
                  <a:pt x="459" y="626"/>
                </a:cubicBezTo>
                <a:cubicBezTo>
                  <a:pt x="572" y="625"/>
                  <a:pt x="572" y="625"/>
                  <a:pt x="572" y="625"/>
                </a:cubicBezTo>
                <a:cubicBezTo>
                  <a:pt x="574" y="625"/>
                  <a:pt x="576" y="624"/>
                  <a:pt x="578" y="622"/>
                </a:cubicBezTo>
                <a:cubicBezTo>
                  <a:pt x="579" y="620"/>
                  <a:pt x="579" y="617"/>
                  <a:pt x="578" y="615"/>
                </a:cubicBezTo>
                <a:cubicBezTo>
                  <a:pt x="515" y="475"/>
                  <a:pt x="515" y="475"/>
                  <a:pt x="515" y="475"/>
                </a:cubicBezTo>
                <a:cubicBezTo>
                  <a:pt x="542" y="472"/>
                  <a:pt x="542" y="472"/>
                  <a:pt x="542" y="472"/>
                </a:cubicBezTo>
                <a:cubicBezTo>
                  <a:pt x="544" y="472"/>
                  <a:pt x="545" y="471"/>
                  <a:pt x="547" y="469"/>
                </a:cubicBezTo>
                <a:cubicBezTo>
                  <a:pt x="548" y="468"/>
                  <a:pt x="548" y="466"/>
                  <a:pt x="548" y="464"/>
                </a:cubicBezTo>
                <a:cubicBezTo>
                  <a:pt x="541" y="430"/>
                  <a:pt x="541" y="430"/>
                  <a:pt x="541" y="430"/>
                </a:cubicBezTo>
                <a:cubicBezTo>
                  <a:pt x="573" y="419"/>
                  <a:pt x="573" y="419"/>
                  <a:pt x="573" y="419"/>
                </a:cubicBezTo>
                <a:cubicBezTo>
                  <a:pt x="575" y="419"/>
                  <a:pt x="577" y="417"/>
                  <a:pt x="578" y="416"/>
                </a:cubicBezTo>
                <a:cubicBezTo>
                  <a:pt x="578" y="414"/>
                  <a:pt x="578" y="412"/>
                  <a:pt x="578" y="410"/>
                </a:cubicBezTo>
                <a:cubicBezTo>
                  <a:pt x="564" y="379"/>
                  <a:pt x="564" y="379"/>
                  <a:pt x="564" y="379"/>
                </a:cubicBezTo>
                <a:cubicBezTo>
                  <a:pt x="593" y="361"/>
                  <a:pt x="593" y="361"/>
                  <a:pt x="593" y="361"/>
                </a:cubicBezTo>
                <a:cubicBezTo>
                  <a:pt x="595" y="360"/>
                  <a:pt x="596" y="359"/>
                  <a:pt x="597" y="357"/>
                </a:cubicBezTo>
                <a:cubicBezTo>
                  <a:pt x="597" y="355"/>
                  <a:pt x="597" y="353"/>
                  <a:pt x="596" y="351"/>
                </a:cubicBezTo>
                <a:cubicBezTo>
                  <a:pt x="576" y="323"/>
                  <a:pt x="576" y="323"/>
                  <a:pt x="576" y="323"/>
                </a:cubicBezTo>
                <a:cubicBezTo>
                  <a:pt x="601" y="300"/>
                  <a:pt x="601" y="300"/>
                  <a:pt x="601" y="300"/>
                </a:cubicBezTo>
                <a:cubicBezTo>
                  <a:pt x="602" y="299"/>
                  <a:pt x="603" y="297"/>
                  <a:pt x="603" y="295"/>
                </a:cubicBezTo>
                <a:close/>
                <a:moveTo>
                  <a:pt x="562" y="317"/>
                </a:moveTo>
                <a:cubicBezTo>
                  <a:pt x="559" y="320"/>
                  <a:pt x="559" y="324"/>
                  <a:pt x="561" y="326"/>
                </a:cubicBezTo>
                <a:cubicBezTo>
                  <a:pt x="580" y="353"/>
                  <a:pt x="580" y="353"/>
                  <a:pt x="580" y="353"/>
                </a:cubicBezTo>
                <a:cubicBezTo>
                  <a:pt x="552" y="370"/>
                  <a:pt x="552" y="370"/>
                  <a:pt x="552" y="370"/>
                </a:cubicBezTo>
                <a:cubicBezTo>
                  <a:pt x="549" y="372"/>
                  <a:pt x="547" y="375"/>
                  <a:pt x="549" y="379"/>
                </a:cubicBezTo>
                <a:cubicBezTo>
                  <a:pt x="562" y="409"/>
                  <a:pt x="562" y="409"/>
                  <a:pt x="562" y="409"/>
                </a:cubicBezTo>
                <a:cubicBezTo>
                  <a:pt x="531" y="419"/>
                  <a:pt x="531" y="419"/>
                  <a:pt x="531" y="419"/>
                </a:cubicBezTo>
                <a:cubicBezTo>
                  <a:pt x="527" y="420"/>
                  <a:pt x="526" y="424"/>
                  <a:pt x="526" y="427"/>
                </a:cubicBezTo>
                <a:cubicBezTo>
                  <a:pt x="533" y="459"/>
                  <a:pt x="533" y="459"/>
                  <a:pt x="533" y="459"/>
                </a:cubicBezTo>
                <a:cubicBezTo>
                  <a:pt x="504" y="462"/>
                  <a:pt x="504" y="462"/>
                  <a:pt x="504" y="462"/>
                </a:cubicBezTo>
                <a:cubicBezTo>
                  <a:pt x="501" y="463"/>
                  <a:pt x="499" y="464"/>
                  <a:pt x="498" y="466"/>
                </a:cubicBezTo>
                <a:cubicBezTo>
                  <a:pt x="497" y="468"/>
                  <a:pt x="497" y="470"/>
                  <a:pt x="498" y="472"/>
                </a:cubicBezTo>
                <a:cubicBezTo>
                  <a:pt x="561" y="611"/>
                  <a:pt x="561" y="611"/>
                  <a:pt x="561" y="611"/>
                </a:cubicBezTo>
                <a:cubicBezTo>
                  <a:pt x="456" y="612"/>
                  <a:pt x="456" y="612"/>
                  <a:pt x="456" y="612"/>
                </a:cubicBezTo>
                <a:cubicBezTo>
                  <a:pt x="454" y="612"/>
                  <a:pt x="452" y="612"/>
                  <a:pt x="451" y="614"/>
                </a:cubicBezTo>
                <a:cubicBezTo>
                  <a:pt x="383" y="692"/>
                  <a:pt x="383" y="692"/>
                  <a:pt x="383" y="692"/>
                </a:cubicBezTo>
                <a:cubicBezTo>
                  <a:pt x="326" y="564"/>
                  <a:pt x="326" y="564"/>
                  <a:pt x="326" y="564"/>
                </a:cubicBezTo>
                <a:cubicBezTo>
                  <a:pt x="325" y="563"/>
                  <a:pt x="325" y="563"/>
                  <a:pt x="324" y="562"/>
                </a:cubicBezTo>
                <a:cubicBezTo>
                  <a:pt x="311" y="551"/>
                  <a:pt x="311" y="551"/>
                  <a:pt x="311" y="551"/>
                </a:cubicBezTo>
                <a:cubicBezTo>
                  <a:pt x="309" y="549"/>
                  <a:pt x="305" y="549"/>
                  <a:pt x="302" y="551"/>
                </a:cubicBezTo>
                <a:cubicBezTo>
                  <a:pt x="293" y="559"/>
                  <a:pt x="293" y="559"/>
                  <a:pt x="293" y="559"/>
                </a:cubicBezTo>
                <a:cubicBezTo>
                  <a:pt x="292" y="560"/>
                  <a:pt x="292" y="561"/>
                  <a:pt x="291" y="561"/>
                </a:cubicBezTo>
                <a:cubicBezTo>
                  <a:pt x="206" y="737"/>
                  <a:pt x="206" y="737"/>
                  <a:pt x="206" y="737"/>
                </a:cubicBezTo>
                <a:cubicBezTo>
                  <a:pt x="132" y="654"/>
                  <a:pt x="132" y="654"/>
                  <a:pt x="132" y="654"/>
                </a:cubicBezTo>
                <a:cubicBezTo>
                  <a:pt x="131" y="652"/>
                  <a:pt x="129" y="651"/>
                  <a:pt x="127" y="651"/>
                </a:cubicBezTo>
                <a:cubicBezTo>
                  <a:pt x="18" y="646"/>
                  <a:pt x="18" y="646"/>
                  <a:pt x="18" y="646"/>
                </a:cubicBezTo>
                <a:cubicBezTo>
                  <a:pt x="104" y="471"/>
                  <a:pt x="104" y="471"/>
                  <a:pt x="104" y="471"/>
                </a:cubicBezTo>
                <a:cubicBezTo>
                  <a:pt x="105" y="469"/>
                  <a:pt x="105" y="467"/>
                  <a:pt x="103" y="465"/>
                </a:cubicBezTo>
                <a:cubicBezTo>
                  <a:pt x="102" y="463"/>
                  <a:pt x="100" y="461"/>
                  <a:pt x="98" y="461"/>
                </a:cubicBezTo>
                <a:cubicBezTo>
                  <a:pt x="81" y="459"/>
                  <a:pt x="81" y="459"/>
                  <a:pt x="81" y="459"/>
                </a:cubicBezTo>
                <a:cubicBezTo>
                  <a:pt x="87" y="427"/>
                  <a:pt x="87" y="427"/>
                  <a:pt x="87" y="427"/>
                </a:cubicBezTo>
                <a:cubicBezTo>
                  <a:pt x="88" y="424"/>
                  <a:pt x="86" y="420"/>
                  <a:pt x="83" y="419"/>
                </a:cubicBezTo>
                <a:cubicBezTo>
                  <a:pt x="52" y="409"/>
                  <a:pt x="52" y="409"/>
                  <a:pt x="52" y="409"/>
                </a:cubicBezTo>
                <a:cubicBezTo>
                  <a:pt x="65" y="379"/>
                  <a:pt x="65" y="379"/>
                  <a:pt x="65" y="379"/>
                </a:cubicBezTo>
                <a:cubicBezTo>
                  <a:pt x="66" y="375"/>
                  <a:pt x="65" y="372"/>
                  <a:pt x="62" y="370"/>
                </a:cubicBezTo>
                <a:cubicBezTo>
                  <a:pt x="34" y="353"/>
                  <a:pt x="34" y="353"/>
                  <a:pt x="34" y="353"/>
                </a:cubicBezTo>
                <a:cubicBezTo>
                  <a:pt x="53" y="326"/>
                  <a:pt x="53" y="326"/>
                  <a:pt x="53" y="326"/>
                </a:cubicBezTo>
                <a:cubicBezTo>
                  <a:pt x="55" y="324"/>
                  <a:pt x="54" y="320"/>
                  <a:pt x="52" y="317"/>
                </a:cubicBezTo>
                <a:cubicBezTo>
                  <a:pt x="28" y="295"/>
                  <a:pt x="28" y="295"/>
                  <a:pt x="28" y="295"/>
                </a:cubicBezTo>
                <a:cubicBezTo>
                  <a:pt x="52" y="273"/>
                  <a:pt x="52" y="273"/>
                  <a:pt x="52" y="273"/>
                </a:cubicBezTo>
                <a:cubicBezTo>
                  <a:pt x="54" y="270"/>
                  <a:pt x="55" y="267"/>
                  <a:pt x="53" y="264"/>
                </a:cubicBezTo>
                <a:cubicBezTo>
                  <a:pt x="34" y="237"/>
                  <a:pt x="34" y="237"/>
                  <a:pt x="34" y="237"/>
                </a:cubicBezTo>
                <a:cubicBezTo>
                  <a:pt x="62" y="220"/>
                  <a:pt x="62" y="220"/>
                  <a:pt x="62" y="220"/>
                </a:cubicBezTo>
                <a:cubicBezTo>
                  <a:pt x="65" y="219"/>
                  <a:pt x="66" y="215"/>
                  <a:pt x="65" y="212"/>
                </a:cubicBezTo>
                <a:cubicBezTo>
                  <a:pt x="52" y="182"/>
                  <a:pt x="52" y="182"/>
                  <a:pt x="52" y="182"/>
                </a:cubicBezTo>
                <a:cubicBezTo>
                  <a:pt x="83" y="171"/>
                  <a:pt x="83" y="171"/>
                  <a:pt x="83" y="171"/>
                </a:cubicBezTo>
                <a:cubicBezTo>
                  <a:pt x="86" y="170"/>
                  <a:pt x="88" y="167"/>
                  <a:pt x="87" y="163"/>
                </a:cubicBezTo>
                <a:cubicBezTo>
                  <a:pt x="81" y="131"/>
                  <a:pt x="81" y="131"/>
                  <a:pt x="81" y="131"/>
                </a:cubicBezTo>
                <a:cubicBezTo>
                  <a:pt x="114" y="127"/>
                  <a:pt x="114" y="127"/>
                  <a:pt x="114" y="127"/>
                </a:cubicBezTo>
                <a:cubicBezTo>
                  <a:pt x="117" y="127"/>
                  <a:pt x="120" y="124"/>
                  <a:pt x="120" y="120"/>
                </a:cubicBezTo>
                <a:cubicBezTo>
                  <a:pt x="120" y="88"/>
                  <a:pt x="120" y="88"/>
                  <a:pt x="120" y="88"/>
                </a:cubicBezTo>
                <a:cubicBezTo>
                  <a:pt x="153" y="91"/>
                  <a:pt x="153" y="91"/>
                  <a:pt x="153" y="91"/>
                </a:cubicBezTo>
                <a:cubicBezTo>
                  <a:pt x="156" y="91"/>
                  <a:pt x="159" y="89"/>
                  <a:pt x="160" y="85"/>
                </a:cubicBezTo>
                <a:cubicBezTo>
                  <a:pt x="167" y="53"/>
                  <a:pt x="167" y="53"/>
                  <a:pt x="167" y="53"/>
                </a:cubicBezTo>
                <a:cubicBezTo>
                  <a:pt x="198" y="63"/>
                  <a:pt x="198" y="63"/>
                  <a:pt x="198" y="63"/>
                </a:cubicBezTo>
                <a:cubicBezTo>
                  <a:pt x="202" y="64"/>
                  <a:pt x="205" y="63"/>
                  <a:pt x="207" y="59"/>
                </a:cubicBezTo>
                <a:cubicBezTo>
                  <a:pt x="221" y="30"/>
                  <a:pt x="221" y="30"/>
                  <a:pt x="221" y="30"/>
                </a:cubicBezTo>
                <a:cubicBezTo>
                  <a:pt x="249" y="46"/>
                  <a:pt x="249" y="46"/>
                  <a:pt x="249" y="46"/>
                </a:cubicBezTo>
                <a:cubicBezTo>
                  <a:pt x="252" y="47"/>
                  <a:pt x="256" y="47"/>
                  <a:pt x="258" y="44"/>
                </a:cubicBezTo>
                <a:cubicBezTo>
                  <a:pt x="278" y="18"/>
                  <a:pt x="278" y="18"/>
                  <a:pt x="278" y="18"/>
                </a:cubicBezTo>
                <a:cubicBezTo>
                  <a:pt x="302" y="39"/>
                  <a:pt x="302" y="39"/>
                  <a:pt x="302" y="39"/>
                </a:cubicBezTo>
                <a:cubicBezTo>
                  <a:pt x="305" y="41"/>
                  <a:pt x="309" y="41"/>
                  <a:pt x="311" y="39"/>
                </a:cubicBezTo>
                <a:cubicBezTo>
                  <a:pt x="336" y="18"/>
                  <a:pt x="336" y="18"/>
                  <a:pt x="336" y="18"/>
                </a:cubicBezTo>
                <a:cubicBezTo>
                  <a:pt x="356" y="44"/>
                  <a:pt x="356" y="44"/>
                  <a:pt x="356" y="44"/>
                </a:cubicBezTo>
                <a:cubicBezTo>
                  <a:pt x="358" y="47"/>
                  <a:pt x="361" y="47"/>
                  <a:pt x="365" y="46"/>
                </a:cubicBezTo>
                <a:cubicBezTo>
                  <a:pt x="393" y="30"/>
                  <a:pt x="393" y="30"/>
                  <a:pt x="393" y="30"/>
                </a:cubicBezTo>
                <a:cubicBezTo>
                  <a:pt x="407" y="59"/>
                  <a:pt x="407" y="59"/>
                  <a:pt x="407" y="59"/>
                </a:cubicBezTo>
                <a:cubicBezTo>
                  <a:pt x="408" y="63"/>
                  <a:pt x="412" y="64"/>
                  <a:pt x="415" y="63"/>
                </a:cubicBezTo>
                <a:cubicBezTo>
                  <a:pt x="446" y="53"/>
                  <a:pt x="446" y="53"/>
                  <a:pt x="446" y="53"/>
                </a:cubicBezTo>
                <a:cubicBezTo>
                  <a:pt x="454" y="85"/>
                  <a:pt x="454" y="85"/>
                  <a:pt x="454" y="85"/>
                </a:cubicBezTo>
                <a:cubicBezTo>
                  <a:pt x="454" y="89"/>
                  <a:pt x="457" y="91"/>
                  <a:pt x="461" y="91"/>
                </a:cubicBezTo>
                <a:cubicBezTo>
                  <a:pt x="494" y="88"/>
                  <a:pt x="494" y="88"/>
                  <a:pt x="494" y="88"/>
                </a:cubicBezTo>
                <a:cubicBezTo>
                  <a:pt x="494" y="120"/>
                  <a:pt x="494" y="120"/>
                  <a:pt x="494" y="120"/>
                </a:cubicBezTo>
                <a:cubicBezTo>
                  <a:pt x="494" y="124"/>
                  <a:pt x="497" y="127"/>
                  <a:pt x="500" y="127"/>
                </a:cubicBezTo>
                <a:cubicBezTo>
                  <a:pt x="533" y="131"/>
                  <a:pt x="533" y="131"/>
                  <a:pt x="533" y="131"/>
                </a:cubicBezTo>
                <a:cubicBezTo>
                  <a:pt x="526" y="163"/>
                  <a:pt x="526" y="163"/>
                  <a:pt x="526" y="163"/>
                </a:cubicBezTo>
                <a:cubicBezTo>
                  <a:pt x="526" y="167"/>
                  <a:pt x="527" y="170"/>
                  <a:pt x="531" y="171"/>
                </a:cubicBezTo>
                <a:cubicBezTo>
                  <a:pt x="562" y="182"/>
                  <a:pt x="562" y="182"/>
                  <a:pt x="562" y="182"/>
                </a:cubicBezTo>
                <a:cubicBezTo>
                  <a:pt x="549" y="212"/>
                  <a:pt x="549" y="212"/>
                  <a:pt x="549" y="212"/>
                </a:cubicBezTo>
                <a:cubicBezTo>
                  <a:pt x="547" y="215"/>
                  <a:pt x="549" y="219"/>
                  <a:pt x="552" y="220"/>
                </a:cubicBezTo>
                <a:cubicBezTo>
                  <a:pt x="580" y="237"/>
                  <a:pt x="580" y="237"/>
                  <a:pt x="580" y="237"/>
                </a:cubicBezTo>
                <a:cubicBezTo>
                  <a:pt x="561" y="264"/>
                  <a:pt x="561" y="264"/>
                  <a:pt x="561" y="264"/>
                </a:cubicBezTo>
                <a:cubicBezTo>
                  <a:pt x="559" y="267"/>
                  <a:pt x="559" y="270"/>
                  <a:pt x="562" y="273"/>
                </a:cubicBezTo>
                <a:cubicBezTo>
                  <a:pt x="586" y="295"/>
                  <a:pt x="586" y="295"/>
                  <a:pt x="586" y="295"/>
                </a:cubicBezTo>
                <a:lnTo>
                  <a:pt x="562" y="317"/>
                </a:lnTo>
                <a:close/>
                <a:moveTo>
                  <a:pt x="307" y="116"/>
                </a:moveTo>
                <a:cubicBezTo>
                  <a:pt x="211" y="116"/>
                  <a:pt x="133" y="193"/>
                  <a:pt x="133" y="289"/>
                </a:cubicBezTo>
                <a:cubicBezTo>
                  <a:pt x="133" y="385"/>
                  <a:pt x="211" y="463"/>
                  <a:pt x="307" y="463"/>
                </a:cubicBezTo>
                <a:cubicBezTo>
                  <a:pt x="403" y="463"/>
                  <a:pt x="480" y="385"/>
                  <a:pt x="480" y="289"/>
                </a:cubicBezTo>
                <a:cubicBezTo>
                  <a:pt x="480" y="193"/>
                  <a:pt x="403" y="116"/>
                  <a:pt x="307" y="116"/>
                </a:cubicBezTo>
                <a:close/>
                <a:moveTo>
                  <a:pt x="307" y="449"/>
                </a:moveTo>
                <a:cubicBezTo>
                  <a:pt x="219" y="449"/>
                  <a:pt x="147" y="377"/>
                  <a:pt x="147" y="289"/>
                </a:cubicBezTo>
                <a:cubicBezTo>
                  <a:pt x="147" y="201"/>
                  <a:pt x="219" y="130"/>
                  <a:pt x="307" y="130"/>
                </a:cubicBezTo>
                <a:cubicBezTo>
                  <a:pt x="395" y="130"/>
                  <a:pt x="466" y="201"/>
                  <a:pt x="466" y="289"/>
                </a:cubicBezTo>
                <a:cubicBezTo>
                  <a:pt x="466" y="377"/>
                  <a:pt x="395" y="449"/>
                  <a:pt x="307" y="449"/>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34" name="Freeform 104"/>
          <p:cNvSpPr>
            <a:spLocks noEditPoints="1"/>
          </p:cNvSpPr>
          <p:nvPr/>
        </p:nvSpPr>
        <p:spPr bwMode="auto">
          <a:xfrm>
            <a:off x="1066576" y="2167676"/>
            <a:ext cx="199511" cy="230001"/>
          </a:xfrm>
          <a:custGeom>
            <a:avLst/>
            <a:gdLst>
              <a:gd name="T0" fmla="*/ 480 w 620"/>
              <a:gd name="T1" fmla="*/ 419 h 787"/>
              <a:gd name="T2" fmla="*/ 618 w 620"/>
              <a:gd name="T3" fmla="*/ 203 h 787"/>
              <a:gd name="T4" fmla="*/ 606 w 620"/>
              <a:gd name="T5" fmla="*/ 196 h 787"/>
              <a:gd name="T6" fmla="*/ 396 w 620"/>
              <a:gd name="T7" fmla="*/ 319 h 787"/>
              <a:gd name="T8" fmla="*/ 524 w 620"/>
              <a:gd name="T9" fmla="*/ 97 h 787"/>
              <a:gd name="T10" fmla="*/ 382 w 620"/>
              <a:gd name="T11" fmla="*/ 314 h 787"/>
              <a:gd name="T12" fmla="*/ 259 w 620"/>
              <a:gd name="T13" fmla="*/ 303 h 787"/>
              <a:gd name="T14" fmla="*/ 419 w 620"/>
              <a:gd name="T15" fmla="*/ 27 h 787"/>
              <a:gd name="T16" fmla="*/ 245 w 620"/>
              <a:gd name="T17" fmla="*/ 299 h 787"/>
              <a:gd name="T18" fmla="*/ 292 w 620"/>
              <a:gd name="T19" fmla="*/ 11 h 787"/>
              <a:gd name="T20" fmla="*/ 280 w 620"/>
              <a:gd name="T21" fmla="*/ 4 h 787"/>
              <a:gd name="T22" fmla="*/ 153 w 620"/>
              <a:gd name="T23" fmla="*/ 212 h 787"/>
              <a:gd name="T24" fmla="*/ 153 w 620"/>
              <a:gd name="T25" fmla="*/ 213 h 787"/>
              <a:gd name="T26" fmla="*/ 0 w 620"/>
              <a:gd name="T27" fmla="*/ 779 h 787"/>
              <a:gd name="T28" fmla="*/ 0 w 620"/>
              <a:gd name="T29" fmla="*/ 780 h 787"/>
              <a:gd name="T30" fmla="*/ 0 w 620"/>
              <a:gd name="T31" fmla="*/ 781 h 787"/>
              <a:gd name="T32" fmla="*/ 0 w 620"/>
              <a:gd name="T33" fmla="*/ 782 h 787"/>
              <a:gd name="T34" fmla="*/ 1 w 620"/>
              <a:gd name="T35" fmla="*/ 784 h 787"/>
              <a:gd name="T36" fmla="*/ 2 w 620"/>
              <a:gd name="T37" fmla="*/ 785 h 787"/>
              <a:gd name="T38" fmla="*/ 2 w 620"/>
              <a:gd name="T39" fmla="*/ 786 h 787"/>
              <a:gd name="T40" fmla="*/ 4 w 620"/>
              <a:gd name="T41" fmla="*/ 786 h 787"/>
              <a:gd name="T42" fmla="*/ 5 w 620"/>
              <a:gd name="T43" fmla="*/ 787 h 787"/>
              <a:gd name="T44" fmla="*/ 5 w 620"/>
              <a:gd name="T45" fmla="*/ 787 h 787"/>
              <a:gd name="T46" fmla="*/ 7 w 620"/>
              <a:gd name="T47" fmla="*/ 787 h 787"/>
              <a:gd name="T48" fmla="*/ 521 w 620"/>
              <a:gd name="T49" fmla="*/ 787 h 787"/>
              <a:gd name="T50" fmla="*/ 521 w 620"/>
              <a:gd name="T51" fmla="*/ 773 h 787"/>
              <a:gd name="T52" fmla="*/ 479 w 620"/>
              <a:gd name="T53" fmla="*/ 420 h 787"/>
              <a:gd name="T54" fmla="*/ 317 w 620"/>
              <a:gd name="T55" fmla="*/ 322 h 787"/>
              <a:gd name="T56" fmla="*/ 129 w 620"/>
              <a:gd name="T57" fmla="*/ 719 h 787"/>
              <a:gd name="T58" fmla="*/ 46 w 620"/>
              <a:gd name="T59" fmla="*/ 661 h 787"/>
              <a:gd name="T60" fmla="*/ 317 w 620"/>
              <a:gd name="T61" fmla="*/ 322 h 787"/>
              <a:gd name="T62" fmla="*/ 43 w 620"/>
              <a:gd name="T63" fmla="*/ 675 h 787"/>
              <a:gd name="T64" fmla="*/ 117 w 620"/>
              <a:gd name="T65" fmla="*/ 730 h 787"/>
              <a:gd name="T66" fmla="*/ 16 w 620"/>
              <a:gd name="T67" fmla="*/ 773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0" h="787">
                <a:moveTo>
                  <a:pt x="479" y="420"/>
                </a:moveTo>
                <a:cubicBezTo>
                  <a:pt x="479" y="419"/>
                  <a:pt x="480" y="419"/>
                  <a:pt x="480" y="419"/>
                </a:cubicBezTo>
                <a:cubicBezTo>
                  <a:pt x="480" y="419"/>
                  <a:pt x="480" y="419"/>
                  <a:pt x="480" y="419"/>
                </a:cubicBezTo>
                <a:cubicBezTo>
                  <a:pt x="618" y="203"/>
                  <a:pt x="618" y="203"/>
                  <a:pt x="618" y="203"/>
                </a:cubicBezTo>
                <a:cubicBezTo>
                  <a:pt x="620" y="200"/>
                  <a:pt x="619" y="196"/>
                  <a:pt x="616" y="193"/>
                </a:cubicBezTo>
                <a:cubicBezTo>
                  <a:pt x="613" y="191"/>
                  <a:pt x="608" y="192"/>
                  <a:pt x="606" y="196"/>
                </a:cubicBezTo>
                <a:cubicBezTo>
                  <a:pt x="475" y="401"/>
                  <a:pt x="475" y="401"/>
                  <a:pt x="475" y="401"/>
                </a:cubicBezTo>
                <a:cubicBezTo>
                  <a:pt x="450" y="353"/>
                  <a:pt x="423" y="330"/>
                  <a:pt x="396" y="319"/>
                </a:cubicBezTo>
                <a:cubicBezTo>
                  <a:pt x="527" y="107"/>
                  <a:pt x="527" y="107"/>
                  <a:pt x="527" y="107"/>
                </a:cubicBezTo>
                <a:cubicBezTo>
                  <a:pt x="529" y="103"/>
                  <a:pt x="528" y="99"/>
                  <a:pt x="524" y="97"/>
                </a:cubicBezTo>
                <a:cubicBezTo>
                  <a:pt x="521" y="95"/>
                  <a:pt x="517" y="96"/>
                  <a:pt x="515" y="99"/>
                </a:cubicBezTo>
                <a:cubicBezTo>
                  <a:pt x="382" y="314"/>
                  <a:pt x="382" y="314"/>
                  <a:pt x="382" y="314"/>
                </a:cubicBezTo>
                <a:cubicBezTo>
                  <a:pt x="360" y="308"/>
                  <a:pt x="338" y="308"/>
                  <a:pt x="317" y="308"/>
                </a:cubicBezTo>
                <a:cubicBezTo>
                  <a:pt x="297" y="308"/>
                  <a:pt x="278" y="308"/>
                  <a:pt x="259" y="303"/>
                </a:cubicBezTo>
                <a:cubicBezTo>
                  <a:pt x="421" y="36"/>
                  <a:pt x="421" y="36"/>
                  <a:pt x="421" y="36"/>
                </a:cubicBezTo>
                <a:cubicBezTo>
                  <a:pt x="423" y="33"/>
                  <a:pt x="422" y="29"/>
                  <a:pt x="419" y="27"/>
                </a:cubicBezTo>
                <a:cubicBezTo>
                  <a:pt x="415" y="25"/>
                  <a:pt x="411" y="26"/>
                  <a:pt x="409" y="29"/>
                </a:cubicBezTo>
                <a:cubicBezTo>
                  <a:pt x="245" y="299"/>
                  <a:pt x="245" y="299"/>
                  <a:pt x="245" y="299"/>
                </a:cubicBezTo>
                <a:cubicBezTo>
                  <a:pt x="218" y="288"/>
                  <a:pt x="192" y="265"/>
                  <a:pt x="167" y="216"/>
                </a:cubicBezTo>
                <a:cubicBezTo>
                  <a:pt x="292" y="11"/>
                  <a:pt x="292" y="11"/>
                  <a:pt x="292" y="11"/>
                </a:cubicBezTo>
                <a:cubicBezTo>
                  <a:pt x="294" y="8"/>
                  <a:pt x="293" y="4"/>
                  <a:pt x="289" y="2"/>
                </a:cubicBezTo>
                <a:cubicBezTo>
                  <a:pt x="286" y="0"/>
                  <a:pt x="282" y="1"/>
                  <a:pt x="280" y="4"/>
                </a:cubicBezTo>
                <a:cubicBezTo>
                  <a:pt x="153" y="212"/>
                  <a:pt x="153" y="212"/>
                  <a:pt x="153" y="212"/>
                </a:cubicBezTo>
                <a:cubicBezTo>
                  <a:pt x="153" y="212"/>
                  <a:pt x="153" y="212"/>
                  <a:pt x="153" y="212"/>
                </a:cubicBezTo>
                <a:cubicBezTo>
                  <a:pt x="153" y="212"/>
                  <a:pt x="153" y="213"/>
                  <a:pt x="153" y="213"/>
                </a:cubicBezTo>
                <a:cubicBezTo>
                  <a:pt x="153" y="213"/>
                  <a:pt x="153" y="213"/>
                  <a:pt x="153" y="213"/>
                </a:cubicBezTo>
                <a:cubicBezTo>
                  <a:pt x="0" y="779"/>
                  <a:pt x="0" y="779"/>
                  <a:pt x="0" y="779"/>
                </a:cubicBezTo>
                <a:cubicBezTo>
                  <a:pt x="0" y="779"/>
                  <a:pt x="0" y="779"/>
                  <a:pt x="0" y="779"/>
                </a:cubicBezTo>
                <a:cubicBezTo>
                  <a:pt x="0" y="779"/>
                  <a:pt x="0" y="779"/>
                  <a:pt x="0" y="779"/>
                </a:cubicBezTo>
                <a:cubicBezTo>
                  <a:pt x="0" y="780"/>
                  <a:pt x="0" y="780"/>
                  <a:pt x="0" y="780"/>
                </a:cubicBezTo>
                <a:cubicBezTo>
                  <a:pt x="0" y="780"/>
                  <a:pt x="0" y="780"/>
                  <a:pt x="0" y="780"/>
                </a:cubicBezTo>
                <a:cubicBezTo>
                  <a:pt x="0" y="781"/>
                  <a:pt x="0" y="781"/>
                  <a:pt x="0" y="781"/>
                </a:cubicBezTo>
                <a:cubicBezTo>
                  <a:pt x="0" y="781"/>
                  <a:pt x="0" y="781"/>
                  <a:pt x="0" y="782"/>
                </a:cubicBezTo>
                <a:cubicBezTo>
                  <a:pt x="0" y="782"/>
                  <a:pt x="0" y="782"/>
                  <a:pt x="0" y="782"/>
                </a:cubicBezTo>
                <a:cubicBezTo>
                  <a:pt x="0" y="782"/>
                  <a:pt x="1" y="783"/>
                  <a:pt x="1" y="783"/>
                </a:cubicBezTo>
                <a:cubicBezTo>
                  <a:pt x="1" y="783"/>
                  <a:pt x="1" y="783"/>
                  <a:pt x="1" y="784"/>
                </a:cubicBezTo>
                <a:cubicBezTo>
                  <a:pt x="1" y="784"/>
                  <a:pt x="1" y="784"/>
                  <a:pt x="1" y="784"/>
                </a:cubicBezTo>
                <a:cubicBezTo>
                  <a:pt x="1" y="784"/>
                  <a:pt x="1" y="784"/>
                  <a:pt x="2" y="785"/>
                </a:cubicBezTo>
                <a:cubicBezTo>
                  <a:pt x="2" y="785"/>
                  <a:pt x="2" y="785"/>
                  <a:pt x="2" y="785"/>
                </a:cubicBezTo>
                <a:cubicBezTo>
                  <a:pt x="2" y="785"/>
                  <a:pt x="2" y="785"/>
                  <a:pt x="2" y="786"/>
                </a:cubicBezTo>
                <a:cubicBezTo>
                  <a:pt x="3" y="786"/>
                  <a:pt x="3" y="786"/>
                  <a:pt x="3" y="786"/>
                </a:cubicBezTo>
                <a:cubicBezTo>
                  <a:pt x="3" y="786"/>
                  <a:pt x="3" y="786"/>
                  <a:pt x="4" y="786"/>
                </a:cubicBezTo>
                <a:cubicBezTo>
                  <a:pt x="4" y="787"/>
                  <a:pt x="4" y="787"/>
                  <a:pt x="4" y="787"/>
                </a:cubicBezTo>
                <a:cubicBezTo>
                  <a:pt x="4" y="787"/>
                  <a:pt x="5" y="787"/>
                  <a:pt x="5" y="787"/>
                </a:cubicBezTo>
                <a:cubicBezTo>
                  <a:pt x="5" y="787"/>
                  <a:pt x="5" y="787"/>
                  <a:pt x="5" y="787"/>
                </a:cubicBezTo>
                <a:cubicBezTo>
                  <a:pt x="5" y="787"/>
                  <a:pt x="5" y="787"/>
                  <a:pt x="5" y="787"/>
                </a:cubicBezTo>
                <a:cubicBezTo>
                  <a:pt x="6" y="787"/>
                  <a:pt x="7" y="787"/>
                  <a:pt x="7" y="787"/>
                </a:cubicBezTo>
                <a:cubicBezTo>
                  <a:pt x="7" y="787"/>
                  <a:pt x="7" y="787"/>
                  <a:pt x="7" y="787"/>
                </a:cubicBezTo>
                <a:cubicBezTo>
                  <a:pt x="7" y="787"/>
                  <a:pt x="7" y="787"/>
                  <a:pt x="7" y="787"/>
                </a:cubicBezTo>
                <a:cubicBezTo>
                  <a:pt x="521" y="787"/>
                  <a:pt x="521" y="787"/>
                  <a:pt x="521" y="787"/>
                </a:cubicBezTo>
                <a:cubicBezTo>
                  <a:pt x="525" y="787"/>
                  <a:pt x="528" y="784"/>
                  <a:pt x="528" y="780"/>
                </a:cubicBezTo>
                <a:cubicBezTo>
                  <a:pt x="528" y="777"/>
                  <a:pt x="525" y="773"/>
                  <a:pt x="521" y="773"/>
                </a:cubicBezTo>
                <a:cubicBezTo>
                  <a:pt x="90" y="773"/>
                  <a:pt x="90" y="773"/>
                  <a:pt x="90" y="773"/>
                </a:cubicBezTo>
                <a:cubicBezTo>
                  <a:pt x="479" y="420"/>
                  <a:pt x="479" y="420"/>
                  <a:pt x="479" y="420"/>
                </a:cubicBezTo>
                <a:cubicBezTo>
                  <a:pt x="479" y="420"/>
                  <a:pt x="479" y="420"/>
                  <a:pt x="479" y="420"/>
                </a:cubicBezTo>
                <a:close/>
                <a:moveTo>
                  <a:pt x="317" y="322"/>
                </a:moveTo>
                <a:cubicBezTo>
                  <a:pt x="370" y="322"/>
                  <a:pt x="420" y="322"/>
                  <a:pt x="466" y="413"/>
                </a:cubicBezTo>
                <a:cubicBezTo>
                  <a:pt x="129" y="719"/>
                  <a:pt x="129" y="719"/>
                  <a:pt x="129" y="719"/>
                </a:cubicBezTo>
                <a:cubicBezTo>
                  <a:pt x="119" y="718"/>
                  <a:pt x="106" y="705"/>
                  <a:pt x="94" y="693"/>
                </a:cubicBezTo>
                <a:cubicBezTo>
                  <a:pt x="80" y="679"/>
                  <a:pt x="64" y="663"/>
                  <a:pt x="46" y="661"/>
                </a:cubicBezTo>
                <a:cubicBezTo>
                  <a:pt x="161" y="234"/>
                  <a:pt x="161" y="234"/>
                  <a:pt x="161" y="234"/>
                </a:cubicBezTo>
                <a:cubicBezTo>
                  <a:pt x="209" y="322"/>
                  <a:pt x="264" y="322"/>
                  <a:pt x="317" y="322"/>
                </a:cubicBezTo>
                <a:close/>
                <a:moveTo>
                  <a:pt x="16" y="773"/>
                </a:moveTo>
                <a:cubicBezTo>
                  <a:pt x="43" y="675"/>
                  <a:pt x="43" y="675"/>
                  <a:pt x="43" y="675"/>
                </a:cubicBezTo>
                <a:cubicBezTo>
                  <a:pt x="56" y="674"/>
                  <a:pt x="70" y="689"/>
                  <a:pt x="84" y="703"/>
                </a:cubicBezTo>
                <a:cubicBezTo>
                  <a:pt x="95" y="714"/>
                  <a:pt x="106" y="725"/>
                  <a:pt x="117" y="730"/>
                </a:cubicBezTo>
                <a:cubicBezTo>
                  <a:pt x="69" y="773"/>
                  <a:pt x="69" y="773"/>
                  <a:pt x="69" y="773"/>
                </a:cubicBezTo>
                <a:lnTo>
                  <a:pt x="16" y="773"/>
                </a:ln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98" name="Oval 97"/>
          <p:cNvSpPr/>
          <p:nvPr/>
        </p:nvSpPr>
        <p:spPr>
          <a:xfrm>
            <a:off x="8436438"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73" name="Oval 72"/>
          <p:cNvSpPr/>
          <p:nvPr/>
        </p:nvSpPr>
        <p:spPr>
          <a:xfrm>
            <a:off x="8436438" y="3932467"/>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56" name="Oval 55"/>
          <p:cNvSpPr/>
          <p:nvPr/>
        </p:nvSpPr>
        <p:spPr>
          <a:xfrm>
            <a:off x="8866529" y="3759258"/>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 name="Oval 2"/>
          <p:cNvSpPr/>
          <p:nvPr/>
        </p:nvSpPr>
        <p:spPr>
          <a:xfrm>
            <a:off x="8847479" y="2087539"/>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74" name="Rechteck 24"/>
          <p:cNvSpPr/>
          <p:nvPr/>
        </p:nvSpPr>
        <p:spPr bwMode="gray">
          <a:xfrm>
            <a:off x="8509333" y="4334663"/>
            <a:ext cx="1084821" cy="620170"/>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Mobilisation des employés</a:t>
            </a:r>
          </a:p>
        </p:txBody>
      </p:sp>
      <p:sp>
        <p:nvSpPr>
          <p:cNvPr id="99" name="Rechteck 24"/>
          <p:cNvSpPr/>
          <p:nvPr/>
        </p:nvSpPr>
        <p:spPr bwMode="gray">
          <a:xfrm>
            <a:off x="8520473" y="2593708"/>
            <a:ext cx="1062541" cy="620170"/>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Prise de décision éclairée</a:t>
            </a:r>
          </a:p>
        </p:txBody>
      </p:sp>
      <p:sp>
        <p:nvSpPr>
          <p:cNvPr id="76" name="Freeform 33"/>
          <p:cNvSpPr>
            <a:spLocks noEditPoints="1"/>
          </p:cNvSpPr>
          <p:nvPr/>
        </p:nvSpPr>
        <p:spPr bwMode="auto">
          <a:xfrm>
            <a:off x="8938260" y="3842706"/>
            <a:ext cx="248480" cy="214628"/>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101" name="Freeform 40"/>
          <p:cNvSpPr>
            <a:spLocks noChangeAspect="1" noEditPoints="1"/>
          </p:cNvSpPr>
          <p:nvPr/>
        </p:nvSpPr>
        <p:spPr bwMode="auto">
          <a:xfrm>
            <a:off x="8954116" y="2166024"/>
            <a:ext cx="224281" cy="263214"/>
          </a:xfrm>
          <a:custGeom>
            <a:avLst/>
            <a:gdLst>
              <a:gd name="T0" fmla="*/ 372 w 419"/>
              <a:gd name="T1" fmla="*/ 188 h 491"/>
              <a:gd name="T2" fmla="*/ 379 w 419"/>
              <a:gd name="T3" fmla="*/ 158 h 491"/>
              <a:gd name="T4" fmla="*/ 338 w 419"/>
              <a:gd name="T5" fmla="*/ 55 h 491"/>
              <a:gd name="T6" fmla="*/ 0 w 419"/>
              <a:gd name="T7" fmla="*/ 167 h 491"/>
              <a:gd name="T8" fmla="*/ 80 w 419"/>
              <a:gd name="T9" fmla="*/ 310 h 491"/>
              <a:gd name="T10" fmla="*/ 74 w 419"/>
              <a:gd name="T11" fmla="*/ 460 h 491"/>
              <a:gd name="T12" fmla="*/ 256 w 419"/>
              <a:gd name="T13" fmla="*/ 484 h 491"/>
              <a:gd name="T14" fmla="*/ 262 w 419"/>
              <a:gd name="T15" fmla="*/ 396 h 491"/>
              <a:gd name="T16" fmla="*/ 347 w 419"/>
              <a:gd name="T17" fmla="*/ 413 h 491"/>
              <a:gd name="T18" fmla="*/ 379 w 419"/>
              <a:gd name="T19" fmla="*/ 364 h 491"/>
              <a:gd name="T20" fmla="*/ 384 w 419"/>
              <a:gd name="T21" fmla="*/ 348 h 491"/>
              <a:gd name="T22" fmla="*/ 386 w 419"/>
              <a:gd name="T23" fmla="*/ 330 h 491"/>
              <a:gd name="T24" fmla="*/ 390 w 419"/>
              <a:gd name="T25" fmla="*/ 305 h 491"/>
              <a:gd name="T26" fmla="*/ 390 w 419"/>
              <a:gd name="T27" fmla="*/ 294 h 491"/>
              <a:gd name="T28" fmla="*/ 419 w 419"/>
              <a:gd name="T29" fmla="*/ 272 h 491"/>
              <a:gd name="T30" fmla="*/ 405 w 419"/>
              <a:gd name="T31" fmla="*/ 281 h 491"/>
              <a:gd name="T32" fmla="*/ 381 w 419"/>
              <a:gd name="T33" fmla="*/ 290 h 491"/>
              <a:gd name="T34" fmla="*/ 382 w 419"/>
              <a:gd name="T35" fmla="*/ 310 h 491"/>
              <a:gd name="T36" fmla="*/ 377 w 419"/>
              <a:gd name="T37" fmla="*/ 325 h 491"/>
              <a:gd name="T38" fmla="*/ 378 w 419"/>
              <a:gd name="T39" fmla="*/ 338 h 491"/>
              <a:gd name="T40" fmla="*/ 369 w 419"/>
              <a:gd name="T41" fmla="*/ 357 h 491"/>
              <a:gd name="T42" fmla="*/ 369 w 419"/>
              <a:gd name="T43" fmla="*/ 389 h 491"/>
              <a:gd name="T44" fmla="*/ 345 w 419"/>
              <a:gd name="T45" fmla="*/ 404 h 491"/>
              <a:gd name="T46" fmla="*/ 256 w 419"/>
              <a:gd name="T47" fmla="*/ 387 h 491"/>
              <a:gd name="T48" fmla="*/ 83 w 419"/>
              <a:gd name="T49" fmla="*/ 454 h 491"/>
              <a:gd name="T50" fmla="*/ 68 w 419"/>
              <a:gd name="T51" fmla="*/ 282 h 491"/>
              <a:gd name="T52" fmla="*/ 47 w 419"/>
              <a:gd name="T53" fmla="*/ 56 h 491"/>
              <a:gd name="T54" fmla="*/ 331 w 419"/>
              <a:gd name="T55" fmla="*/ 61 h 491"/>
              <a:gd name="T56" fmla="*/ 370 w 419"/>
              <a:gd name="T57" fmla="*/ 158 h 491"/>
              <a:gd name="T58" fmla="*/ 363 w 419"/>
              <a:gd name="T59" fmla="*/ 189 h 491"/>
              <a:gd name="T60" fmla="*/ 409 w 419"/>
              <a:gd name="T61" fmla="*/ 273 h 491"/>
              <a:gd name="T62" fmla="*/ 283 w 419"/>
              <a:gd name="T63" fmla="*/ 74 h 491"/>
              <a:gd name="T64" fmla="*/ 52 w 419"/>
              <a:gd name="T65" fmla="*/ 163 h 491"/>
              <a:gd name="T66" fmla="*/ 96 w 419"/>
              <a:gd name="T67" fmla="*/ 249 h 491"/>
              <a:gd name="T68" fmla="*/ 160 w 419"/>
              <a:gd name="T69" fmla="*/ 240 h 491"/>
              <a:gd name="T70" fmla="*/ 200 w 419"/>
              <a:gd name="T71" fmla="*/ 201 h 491"/>
              <a:gd name="T72" fmla="*/ 240 w 419"/>
              <a:gd name="T73" fmla="*/ 179 h 491"/>
              <a:gd name="T74" fmla="*/ 321 w 419"/>
              <a:gd name="T75" fmla="*/ 137 h 491"/>
              <a:gd name="T76" fmla="*/ 260 w 419"/>
              <a:gd name="T77" fmla="*/ 170 h 491"/>
              <a:gd name="T78" fmla="*/ 232 w 419"/>
              <a:gd name="T79" fmla="*/ 173 h 491"/>
              <a:gd name="T80" fmla="*/ 195 w 419"/>
              <a:gd name="T81" fmla="*/ 189 h 491"/>
              <a:gd name="T82" fmla="*/ 189 w 419"/>
              <a:gd name="T83" fmla="*/ 196 h 491"/>
              <a:gd name="T84" fmla="*/ 156 w 419"/>
              <a:gd name="T85" fmla="*/ 231 h 491"/>
              <a:gd name="T86" fmla="*/ 132 w 419"/>
              <a:gd name="T87" fmla="*/ 257 h 491"/>
              <a:gd name="T88" fmla="*/ 89 w 419"/>
              <a:gd name="T89" fmla="*/ 214 h 491"/>
              <a:gd name="T90" fmla="*/ 61 w 419"/>
              <a:gd name="T91" fmla="*/ 163 h 491"/>
              <a:gd name="T92" fmla="*/ 277 w 419"/>
              <a:gd name="T93" fmla="*/ 82 h 491"/>
              <a:gd name="T94" fmla="*/ 260 w 419"/>
              <a:gd name="T95" fmla="*/ 17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9" h="491">
                <a:moveTo>
                  <a:pt x="407" y="250"/>
                </a:moveTo>
                <a:cubicBezTo>
                  <a:pt x="396" y="233"/>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moveTo>
                  <a:pt x="283" y="74"/>
                </a:moveTo>
                <a:cubicBezTo>
                  <a:pt x="257" y="54"/>
                  <a:pt x="225" y="43"/>
                  <a:pt x="192" y="43"/>
                </a:cubicBezTo>
                <a:cubicBezTo>
                  <a:pt x="103" y="43"/>
                  <a:pt x="52" y="87"/>
                  <a:pt x="52" y="163"/>
                </a:cubicBezTo>
                <a:cubicBezTo>
                  <a:pt x="52" y="204"/>
                  <a:pt x="70" y="215"/>
                  <a:pt x="80" y="218"/>
                </a:cubicBezTo>
                <a:cubicBezTo>
                  <a:pt x="82" y="228"/>
                  <a:pt x="90" y="242"/>
                  <a:pt x="96" y="249"/>
                </a:cubicBezTo>
                <a:cubicBezTo>
                  <a:pt x="107" y="260"/>
                  <a:pt x="120" y="266"/>
                  <a:pt x="132" y="266"/>
                </a:cubicBezTo>
                <a:cubicBezTo>
                  <a:pt x="146" y="266"/>
                  <a:pt x="156" y="257"/>
                  <a:pt x="160" y="240"/>
                </a:cubicBezTo>
                <a:cubicBezTo>
                  <a:pt x="176" y="239"/>
                  <a:pt x="188" y="228"/>
                  <a:pt x="194" y="218"/>
                </a:cubicBezTo>
                <a:cubicBezTo>
                  <a:pt x="198" y="212"/>
                  <a:pt x="200" y="206"/>
                  <a:pt x="200" y="201"/>
                </a:cubicBezTo>
                <a:cubicBezTo>
                  <a:pt x="203" y="202"/>
                  <a:pt x="206" y="202"/>
                  <a:pt x="208" y="202"/>
                </a:cubicBezTo>
                <a:cubicBezTo>
                  <a:pt x="224" y="202"/>
                  <a:pt x="236" y="190"/>
                  <a:pt x="240" y="179"/>
                </a:cubicBezTo>
                <a:cubicBezTo>
                  <a:pt x="248" y="179"/>
                  <a:pt x="254" y="179"/>
                  <a:pt x="260" y="179"/>
                </a:cubicBezTo>
                <a:cubicBezTo>
                  <a:pt x="286" y="179"/>
                  <a:pt x="321" y="175"/>
                  <a:pt x="321" y="137"/>
                </a:cubicBezTo>
                <a:cubicBezTo>
                  <a:pt x="321" y="116"/>
                  <a:pt x="307" y="93"/>
                  <a:pt x="283" y="74"/>
                </a:cubicBezTo>
                <a:close/>
                <a:moveTo>
                  <a:pt x="260" y="170"/>
                </a:moveTo>
                <a:cubicBezTo>
                  <a:pt x="254" y="170"/>
                  <a:pt x="246" y="170"/>
                  <a:pt x="237" y="169"/>
                </a:cubicBezTo>
                <a:cubicBezTo>
                  <a:pt x="234" y="169"/>
                  <a:pt x="232" y="171"/>
                  <a:pt x="232" y="173"/>
                </a:cubicBezTo>
                <a:cubicBezTo>
                  <a:pt x="231" y="181"/>
                  <a:pt x="222" y="192"/>
                  <a:pt x="208" y="192"/>
                </a:cubicBezTo>
                <a:cubicBezTo>
                  <a:pt x="204" y="192"/>
                  <a:pt x="200" y="191"/>
                  <a:pt x="195" y="189"/>
                </a:cubicBezTo>
                <a:cubicBezTo>
                  <a:pt x="194" y="189"/>
                  <a:pt x="191" y="189"/>
                  <a:pt x="190" y="190"/>
                </a:cubicBezTo>
                <a:cubicBezTo>
                  <a:pt x="189" y="192"/>
                  <a:pt x="188" y="194"/>
                  <a:pt x="189" y="196"/>
                </a:cubicBezTo>
                <a:cubicBezTo>
                  <a:pt x="191" y="200"/>
                  <a:pt x="190" y="206"/>
                  <a:pt x="186" y="213"/>
                </a:cubicBezTo>
                <a:cubicBezTo>
                  <a:pt x="180" y="222"/>
                  <a:pt x="169" y="231"/>
                  <a:pt x="156" y="231"/>
                </a:cubicBezTo>
                <a:cubicBezTo>
                  <a:pt x="154" y="231"/>
                  <a:pt x="152" y="233"/>
                  <a:pt x="152" y="235"/>
                </a:cubicBezTo>
                <a:cubicBezTo>
                  <a:pt x="150" y="245"/>
                  <a:pt x="145" y="257"/>
                  <a:pt x="132" y="257"/>
                </a:cubicBezTo>
                <a:cubicBezTo>
                  <a:pt x="123" y="257"/>
                  <a:pt x="112" y="251"/>
                  <a:pt x="103" y="242"/>
                </a:cubicBezTo>
                <a:cubicBezTo>
                  <a:pt x="97" y="236"/>
                  <a:pt x="89" y="221"/>
                  <a:pt x="89" y="214"/>
                </a:cubicBezTo>
                <a:cubicBezTo>
                  <a:pt x="89" y="211"/>
                  <a:pt x="87" y="209"/>
                  <a:pt x="85" y="209"/>
                </a:cubicBezTo>
                <a:cubicBezTo>
                  <a:pt x="80" y="208"/>
                  <a:pt x="61" y="203"/>
                  <a:pt x="61" y="163"/>
                </a:cubicBezTo>
                <a:cubicBezTo>
                  <a:pt x="61" y="122"/>
                  <a:pt x="78" y="53"/>
                  <a:pt x="192" y="53"/>
                </a:cubicBezTo>
                <a:cubicBezTo>
                  <a:pt x="223" y="53"/>
                  <a:pt x="253" y="63"/>
                  <a:pt x="277" y="82"/>
                </a:cubicBezTo>
                <a:cubicBezTo>
                  <a:pt x="299" y="98"/>
                  <a:pt x="312" y="119"/>
                  <a:pt x="312" y="137"/>
                </a:cubicBezTo>
                <a:cubicBezTo>
                  <a:pt x="312" y="160"/>
                  <a:pt x="297" y="170"/>
                  <a:pt x="260" y="170"/>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77" name="Oval 76"/>
          <p:cNvSpPr/>
          <p:nvPr/>
        </p:nvSpPr>
        <p:spPr>
          <a:xfrm>
            <a:off x="6508368" y="4756605"/>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39" name="Oval 38"/>
          <p:cNvSpPr/>
          <p:nvPr/>
        </p:nvSpPr>
        <p:spPr>
          <a:xfrm>
            <a:off x="6508368" y="3102193"/>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54" name="Oval 53"/>
          <p:cNvSpPr/>
          <p:nvPr/>
        </p:nvSpPr>
        <p:spPr>
          <a:xfrm>
            <a:off x="6930483" y="2924991"/>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2" name="Oval 61"/>
          <p:cNvSpPr/>
          <p:nvPr/>
        </p:nvSpPr>
        <p:spPr>
          <a:xfrm>
            <a:off x="6917905" y="4579197"/>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78" name="Rechteck 24"/>
          <p:cNvSpPr/>
          <p:nvPr/>
        </p:nvSpPr>
        <p:spPr bwMode="gray">
          <a:xfrm>
            <a:off x="6610894" y="5078394"/>
            <a:ext cx="1025558" cy="795602"/>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Capacités de rendre compte en temps réel</a:t>
            </a:r>
          </a:p>
        </p:txBody>
      </p:sp>
      <p:sp>
        <p:nvSpPr>
          <p:cNvPr id="40" name="Rechteck 24"/>
          <p:cNvSpPr/>
          <p:nvPr/>
        </p:nvSpPr>
        <p:spPr bwMode="gray">
          <a:xfrm>
            <a:off x="6605868" y="3504389"/>
            <a:ext cx="1035610" cy="444737"/>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Habilitation stratégique</a:t>
            </a:r>
          </a:p>
        </p:txBody>
      </p:sp>
      <p:sp>
        <p:nvSpPr>
          <p:cNvPr id="80" name="Freeform 85"/>
          <p:cNvSpPr>
            <a:spLocks noEditPoints="1"/>
          </p:cNvSpPr>
          <p:nvPr/>
        </p:nvSpPr>
        <p:spPr bwMode="auto">
          <a:xfrm>
            <a:off x="7002166" y="4647294"/>
            <a:ext cx="252728" cy="261654"/>
          </a:xfrm>
          <a:custGeom>
            <a:avLst/>
            <a:gdLst>
              <a:gd name="T0" fmla="*/ 309 w 619"/>
              <a:gd name="T1" fmla="*/ 679 h 679"/>
              <a:gd name="T2" fmla="*/ 0 w 619"/>
              <a:gd name="T3" fmla="*/ 369 h 679"/>
              <a:gd name="T4" fmla="*/ 304 w 619"/>
              <a:gd name="T5" fmla="*/ 60 h 679"/>
              <a:gd name="T6" fmla="*/ 309 w 619"/>
              <a:gd name="T7" fmla="*/ 62 h 679"/>
              <a:gd name="T8" fmla="*/ 312 w 619"/>
              <a:gd name="T9" fmla="*/ 67 h 679"/>
              <a:gd name="T10" fmla="*/ 312 w 619"/>
              <a:gd name="T11" fmla="*/ 365 h 679"/>
              <a:gd name="T12" fmla="*/ 561 w 619"/>
              <a:gd name="T13" fmla="*/ 201 h 679"/>
              <a:gd name="T14" fmla="*/ 566 w 619"/>
              <a:gd name="T15" fmla="*/ 200 h 679"/>
              <a:gd name="T16" fmla="*/ 571 w 619"/>
              <a:gd name="T17" fmla="*/ 203 h 679"/>
              <a:gd name="T18" fmla="*/ 619 w 619"/>
              <a:gd name="T19" fmla="*/ 369 h 679"/>
              <a:gd name="T20" fmla="*/ 309 w 619"/>
              <a:gd name="T21" fmla="*/ 679 h 679"/>
              <a:gd name="T22" fmla="*/ 298 w 619"/>
              <a:gd name="T23" fmla="*/ 74 h 679"/>
              <a:gd name="T24" fmla="*/ 14 w 619"/>
              <a:gd name="T25" fmla="*/ 369 h 679"/>
              <a:gd name="T26" fmla="*/ 309 w 619"/>
              <a:gd name="T27" fmla="*/ 665 h 679"/>
              <a:gd name="T28" fmla="*/ 605 w 619"/>
              <a:gd name="T29" fmla="*/ 369 h 679"/>
              <a:gd name="T30" fmla="*/ 563 w 619"/>
              <a:gd name="T31" fmla="*/ 217 h 679"/>
              <a:gd name="T32" fmla="*/ 308 w 619"/>
              <a:gd name="T33" fmla="*/ 384 h 679"/>
              <a:gd name="T34" fmla="*/ 301 w 619"/>
              <a:gd name="T35" fmla="*/ 384 h 679"/>
              <a:gd name="T36" fmla="*/ 298 w 619"/>
              <a:gd name="T37" fmla="*/ 378 h 679"/>
              <a:gd name="T38" fmla="*/ 298 w 619"/>
              <a:gd name="T39" fmla="*/ 74 h 679"/>
              <a:gd name="T40" fmla="*/ 348 w 619"/>
              <a:gd name="T41" fmla="*/ 308 h 679"/>
              <a:gd name="T42" fmla="*/ 345 w 619"/>
              <a:gd name="T43" fmla="*/ 307 h 679"/>
              <a:gd name="T44" fmla="*/ 341 w 619"/>
              <a:gd name="T45" fmla="*/ 301 h 679"/>
              <a:gd name="T46" fmla="*/ 341 w 619"/>
              <a:gd name="T47" fmla="*/ 7 h 679"/>
              <a:gd name="T48" fmla="*/ 343 w 619"/>
              <a:gd name="T49" fmla="*/ 2 h 679"/>
              <a:gd name="T50" fmla="*/ 348 w 619"/>
              <a:gd name="T51" fmla="*/ 0 h 679"/>
              <a:gd name="T52" fmla="*/ 599 w 619"/>
              <a:gd name="T53" fmla="*/ 135 h 679"/>
              <a:gd name="T54" fmla="*/ 600 w 619"/>
              <a:gd name="T55" fmla="*/ 141 h 679"/>
              <a:gd name="T56" fmla="*/ 597 w 619"/>
              <a:gd name="T57" fmla="*/ 145 h 679"/>
              <a:gd name="T58" fmla="*/ 352 w 619"/>
              <a:gd name="T59" fmla="*/ 307 h 679"/>
              <a:gd name="T60" fmla="*/ 348 w 619"/>
              <a:gd name="T61" fmla="*/ 308 h 679"/>
              <a:gd name="T62" fmla="*/ 355 w 619"/>
              <a:gd name="T63" fmla="*/ 14 h 679"/>
              <a:gd name="T64" fmla="*/ 355 w 619"/>
              <a:gd name="T65" fmla="*/ 288 h 679"/>
              <a:gd name="T66" fmla="*/ 583 w 619"/>
              <a:gd name="T67" fmla="*/ 137 h 679"/>
              <a:gd name="T68" fmla="*/ 355 w 619"/>
              <a:gd name="T69" fmla="*/ 14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9" h="679">
                <a:moveTo>
                  <a:pt x="309" y="679"/>
                </a:moveTo>
                <a:cubicBezTo>
                  <a:pt x="139" y="679"/>
                  <a:pt x="0" y="540"/>
                  <a:pt x="0" y="369"/>
                </a:cubicBezTo>
                <a:cubicBezTo>
                  <a:pt x="0" y="201"/>
                  <a:pt x="136" y="62"/>
                  <a:pt x="304" y="60"/>
                </a:cubicBezTo>
                <a:cubicBezTo>
                  <a:pt x="306" y="60"/>
                  <a:pt x="308" y="60"/>
                  <a:pt x="309" y="62"/>
                </a:cubicBezTo>
                <a:cubicBezTo>
                  <a:pt x="311" y="63"/>
                  <a:pt x="312" y="65"/>
                  <a:pt x="312" y="67"/>
                </a:cubicBezTo>
                <a:cubicBezTo>
                  <a:pt x="312" y="365"/>
                  <a:pt x="312" y="365"/>
                  <a:pt x="312" y="365"/>
                </a:cubicBezTo>
                <a:cubicBezTo>
                  <a:pt x="561" y="201"/>
                  <a:pt x="561" y="201"/>
                  <a:pt x="561" y="201"/>
                </a:cubicBezTo>
                <a:cubicBezTo>
                  <a:pt x="563" y="200"/>
                  <a:pt x="564" y="200"/>
                  <a:pt x="566" y="200"/>
                </a:cubicBezTo>
                <a:cubicBezTo>
                  <a:pt x="568" y="201"/>
                  <a:pt x="570" y="202"/>
                  <a:pt x="571" y="203"/>
                </a:cubicBezTo>
                <a:cubicBezTo>
                  <a:pt x="602" y="253"/>
                  <a:pt x="619" y="310"/>
                  <a:pt x="619" y="369"/>
                </a:cubicBezTo>
                <a:cubicBezTo>
                  <a:pt x="619" y="540"/>
                  <a:pt x="480" y="679"/>
                  <a:pt x="309" y="679"/>
                </a:cubicBezTo>
                <a:close/>
                <a:moveTo>
                  <a:pt x="298" y="74"/>
                </a:moveTo>
                <a:cubicBezTo>
                  <a:pt x="140" y="80"/>
                  <a:pt x="14" y="211"/>
                  <a:pt x="14" y="369"/>
                </a:cubicBezTo>
                <a:cubicBezTo>
                  <a:pt x="14" y="532"/>
                  <a:pt x="146" y="665"/>
                  <a:pt x="309" y="665"/>
                </a:cubicBezTo>
                <a:cubicBezTo>
                  <a:pt x="472" y="665"/>
                  <a:pt x="605" y="532"/>
                  <a:pt x="605" y="369"/>
                </a:cubicBezTo>
                <a:cubicBezTo>
                  <a:pt x="605" y="315"/>
                  <a:pt x="590" y="263"/>
                  <a:pt x="563" y="217"/>
                </a:cubicBezTo>
                <a:cubicBezTo>
                  <a:pt x="308" y="384"/>
                  <a:pt x="308" y="384"/>
                  <a:pt x="308" y="384"/>
                </a:cubicBezTo>
                <a:cubicBezTo>
                  <a:pt x="306" y="386"/>
                  <a:pt x="304" y="386"/>
                  <a:pt x="301" y="384"/>
                </a:cubicBezTo>
                <a:cubicBezTo>
                  <a:pt x="299" y="383"/>
                  <a:pt x="298" y="381"/>
                  <a:pt x="298" y="378"/>
                </a:cubicBezTo>
                <a:lnTo>
                  <a:pt x="298" y="74"/>
                </a:lnTo>
                <a:close/>
                <a:moveTo>
                  <a:pt x="348" y="308"/>
                </a:moveTo>
                <a:cubicBezTo>
                  <a:pt x="347" y="308"/>
                  <a:pt x="346" y="307"/>
                  <a:pt x="345" y="307"/>
                </a:cubicBezTo>
                <a:cubicBezTo>
                  <a:pt x="342" y="306"/>
                  <a:pt x="341" y="303"/>
                  <a:pt x="341" y="301"/>
                </a:cubicBezTo>
                <a:cubicBezTo>
                  <a:pt x="341" y="7"/>
                  <a:pt x="341" y="7"/>
                  <a:pt x="341" y="7"/>
                </a:cubicBezTo>
                <a:cubicBezTo>
                  <a:pt x="341" y="5"/>
                  <a:pt x="342" y="3"/>
                  <a:pt x="343" y="2"/>
                </a:cubicBezTo>
                <a:cubicBezTo>
                  <a:pt x="344" y="1"/>
                  <a:pt x="346" y="0"/>
                  <a:pt x="348" y="0"/>
                </a:cubicBezTo>
                <a:cubicBezTo>
                  <a:pt x="449" y="2"/>
                  <a:pt x="542" y="52"/>
                  <a:pt x="599" y="135"/>
                </a:cubicBezTo>
                <a:cubicBezTo>
                  <a:pt x="600" y="137"/>
                  <a:pt x="600" y="139"/>
                  <a:pt x="600" y="141"/>
                </a:cubicBezTo>
                <a:cubicBezTo>
                  <a:pt x="600" y="143"/>
                  <a:pt x="599" y="144"/>
                  <a:pt x="597" y="145"/>
                </a:cubicBezTo>
                <a:cubicBezTo>
                  <a:pt x="352" y="307"/>
                  <a:pt x="352" y="307"/>
                  <a:pt x="352" y="307"/>
                </a:cubicBezTo>
                <a:cubicBezTo>
                  <a:pt x="351" y="307"/>
                  <a:pt x="349" y="308"/>
                  <a:pt x="348" y="308"/>
                </a:cubicBezTo>
                <a:close/>
                <a:moveTo>
                  <a:pt x="355" y="14"/>
                </a:moveTo>
                <a:cubicBezTo>
                  <a:pt x="355" y="288"/>
                  <a:pt x="355" y="288"/>
                  <a:pt x="355" y="288"/>
                </a:cubicBezTo>
                <a:cubicBezTo>
                  <a:pt x="583" y="137"/>
                  <a:pt x="583" y="137"/>
                  <a:pt x="583" y="137"/>
                </a:cubicBezTo>
                <a:cubicBezTo>
                  <a:pt x="530" y="63"/>
                  <a:pt x="446" y="18"/>
                  <a:pt x="355" y="14"/>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42" name="Freeform 99"/>
          <p:cNvSpPr>
            <a:spLocks noChangeAspect="1" noEditPoints="1"/>
          </p:cNvSpPr>
          <p:nvPr/>
        </p:nvSpPr>
        <p:spPr bwMode="auto">
          <a:xfrm>
            <a:off x="7002657" y="2992103"/>
            <a:ext cx="262799" cy="263213"/>
          </a:xfrm>
          <a:custGeom>
            <a:avLst/>
            <a:gdLst>
              <a:gd name="T0" fmla="*/ 0 w 714"/>
              <a:gd name="T1" fmla="*/ 357 h 715"/>
              <a:gd name="T2" fmla="*/ 714 w 714"/>
              <a:gd name="T3" fmla="*/ 357 h 715"/>
              <a:gd name="T4" fmla="*/ 357 w 714"/>
              <a:gd name="T5" fmla="*/ 14 h 715"/>
              <a:gd name="T6" fmla="*/ 357 w 714"/>
              <a:gd name="T7" fmla="*/ 701 h 715"/>
              <a:gd name="T8" fmla="*/ 357 w 714"/>
              <a:gd name="T9" fmla="*/ 14 h 715"/>
              <a:gd name="T10" fmla="*/ 272 w 714"/>
              <a:gd name="T11" fmla="*/ 358 h 715"/>
              <a:gd name="T12" fmla="*/ 442 w 714"/>
              <a:gd name="T13" fmla="*/ 358 h 715"/>
              <a:gd name="T14" fmla="*/ 357 w 714"/>
              <a:gd name="T15" fmla="*/ 287 h 715"/>
              <a:gd name="T16" fmla="*/ 357 w 714"/>
              <a:gd name="T17" fmla="*/ 428 h 715"/>
              <a:gd name="T18" fmla="*/ 357 w 714"/>
              <a:gd name="T19" fmla="*/ 287 h 715"/>
              <a:gd name="T20" fmla="*/ 364 w 714"/>
              <a:gd name="T21" fmla="*/ 7 h 715"/>
              <a:gd name="T22" fmla="*/ 350 w 714"/>
              <a:gd name="T23" fmla="*/ 7 h 715"/>
              <a:gd name="T24" fmla="*/ 357 w 714"/>
              <a:gd name="T25" fmla="*/ 111 h 715"/>
              <a:gd name="T26" fmla="*/ 364 w 714"/>
              <a:gd name="T27" fmla="*/ 708 h 715"/>
              <a:gd name="T28" fmla="*/ 357 w 714"/>
              <a:gd name="T29" fmla="*/ 604 h 715"/>
              <a:gd name="T30" fmla="*/ 350 w 714"/>
              <a:gd name="T31" fmla="*/ 708 h 715"/>
              <a:gd name="T32" fmla="*/ 364 w 714"/>
              <a:gd name="T33" fmla="*/ 708 h 715"/>
              <a:gd name="T34" fmla="*/ 707 w 714"/>
              <a:gd name="T35" fmla="*/ 351 h 715"/>
              <a:gd name="T36" fmla="*/ 603 w 714"/>
              <a:gd name="T37" fmla="*/ 358 h 715"/>
              <a:gd name="T38" fmla="*/ 707 w 714"/>
              <a:gd name="T39" fmla="*/ 365 h 715"/>
              <a:gd name="T40" fmla="*/ 111 w 714"/>
              <a:gd name="T41" fmla="*/ 358 h 715"/>
              <a:gd name="T42" fmla="*/ 7 w 714"/>
              <a:gd name="T43" fmla="*/ 351 h 715"/>
              <a:gd name="T44" fmla="*/ 7 w 714"/>
              <a:gd name="T45" fmla="*/ 365 h 715"/>
              <a:gd name="T46" fmla="*/ 111 w 714"/>
              <a:gd name="T47" fmla="*/ 358 h 715"/>
              <a:gd name="T48" fmla="*/ 364 w 714"/>
              <a:gd name="T49" fmla="*/ 249 h 715"/>
              <a:gd name="T50" fmla="*/ 350 w 714"/>
              <a:gd name="T51" fmla="*/ 249 h 715"/>
              <a:gd name="T52" fmla="*/ 357 w 714"/>
              <a:gd name="T53" fmla="*/ 286 h 715"/>
              <a:gd name="T54" fmla="*/ 364 w 714"/>
              <a:gd name="T55" fmla="*/ 466 h 715"/>
              <a:gd name="T56" fmla="*/ 357 w 714"/>
              <a:gd name="T57" fmla="*/ 429 h 715"/>
              <a:gd name="T58" fmla="*/ 350 w 714"/>
              <a:gd name="T59" fmla="*/ 466 h 715"/>
              <a:gd name="T60" fmla="*/ 364 w 714"/>
              <a:gd name="T61" fmla="*/ 466 h 715"/>
              <a:gd name="T62" fmla="*/ 466 w 714"/>
              <a:gd name="T63" fmla="*/ 351 h 715"/>
              <a:gd name="T64" fmla="*/ 429 w 714"/>
              <a:gd name="T65" fmla="*/ 358 h 715"/>
              <a:gd name="T66" fmla="*/ 466 w 714"/>
              <a:gd name="T67" fmla="*/ 365 h 715"/>
              <a:gd name="T68" fmla="*/ 286 w 714"/>
              <a:gd name="T69" fmla="*/ 358 h 715"/>
              <a:gd name="T70" fmla="*/ 249 w 714"/>
              <a:gd name="T71" fmla="*/ 351 h 715"/>
              <a:gd name="T72" fmla="*/ 249 w 714"/>
              <a:gd name="T73" fmla="*/ 365 h 715"/>
              <a:gd name="T74" fmla="*/ 286 w 714"/>
              <a:gd name="T75" fmla="*/ 358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4" h="715">
                <a:moveTo>
                  <a:pt x="357" y="715"/>
                </a:moveTo>
                <a:cubicBezTo>
                  <a:pt x="160" y="715"/>
                  <a:pt x="0" y="554"/>
                  <a:pt x="0" y="357"/>
                </a:cubicBezTo>
                <a:cubicBezTo>
                  <a:pt x="0" y="161"/>
                  <a:pt x="160" y="0"/>
                  <a:pt x="357" y="0"/>
                </a:cubicBezTo>
                <a:cubicBezTo>
                  <a:pt x="554" y="0"/>
                  <a:pt x="714" y="161"/>
                  <a:pt x="714" y="357"/>
                </a:cubicBezTo>
                <a:cubicBezTo>
                  <a:pt x="714" y="554"/>
                  <a:pt x="554" y="715"/>
                  <a:pt x="357" y="715"/>
                </a:cubicBezTo>
                <a:close/>
                <a:moveTo>
                  <a:pt x="357" y="14"/>
                </a:moveTo>
                <a:cubicBezTo>
                  <a:pt x="168" y="14"/>
                  <a:pt x="14" y="168"/>
                  <a:pt x="14" y="357"/>
                </a:cubicBezTo>
                <a:cubicBezTo>
                  <a:pt x="14" y="547"/>
                  <a:pt x="168" y="701"/>
                  <a:pt x="357" y="701"/>
                </a:cubicBezTo>
                <a:cubicBezTo>
                  <a:pt x="546" y="701"/>
                  <a:pt x="700" y="547"/>
                  <a:pt x="700" y="357"/>
                </a:cubicBezTo>
                <a:cubicBezTo>
                  <a:pt x="700" y="168"/>
                  <a:pt x="546" y="14"/>
                  <a:pt x="357" y="14"/>
                </a:cubicBezTo>
                <a:close/>
                <a:moveTo>
                  <a:pt x="357" y="442"/>
                </a:moveTo>
                <a:cubicBezTo>
                  <a:pt x="310" y="442"/>
                  <a:pt x="272" y="404"/>
                  <a:pt x="272" y="358"/>
                </a:cubicBezTo>
                <a:cubicBezTo>
                  <a:pt x="272" y="311"/>
                  <a:pt x="310" y="273"/>
                  <a:pt x="357" y="273"/>
                </a:cubicBezTo>
                <a:cubicBezTo>
                  <a:pt x="404" y="273"/>
                  <a:pt x="442" y="311"/>
                  <a:pt x="442" y="358"/>
                </a:cubicBezTo>
                <a:cubicBezTo>
                  <a:pt x="442" y="404"/>
                  <a:pt x="404" y="442"/>
                  <a:pt x="357" y="442"/>
                </a:cubicBezTo>
                <a:close/>
                <a:moveTo>
                  <a:pt x="357" y="287"/>
                </a:moveTo>
                <a:cubicBezTo>
                  <a:pt x="318" y="287"/>
                  <a:pt x="286" y="318"/>
                  <a:pt x="286" y="358"/>
                </a:cubicBezTo>
                <a:cubicBezTo>
                  <a:pt x="286" y="397"/>
                  <a:pt x="318" y="428"/>
                  <a:pt x="357" y="428"/>
                </a:cubicBezTo>
                <a:cubicBezTo>
                  <a:pt x="396" y="428"/>
                  <a:pt x="428" y="397"/>
                  <a:pt x="428" y="358"/>
                </a:cubicBezTo>
                <a:cubicBezTo>
                  <a:pt x="428" y="318"/>
                  <a:pt x="396" y="287"/>
                  <a:pt x="357" y="287"/>
                </a:cubicBezTo>
                <a:close/>
                <a:moveTo>
                  <a:pt x="364" y="104"/>
                </a:moveTo>
                <a:cubicBezTo>
                  <a:pt x="364" y="7"/>
                  <a:pt x="364" y="7"/>
                  <a:pt x="364" y="7"/>
                </a:cubicBezTo>
                <a:cubicBezTo>
                  <a:pt x="364" y="4"/>
                  <a:pt x="361" y="0"/>
                  <a:pt x="357" y="0"/>
                </a:cubicBezTo>
                <a:cubicBezTo>
                  <a:pt x="353" y="0"/>
                  <a:pt x="350" y="4"/>
                  <a:pt x="350" y="7"/>
                </a:cubicBezTo>
                <a:cubicBezTo>
                  <a:pt x="350" y="104"/>
                  <a:pt x="350" y="104"/>
                  <a:pt x="350" y="104"/>
                </a:cubicBezTo>
                <a:cubicBezTo>
                  <a:pt x="350" y="108"/>
                  <a:pt x="353" y="111"/>
                  <a:pt x="357" y="111"/>
                </a:cubicBezTo>
                <a:cubicBezTo>
                  <a:pt x="361" y="111"/>
                  <a:pt x="364" y="108"/>
                  <a:pt x="364" y="104"/>
                </a:cubicBezTo>
                <a:close/>
                <a:moveTo>
                  <a:pt x="364" y="708"/>
                </a:moveTo>
                <a:cubicBezTo>
                  <a:pt x="364" y="611"/>
                  <a:pt x="364" y="611"/>
                  <a:pt x="364" y="611"/>
                </a:cubicBezTo>
                <a:cubicBezTo>
                  <a:pt x="364" y="607"/>
                  <a:pt x="361" y="604"/>
                  <a:pt x="357" y="604"/>
                </a:cubicBezTo>
                <a:cubicBezTo>
                  <a:pt x="353" y="604"/>
                  <a:pt x="350" y="607"/>
                  <a:pt x="350" y="611"/>
                </a:cubicBezTo>
                <a:cubicBezTo>
                  <a:pt x="350" y="708"/>
                  <a:pt x="350" y="708"/>
                  <a:pt x="350" y="708"/>
                </a:cubicBezTo>
                <a:cubicBezTo>
                  <a:pt x="350" y="711"/>
                  <a:pt x="353" y="715"/>
                  <a:pt x="357" y="715"/>
                </a:cubicBezTo>
                <a:cubicBezTo>
                  <a:pt x="361" y="715"/>
                  <a:pt x="364" y="711"/>
                  <a:pt x="364" y="708"/>
                </a:cubicBezTo>
                <a:close/>
                <a:moveTo>
                  <a:pt x="714" y="358"/>
                </a:moveTo>
                <a:cubicBezTo>
                  <a:pt x="714" y="354"/>
                  <a:pt x="711" y="351"/>
                  <a:pt x="707" y="351"/>
                </a:cubicBezTo>
                <a:cubicBezTo>
                  <a:pt x="610" y="351"/>
                  <a:pt x="610" y="351"/>
                  <a:pt x="610" y="351"/>
                </a:cubicBezTo>
                <a:cubicBezTo>
                  <a:pt x="606" y="351"/>
                  <a:pt x="603" y="354"/>
                  <a:pt x="603" y="358"/>
                </a:cubicBezTo>
                <a:cubicBezTo>
                  <a:pt x="603" y="361"/>
                  <a:pt x="606" y="365"/>
                  <a:pt x="610" y="365"/>
                </a:cubicBezTo>
                <a:cubicBezTo>
                  <a:pt x="707" y="365"/>
                  <a:pt x="707" y="365"/>
                  <a:pt x="707" y="365"/>
                </a:cubicBezTo>
                <a:cubicBezTo>
                  <a:pt x="711" y="365"/>
                  <a:pt x="714" y="361"/>
                  <a:pt x="714" y="358"/>
                </a:cubicBezTo>
                <a:close/>
                <a:moveTo>
                  <a:pt x="111" y="358"/>
                </a:moveTo>
                <a:cubicBezTo>
                  <a:pt x="111" y="354"/>
                  <a:pt x="108" y="351"/>
                  <a:pt x="104" y="351"/>
                </a:cubicBezTo>
                <a:cubicBezTo>
                  <a:pt x="7" y="351"/>
                  <a:pt x="7" y="351"/>
                  <a:pt x="7" y="351"/>
                </a:cubicBezTo>
                <a:cubicBezTo>
                  <a:pt x="3" y="351"/>
                  <a:pt x="0" y="354"/>
                  <a:pt x="0" y="358"/>
                </a:cubicBezTo>
                <a:cubicBezTo>
                  <a:pt x="0" y="361"/>
                  <a:pt x="3" y="365"/>
                  <a:pt x="7" y="365"/>
                </a:cubicBezTo>
                <a:cubicBezTo>
                  <a:pt x="104" y="365"/>
                  <a:pt x="104" y="365"/>
                  <a:pt x="104" y="365"/>
                </a:cubicBezTo>
                <a:cubicBezTo>
                  <a:pt x="108" y="365"/>
                  <a:pt x="111" y="361"/>
                  <a:pt x="111" y="358"/>
                </a:cubicBezTo>
                <a:close/>
                <a:moveTo>
                  <a:pt x="364" y="279"/>
                </a:moveTo>
                <a:cubicBezTo>
                  <a:pt x="364" y="249"/>
                  <a:pt x="364" y="249"/>
                  <a:pt x="364" y="249"/>
                </a:cubicBezTo>
                <a:cubicBezTo>
                  <a:pt x="364" y="245"/>
                  <a:pt x="361" y="242"/>
                  <a:pt x="357" y="242"/>
                </a:cubicBezTo>
                <a:cubicBezTo>
                  <a:pt x="353" y="242"/>
                  <a:pt x="350" y="245"/>
                  <a:pt x="350" y="249"/>
                </a:cubicBezTo>
                <a:cubicBezTo>
                  <a:pt x="350" y="279"/>
                  <a:pt x="350" y="279"/>
                  <a:pt x="350" y="279"/>
                </a:cubicBezTo>
                <a:cubicBezTo>
                  <a:pt x="350" y="283"/>
                  <a:pt x="353" y="286"/>
                  <a:pt x="357" y="286"/>
                </a:cubicBezTo>
                <a:cubicBezTo>
                  <a:pt x="361" y="286"/>
                  <a:pt x="364" y="283"/>
                  <a:pt x="364" y="279"/>
                </a:cubicBezTo>
                <a:close/>
                <a:moveTo>
                  <a:pt x="364" y="466"/>
                </a:moveTo>
                <a:cubicBezTo>
                  <a:pt x="364" y="436"/>
                  <a:pt x="364" y="436"/>
                  <a:pt x="364" y="436"/>
                </a:cubicBezTo>
                <a:cubicBezTo>
                  <a:pt x="364" y="432"/>
                  <a:pt x="361" y="429"/>
                  <a:pt x="357" y="429"/>
                </a:cubicBezTo>
                <a:cubicBezTo>
                  <a:pt x="353" y="429"/>
                  <a:pt x="350" y="432"/>
                  <a:pt x="350" y="436"/>
                </a:cubicBezTo>
                <a:cubicBezTo>
                  <a:pt x="350" y="466"/>
                  <a:pt x="350" y="466"/>
                  <a:pt x="350" y="466"/>
                </a:cubicBezTo>
                <a:cubicBezTo>
                  <a:pt x="350" y="470"/>
                  <a:pt x="353" y="473"/>
                  <a:pt x="357" y="473"/>
                </a:cubicBezTo>
                <a:cubicBezTo>
                  <a:pt x="361" y="473"/>
                  <a:pt x="364" y="470"/>
                  <a:pt x="364" y="466"/>
                </a:cubicBezTo>
                <a:close/>
                <a:moveTo>
                  <a:pt x="473" y="358"/>
                </a:moveTo>
                <a:cubicBezTo>
                  <a:pt x="473" y="354"/>
                  <a:pt x="470" y="351"/>
                  <a:pt x="466" y="351"/>
                </a:cubicBezTo>
                <a:cubicBezTo>
                  <a:pt x="436" y="351"/>
                  <a:pt x="436" y="351"/>
                  <a:pt x="436" y="351"/>
                </a:cubicBezTo>
                <a:cubicBezTo>
                  <a:pt x="432" y="351"/>
                  <a:pt x="429" y="354"/>
                  <a:pt x="429" y="358"/>
                </a:cubicBezTo>
                <a:cubicBezTo>
                  <a:pt x="429" y="361"/>
                  <a:pt x="432" y="365"/>
                  <a:pt x="436" y="365"/>
                </a:cubicBezTo>
                <a:cubicBezTo>
                  <a:pt x="466" y="365"/>
                  <a:pt x="466" y="365"/>
                  <a:pt x="466" y="365"/>
                </a:cubicBezTo>
                <a:cubicBezTo>
                  <a:pt x="470" y="365"/>
                  <a:pt x="473" y="361"/>
                  <a:pt x="473" y="358"/>
                </a:cubicBezTo>
                <a:close/>
                <a:moveTo>
                  <a:pt x="286" y="358"/>
                </a:moveTo>
                <a:cubicBezTo>
                  <a:pt x="286" y="354"/>
                  <a:pt x="282" y="351"/>
                  <a:pt x="279" y="351"/>
                </a:cubicBezTo>
                <a:cubicBezTo>
                  <a:pt x="249" y="351"/>
                  <a:pt x="249" y="351"/>
                  <a:pt x="249" y="351"/>
                </a:cubicBezTo>
                <a:cubicBezTo>
                  <a:pt x="245" y="351"/>
                  <a:pt x="242" y="354"/>
                  <a:pt x="242" y="358"/>
                </a:cubicBezTo>
                <a:cubicBezTo>
                  <a:pt x="242" y="361"/>
                  <a:pt x="245" y="365"/>
                  <a:pt x="249" y="365"/>
                </a:cubicBezTo>
                <a:cubicBezTo>
                  <a:pt x="279" y="365"/>
                  <a:pt x="279" y="365"/>
                  <a:pt x="279" y="365"/>
                </a:cubicBezTo>
                <a:cubicBezTo>
                  <a:pt x="282" y="365"/>
                  <a:pt x="286" y="361"/>
                  <a:pt x="286" y="358"/>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60" name="Oval 59"/>
          <p:cNvSpPr/>
          <p:nvPr/>
        </p:nvSpPr>
        <p:spPr>
          <a:xfrm>
            <a:off x="2479097" y="4756605"/>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27" name="Oval 26"/>
          <p:cNvSpPr>
            <a:spLocks noChangeAspect="1"/>
          </p:cNvSpPr>
          <p:nvPr/>
        </p:nvSpPr>
        <p:spPr>
          <a:xfrm>
            <a:off x="2479097" y="3096057"/>
            <a:ext cx="1230611" cy="1230622"/>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chemeClr val="bg2"/>
              </a:solidFill>
              <a:latin typeface="EYInterstate Light" panose="02000506000000020004" pitchFamily="2" charset="0"/>
            </a:endParaRPr>
          </a:p>
        </p:txBody>
      </p:sp>
      <p:sp>
        <p:nvSpPr>
          <p:cNvPr id="55" name="Oval 54"/>
          <p:cNvSpPr/>
          <p:nvPr/>
        </p:nvSpPr>
        <p:spPr>
          <a:xfrm>
            <a:off x="2892828" y="2924991"/>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4" name="Oval 63"/>
          <p:cNvSpPr/>
          <p:nvPr/>
        </p:nvSpPr>
        <p:spPr>
          <a:xfrm>
            <a:off x="2894764" y="4579197"/>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1" name="Rechteck 24"/>
          <p:cNvSpPr/>
          <p:nvPr/>
        </p:nvSpPr>
        <p:spPr bwMode="gray">
          <a:xfrm>
            <a:off x="2621842" y="5078394"/>
            <a:ext cx="945120" cy="971035"/>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Accent mis sur les tâches à valeur ajoutée </a:t>
            </a:r>
          </a:p>
        </p:txBody>
      </p:sp>
      <p:sp>
        <p:nvSpPr>
          <p:cNvPr id="28" name="Rechteck 24"/>
          <p:cNvSpPr/>
          <p:nvPr/>
        </p:nvSpPr>
        <p:spPr bwMode="gray">
          <a:xfrm>
            <a:off x="2621842" y="3423982"/>
            <a:ext cx="945120" cy="795602"/>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Réduction de l’effort de formation</a:t>
            </a:r>
            <a:endParaRPr lang="en-US" sz="1200" dirty="0">
              <a:solidFill>
                <a:schemeClr val="tx1"/>
              </a:solidFill>
              <a:latin typeface="EYInterstate Light" panose="02000506000000020004" pitchFamily="2" charset="0"/>
            </a:endParaRPr>
          </a:p>
        </p:txBody>
      </p:sp>
      <p:sp>
        <p:nvSpPr>
          <p:cNvPr id="63" name="Freeform 151"/>
          <p:cNvSpPr>
            <a:spLocks noChangeAspect="1" noEditPoints="1"/>
          </p:cNvSpPr>
          <p:nvPr/>
        </p:nvSpPr>
        <p:spPr bwMode="auto">
          <a:xfrm>
            <a:off x="3010161" y="4632556"/>
            <a:ext cx="173577" cy="274454"/>
          </a:xfrm>
          <a:custGeom>
            <a:avLst/>
            <a:gdLst>
              <a:gd name="T0" fmla="*/ 341 w 392"/>
              <a:gd name="T1" fmla="*/ 317 h 620"/>
              <a:gd name="T2" fmla="*/ 175 w 392"/>
              <a:gd name="T3" fmla="*/ 482 h 620"/>
              <a:gd name="T4" fmla="*/ 170 w 392"/>
              <a:gd name="T5" fmla="*/ 479 h 620"/>
              <a:gd name="T6" fmla="*/ 76 w 392"/>
              <a:gd name="T7" fmla="*/ 374 h 620"/>
              <a:gd name="T8" fmla="*/ 175 w 392"/>
              <a:gd name="T9" fmla="*/ 462 h 620"/>
              <a:gd name="T10" fmla="*/ 341 w 392"/>
              <a:gd name="T11" fmla="*/ 305 h 620"/>
              <a:gd name="T12" fmla="*/ 392 w 392"/>
              <a:gd name="T13" fmla="*/ 585 h 620"/>
              <a:gd name="T14" fmla="*/ 35 w 392"/>
              <a:gd name="T15" fmla="*/ 620 h 620"/>
              <a:gd name="T16" fmla="*/ 0 w 392"/>
              <a:gd name="T17" fmla="*/ 143 h 620"/>
              <a:gd name="T18" fmla="*/ 70 w 392"/>
              <a:gd name="T19" fmla="*/ 107 h 620"/>
              <a:gd name="T20" fmla="*/ 105 w 392"/>
              <a:gd name="T21" fmla="*/ 66 h 620"/>
              <a:gd name="T22" fmla="*/ 133 w 392"/>
              <a:gd name="T23" fmla="*/ 48 h 620"/>
              <a:gd name="T24" fmla="*/ 218 w 392"/>
              <a:gd name="T25" fmla="*/ 0 h 620"/>
              <a:gd name="T26" fmla="*/ 267 w 392"/>
              <a:gd name="T27" fmla="*/ 66 h 620"/>
              <a:gd name="T28" fmla="*/ 330 w 392"/>
              <a:gd name="T29" fmla="*/ 102 h 620"/>
              <a:gd name="T30" fmla="*/ 357 w 392"/>
              <a:gd name="T31" fmla="*/ 107 h 620"/>
              <a:gd name="T32" fmla="*/ 86 w 392"/>
              <a:gd name="T33" fmla="*/ 129 h 620"/>
              <a:gd name="T34" fmla="*/ 294 w 392"/>
              <a:gd name="T35" fmla="*/ 148 h 620"/>
              <a:gd name="T36" fmla="*/ 314 w 392"/>
              <a:gd name="T37" fmla="*/ 102 h 620"/>
              <a:gd name="T38" fmla="*/ 259 w 392"/>
              <a:gd name="T39" fmla="*/ 82 h 620"/>
              <a:gd name="T40" fmla="*/ 251 w 392"/>
              <a:gd name="T41" fmla="*/ 48 h 620"/>
              <a:gd name="T42" fmla="*/ 182 w 392"/>
              <a:gd name="T43" fmla="*/ 16 h 620"/>
              <a:gd name="T44" fmla="*/ 149 w 392"/>
              <a:gd name="T45" fmla="*/ 74 h 620"/>
              <a:gd name="T46" fmla="*/ 105 w 392"/>
              <a:gd name="T47" fmla="*/ 82 h 620"/>
              <a:gd name="T48" fmla="*/ 86 w 392"/>
              <a:gd name="T49" fmla="*/ 129 h 620"/>
              <a:gd name="T50" fmla="*/ 357 w 392"/>
              <a:gd name="T51" fmla="*/ 123 h 620"/>
              <a:gd name="T52" fmla="*/ 330 w 392"/>
              <a:gd name="T53" fmla="*/ 129 h 620"/>
              <a:gd name="T54" fmla="*/ 105 w 392"/>
              <a:gd name="T55" fmla="*/ 164 h 620"/>
              <a:gd name="T56" fmla="*/ 70 w 392"/>
              <a:gd name="T57" fmla="*/ 123 h 620"/>
              <a:gd name="T58" fmla="*/ 16 w 392"/>
              <a:gd name="T59" fmla="*/ 143 h 620"/>
              <a:gd name="T60" fmla="*/ 35 w 392"/>
              <a:gd name="T61" fmla="*/ 604 h 620"/>
              <a:gd name="T62" fmla="*/ 376 w 392"/>
              <a:gd name="T63" fmla="*/ 5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2" h="620">
                <a:moveTo>
                  <a:pt x="341" y="305"/>
                </a:moveTo>
                <a:cubicBezTo>
                  <a:pt x="345" y="308"/>
                  <a:pt x="345" y="313"/>
                  <a:pt x="341" y="317"/>
                </a:cubicBezTo>
                <a:cubicBezTo>
                  <a:pt x="181" y="479"/>
                  <a:pt x="181" y="479"/>
                  <a:pt x="181" y="479"/>
                </a:cubicBezTo>
                <a:cubicBezTo>
                  <a:pt x="180" y="481"/>
                  <a:pt x="178" y="482"/>
                  <a:pt x="175" y="482"/>
                </a:cubicBezTo>
                <a:cubicBezTo>
                  <a:pt x="175" y="482"/>
                  <a:pt x="175" y="482"/>
                  <a:pt x="175" y="482"/>
                </a:cubicBezTo>
                <a:cubicBezTo>
                  <a:pt x="173" y="482"/>
                  <a:pt x="171" y="481"/>
                  <a:pt x="170" y="479"/>
                </a:cubicBezTo>
                <a:cubicBezTo>
                  <a:pt x="76" y="385"/>
                  <a:pt x="76" y="385"/>
                  <a:pt x="76" y="385"/>
                </a:cubicBezTo>
                <a:cubicBezTo>
                  <a:pt x="73" y="382"/>
                  <a:pt x="73" y="377"/>
                  <a:pt x="76" y="374"/>
                </a:cubicBezTo>
                <a:cubicBezTo>
                  <a:pt x="79" y="371"/>
                  <a:pt x="84" y="371"/>
                  <a:pt x="87" y="374"/>
                </a:cubicBezTo>
                <a:cubicBezTo>
                  <a:pt x="175" y="462"/>
                  <a:pt x="175" y="462"/>
                  <a:pt x="175" y="462"/>
                </a:cubicBezTo>
                <a:cubicBezTo>
                  <a:pt x="330" y="305"/>
                  <a:pt x="330" y="305"/>
                  <a:pt x="330" y="305"/>
                </a:cubicBezTo>
                <a:cubicBezTo>
                  <a:pt x="333" y="302"/>
                  <a:pt x="338" y="302"/>
                  <a:pt x="341" y="305"/>
                </a:cubicBezTo>
                <a:close/>
                <a:moveTo>
                  <a:pt x="392" y="143"/>
                </a:moveTo>
                <a:cubicBezTo>
                  <a:pt x="392" y="585"/>
                  <a:pt x="392" y="585"/>
                  <a:pt x="392" y="585"/>
                </a:cubicBezTo>
                <a:cubicBezTo>
                  <a:pt x="392" y="604"/>
                  <a:pt x="376" y="620"/>
                  <a:pt x="357" y="620"/>
                </a:cubicBezTo>
                <a:cubicBezTo>
                  <a:pt x="35" y="620"/>
                  <a:pt x="35" y="620"/>
                  <a:pt x="35" y="620"/>
                </a:cubicBezTo>
                <a:cubicBezTo>
                  <a:pt x="16" y="620"/>
                  <a:pt x="0" y="604"/>
                  <a:pt x="0" y="585"/>
                </a:cubicBezTo>
                <a:cubicBezTo>
                  <a:pt x="0" y="143"/>
                  <a:pt x="0" y="143"/>
                  <a:pt x="0" y="143"/>
                </a:cubicBezTo>
                <a:cubicBezTo>
                  <a:pt x="0" y="123"/>
                  <a:pt x="16" y="107"/>
                  <a:pt x="35" y="107"/>
                </a:cubicBezTo>
                <a:cubicBezTo>
                  <a:pt x="70" y="107"/>
                  <a:pt x="70" y="107"/>
                  <a:pt x="70" y="107"/>
                </a:cubicBezTo>
                <a:cubicBezTo>
                  <a:pt x="70" y="102"/>
                  <a:pt x="70" y="102"/>
                  <a:pt x="70" y="102"/>
                </a:cubicBezTo>
                <a:cubicBezTo>
                  <a:pt x="70" y="82"/>
                  <a:pt x="86" y="66"/>
                  <a:pt x="105" y="66"/>
                </a:cubicBezTo>
                <a:cubicBezTo>
                  <a:pt x="133" y="66"/>
                  <a:pt x="133" y="66"/>
                  <a:pt x="133" y="66"/>
                </a:cubicBezTo>
                <a:cubicBezTo>
                  <a:pt x="133" y="48"/>
                  <a:pt x="133" y="48"/>
                  <a:pt x="133" y="48"/>
                </a:cubicBezTo>
                <a:cubicBezTo>
                  <a:pt x="133" y="22"/>
                  <a:pt x="155" y="0"/>
                  <a:pt x="182" y="0"/>
                </a:cubicBezTo>
                <a:cubicBezTo>
                  <a:pt x="218" y="0"/>
                  <a:pt x="218" y="0"/>
                  <a:pt x="218" y="0"/>
                </a:cubicBezTo>
                <a:cubicBezTo>
                  <a:pt x="245" y="0"/>
                  <a:pt x="267" y="22"/>
                  <a:pt x="267" y="48"/>
                </a:cubicBezTo>
                <a:cubicBezTo>
                  <a:pt x="267" y="66"/>
                  <a:pt x="267" y="66"/>
                  <a:pt x="267" y="66"/>
                </a:cubicBezTo>
                <a:cubicBezTo>
                  <a:pt x="294" y="66"/>
                  <a:pt x="294" y="66"/>
                  <a:pt x="294" y="66"/>
                </a:cubicBezTo>
                <a:cubicBezTo>
                  <a:pt x="314" y="66"/>
                  <a:pt x="330" y="82"/>
                  <a:pt x="330" y="102"/>
                </a:cubicBezTo>
                <a:cubicBezTo>
                  <a:pt x="330" y="107"/>
                  <a:pt x="330" y="107"/>
                  <a:pt x="330" y="107"/>
                </a:cubicBezTo>
                <a:cubicBezTo>
                  <a:pt x="357" y="107"/>
                  <a:pt x="357" y="107"/>
                  <a:pt x="357" y="107"/>
                </a:cubicBezTo>
                <a:cubicBezTo>
                  <a:pt x="376" y="107"/>
                  <a:pt x="392" y="123"/>
                  <a:pt x="392" y="143"/>
                </a:cubicBezTo>
                <a:close/>
                <a:moveTo>
                  <a:pt x="86" y="129"/>
                </a:moveTo>
                <a:cubicBezTo>
                  <a:pt x="86" y="139"/>
                  <a:pt x="95" y="148"/>
                  <a:pt x="105" y="148"/>
                </a:cubicBezTo>
                <a:cubicBezTo>
                  <a:pt x="294" y="148"/>
                  <a:pt x="294" y="148"/>
                  <a:pt x="294" y="148"/>
                </a:cubicBezTo>
                <a:cubicBezTo>
                  <a:pt x="305" y="148"/>
                  <a:pt x="314" y="139"/>
                  <a:pt x="314" y="129"/>
                </a:cubicBezTo>
                <a:cubicBezTo>
                  <a:pt x="314" y="102"/>
                  <a:pt x="314" y="102"/>
                  <a:pt x="314" y="102"/>
                </a:cubicBezTo>
                <a:cubicBezTo>
                  <a:pt x="314" y="91"/>
                  <a:pt x="305" y="82"/>
                  <a:pt x="294" y="82"/>
                </a:cubicBezTo>
                <a:cubicBezTo>
                  <a:pt x="259" y="82"/>
                  <a:pt x="259" y="82"/>
                  <a:pt x="259" y="82"/>
                </a:cubicBezTo>
                <a:cubicBezTo>
                  <a:pt x="254" y="82"/>
                  <a:pt x="251" y="79"/>
                  <a:pt x="251" y="74"/>
                </a:cubicBezTo>
                <a:cubicBezTo>
                  <a:pt x="251" y="48"/>
                  <a:pt x="251" y="48"/>
                  <a:pt x="251" y="48"/>
                </a:cubicBezTo>
                <a:cubicBezTo>
                  <a:pt x="251" y="30"/>
                  <a:pt x="236" y="16"/>
                  <a:pt x="218" y="16"/>
                </a:cubicBezTo>
                <a:cubicBezTo>
                  <a:pt x="182" y="16"/>
                  <a:pt x="182" y="16"/>
                  <a:pt x="182" y="16"/>
                </a:cubicBezTo>
                <a:cubicBezTo>
                  <a:pt x="164" y="16"/>
                  <a:pt x="149" y="30"/>
                  <a:pt x="149" y="48"/>
                </a:cubicBezTo>
                <a:cubicBezTo>
                  <a:pt x="149" y="74"/>
                  <a:pt x="149" y="74"/>
                  <a:pt x="149" y="74"/>
                </a:cubicBezTo>
                <a:cubicBezTo>
                  <a:pt x="149" y="79"/>
                  <a:pt x="146" y="82"/>
                  <a:pt x="141" y="82"/>
                </a:cubicBezTo>
                <a:cubicBezTo>
                  <a:pt x="105" y="82"/>
                  <a:pt x="105" y="82"/>
                  <a:pt x="105" y="82"/>
                </a:cubicBezTo>
                <a:cubicBezTo>
                  <a:pt x="95" y="82"/>
                  <a:pt x="86" y="91"/>
                  <a:pt x="86" y="102"/>
                </a:cubicBezTo>
                <a:lnTo>
                  <a:pt x="86" y="129"/>
                </a:lnTo>
                <a:close/>
                <a:moveTo>
                  <a:pt x="376" y="143"/>
                </a:moveTo>
                <a:cubicBezTo>
                  <a:pt x="376" y="132"/>
                  <a:pt x="368" y="123"/>
                  <a:pt x="357" y="123"/>
                </a:cubicBezTo>
                <a:cubicBezTo>
                  <a:pt x="330" y="123"/>
                  <a:pt x="330" y="123"/>
                  <a:pt x="330" y="123"/>
                </a:cubicBezTo>
                <a:cubicBezTo>
                  <a:pt x="330" y="129"/>
                  <a:pt x="330" y="129"/>
                  <a:pt x="330" y="129"/>
                </a:cubicBezTo>
                <a:cubicBezTo>
                  <a:pt x="330" y="148"/>
                  <a:pt x="314" y="164"/>
                  <a:pt x="294" y="164"/>
                </a:cubicBezTo>
                <a:cubicBezTo>
                  <a:pt x="105" y="164"/>
                  <a:pt x="105" y="164"/>
                  <a:pt x="105" y="164"/>
                </a:cubicBezTo>
                <a:cubicBezTo>
                  <a:pt x="86" y="164"/>
                  <a:pt x="70" y="148"/>
                  <a:pt x="70" y="129"/>
                </a:cubicBezTo>
                <a:cubicBezTo>
                  <a:pt x="70" y="123"/>
                  <a:pt x="70" y="123"/>
                  <a:pt x="70" y="123"/>
                </a:cubicBezTo>
                <a:cubicBezTo>
                  <a:pt x="35" y="123"/>
                  <a:pt x="35" y="123"/>
                  <a:pt x="35" y="123"/>
                </a:cubicBezTo>
                <a:cubicBezTo>
                  <a:pt x="24" y="123"/>
                  <a:pt x="16" y="132"/>
                  <a:pt x="16" y="143"/>
                </a:cubicBezTo>
                <a:cubicBezTo>
                  <a:pt x="16" y="585"/>
                  <a:pt x="16" y="585"/>
                  <a:pt x="16" y="585"/>
                </a:cubicBezTo>
                <a:cubicBezTo>
                  <a:pt x="16" y="596"/>
                  <a:pt x="24" y="604"/>
                  <a:pt x="35" y="604"/>
                </a:cubicBezTo>
                <a:cubicBezTo>
                  <a:pt x="357" y="604"/>
                  <a:pt x="357" y="604"/>
                  <a:pt x="357" y="604"/>
                </a:cubicBezTo>
                <a:cubicBezTo>
                  <a:pt x="368" y="604"/>
                  <a:pt x="376" y="596"/>
                  <a:pt x="376" y="585"/>
                </a:cubicBezTo>
                <a:lnTo>
                  <a:pt x="376" y="143"/>
                </a:ln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30" name="Freeform 97"/>
          <p:cNvSpPr>
            <a:spLocks noEditPoints="1"/>
          </p:cNvSpPr>
          <p:nvPr/>
        </p:nvSpPr>
        <p:spPr bwMode="auto">
          <a:xfrm>
            <a:off x="2988120" y="2996086"/>
            <a:ext cx="217660" cy="242454"/>
          </a:xfrm>
          <a:custGeom>
            <a:avLst/>
            <a:gdLst>
              <a:gd name="T0" fmla="*/ 594 w 638"/>
              <a:gd name="T1" fmla="*/ 449 h 612"/>
              <a:gd name="T2" fmla="*/ 514 w 638"/>
              <a:gd name="T3" fmla="*/ 183 h 612"/>
              <a:gd name="T4" fmla="*/ 494 w 638"/>
              <a:gd name="T5" fmla="*/ 131 h 612"/>
              <a:gd name="T6" fmla="*/ 554 w 638"/>
              <a:gd name="T7" fmla="*/ 99 h 612"/>
              <a:gd name="T8" fmla="*/ 522 w 638"/>
              <a:gd name="T9" fmla="*/ 0 h 612"/>
              <a:gd name="T10" fmla="*/ 237 w 638"/>
              <a:gd name="T11" fmla="*/ 32 h 612"/>
              <a:gd name="T12" fmla="*/ 269 w 638"/>
              <a:gd name="T13" fmla="*/ 131 h 612"/>
              <a:gd name="T14" fmla="*/ 433 w 638"/>
              <a:gd name="T15" fmla="*/ 183 h 612"/>
              <a:gd name="T16" fmla="*/ 95 w 638"/>
              <a:gd name="T17" fmla="*/ 205 h 612"/>
              <a:gd name="T18" fmla="*/ 35 w 638"/>
              <a:gd name="T19" fmla="*/ 449 h 612"/>
              <a:gd name="T20" fmla="*/ 0 w 638"/>
              <a:gd name="T21" fmla="*/ 578 h 612"/>
              <a:gd name="T22" fmla="*/ 604 w 638"/>
              <a:gd name="T23" fmla="*/ 612 h 612"/>
              <a:gd name="T24" fmla="*/ 638 w 638"/>
              <a:gd name="T25" fmla="*/ 484 h 612"/>
              <a:gd name="T26" fmla="*/ 251 w 638"/>
              <a:gd name="T27" fmla="*/ 99 h 612"/>
              <a:gd name="T28" fmla="*/ 269 w 638"/>
              <a:gd name="T29" fmla="*/ 14 h 612"/>
              <a:gd name="T30" fmla="*/ 540 w 638"/>
              <a:gd name="T31" fmla="*/ 32 h 612"/>
              <a:gd name="T32" fmla="*/ 522 w 638"/>
              <a:gd name="T33" fmla="*/ 117 h 612"/>
              <a:gd name="T34" fmla="*/ 251 w 638"/>
              <a:gd name="T35" fmla="*/ 99 h 612"/>
              <a:gd name="T36" fmla="*/ 480 w 638"/>
              <a:gd name="T37" fmla="*/ 131 h 612"/>
              <a:gd name="T38" fmla="*/ 447 w 638"/>
              <a:gd name="T39" fmla="*/ 183 h 612"/>
              <a:gd name="T40" fmla="*/ 624 w 638"/>
              <a:gd name="T41" fmla="*/ 578 h 612"/>
              <a:gd name="T42" fmla="*/ 35 w 638"/>
              <a:gd name="T43" fmla="*/ 598 h 612"/>
              <a:gd name="T44" fmla="*/ 14 w 638"/>
              <a:gd name="T45" fmla="*/ 484 h 612"/>
              <a:gd name="T46" fmla="*/ 50 w 638"/>
              <a:gd name="T47" fmla="*/ 463 h 612"/>
              <a:gd name="T48" fmla="*/ 109 w 638"/>
              <a:gd name="T49" fmla="*/ 208 h 612"/>
              <a:gd name="T50" fmla="*/ 514 w 638"/>
              <a:gd name="T51" fmla="*/ 197 h 612"/>
              <a:gd name="T52" fmla="*/ 581 w 638"/>
              <a:gd name="T53" fmla="*/ 458 h 612"/>
              <a:gd name="T54" fmla="*/ 604 w 638"/>
              <a:gd name="T55" fmla="*/ 463 h 612"/>
              <a:gd name="T56" fmla="*/ 624 w 638"/>
              <a:gd name="T57" fmla="*/ 578 h 612"/>
              <a:gd name="T58" fmla="*/ 513 w 638"/>
              <a:gd name="T59" fmla="*/ 378 h 612"/>
              <a:gd name="T60" fmla="*/ 528 w 638"/>
              <a:gd name="T61" fmla="*/ 360 h 612"/>
              <a:gd name="T62" fmla="*/ 492 w 638"/>
              <a:gd name="T63" fmla="*/ 223 h 612"/>
              <a:gd name="T64" fmla="*/ 297 w 638"/>
              <a:gd name="T65" fmla="*/ 238 h 612"/>
              <a:gd name="T66" fmla="*/ 300 w 638"/>
              <a:gd name="T67" fmla="*/ 373 h 612"/>
              <a:gd name="T68" fmla="*/ 311 w 638"/>
              <a:gd name="T69" fmla="*/ 238 h 612"/>
              <a:gd name="T70" fmla="*/ 492 w 638"/>
              <a:gd name="T71" fmla="*/ 237 h 612"/>
              <a:gd name="T72" fmla="*/ 515 w 638"/>
              <a:gd name="T73" fmla="*/ 362 h 612"/>
              <a:gd name="T74" fmla="*/ 513 w 638"/>
              <a:gd name="T75" fmla="*/ 364 h 612"/>
              <a:gd name="T76" fmla="*/ 310 w 638"/>
              <a:gd name="T77" fmla="*/ 363 h 612"/>
              <a:gd name="T78" fmla="*/ 311 w 638"/>
              <a:gd name="T79" fmla="*/ 238 h 612"/>
              <a:gd name="T80" fmla="*/ 252 w 638"/>
              <a:gd name="T81" fmla="*/ 289 h 612"/>
              <a:gd name="T82" fmla="*/ 270 w 638"/>
              <a:gd name="T83" fmla="*/ 239 h 612"/>
              <a:gd name="T84" fmla="*/ 255 w 638"/>
              <a:gd name="T85" fmla="*/ 223 h 612"/>
              <a:gd name="T86" fmla="*/ 129 w 638"/>
              <a:gd name="T87" fmla="*/ 237 h 612"/>
              <a:gd name="T88" fmla="*/ 127 w 638"/>
              <a:gd name="T89" fmla="*/ 284 h 612"/>
              <a:gd name="T90" fmla="*/ 143 w 638"/>
              <a:gd name="T91" fmla="*/ 239 h 612"/>
              <a:gd name="T92" fmla="*/ 255 w 638"/>
              <a:gd name="T93" fmla="*/ 237 h 612"/>
              <a:gd name="T94" fmla="*/ 254 w 638"/>
              <a:gd name="T95" fmla="*/ 273 h 612"/>
              <a:gd name="T96" fmla="*/ 138 w 638"/>
              <a:gd name="T97" fmla="*/ 275 h 612"/>
              <a:gd name="T98" fmla="*/ 143 w 638"/>
              <a:gd name="T99" fmla="*/ 239 h 612"/>
              <a:gd name="T100" fmla="*/ 581 w 638"/>
              <a:gd name="T101" fmla="*/ 519 h 612"/>
              <a:gd name="T102" fmla="*/ 51 w 638"/>
              <a:gd name="T103" fmla="*/ 512 h 612"/>
              <a:gd name="T104" fmla="*/ 581 w 638"/>
              <a:gd name="T105" fmla="*/ 505 h 612"/>
              <a:gd name="T106" fmla="*/ 512 w 638"/>
              <a:gd name="T107" fmla="*/ 82 h 612"/>
              <a:gd name="T108" fmla="*/ 307 w 638"/>
              <a:gd name="T109" fmla="*/ 89 h 612"/>
              <a:gd name="T110" fmla="*/ 307 w 638"/>
              <a:gd name="T111" fmla="*/ 75 h 612"/>
              <a:gd name="T112" fmla="*/ 512 w 638"/>
              <a:gd name="T113" fmla="*/ 82 h 612"/>
              <a:gd name="T114" fmla="*/ 505 w 638"/>
              <a:gd name="T115" fmla="*/ 57 h 612"/>
              <a:gd name="T116" fmla="*/ 300 w 638"/>
              <a:gd name="T117" fmla="*/ 50 h 612"/>
              <a:gd name="T118" fmla="*/ 505 w 638"/>
              <a:gd name="T119" fmla="*/ 4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8" h="612">
                <a:moveTo>
                  <a:pt x="604" y="449"/>
                </a:moveTo>
                <a:cubicBezTo>
                  <a:pt x="594" y="449"/>
                  <a:pt x="594" y="449"/>
                  <a:pt x="594" y="449"/>
                </a:cubicBezTo>
                <a:cubicBezTo>
                  <a:pt x="543" y="205"/>
                  <a:pt x="543" y="205"/>
                  <a:pt x="543" y="205"/>
                </a:cubicBezTo>
                <a:cubicBezTo>
                  <a:pt x="540" y="193"/>
                  <a:pt x="528" y="183"/>
                  <a:pt x="514" y="183"/>
                </a:cubicBezTo>
                <a:cubicBezTo>
                  <a:pt x="494" y="183"/>
                  <a:pt x="494" y="183"/>
                  <a:pt x="494" y="183"/>
                </a:cubicBezTo>
                <a:cubicBezTo>
                  <a:pt x="494" y="131"/>
                  <a:pt x="494" y="131"/>
                  <a:pt x="494" y="131"/>
                </a:cubicBezTo>
                <a:cubicBezTo>
                  <a:pt x="522" y="131"/>
                  <a:pt x="522" y="131"/>
                  <a:pt x="522" y="131"/>
                </a:cubicBezTo>
                <a:cubicBezTo>
                  <a:pt x="539" y="131"/>
                  <a:pt x="554" y="117"/>
                  <a:pt x="554" y="99"/>
                </a:cubicBezTo>
                <a:cubicBezTo>
                  <a:pt x="554" y="32"/>
                  <a:pt x="554" y="32"/>
                  <a:pt x="554" y="32"/>
                </a:cubicBezTo>
                <a:cubicBezTo>
                  <a:pt x="554" y="15"/>
                  <a:pt x="539" y="0"/>
                  <a:pt x="522" y="0"/>
                </a:cubicBezTo>
                <a:cubicBezTo>
                  <a:pt x="269" y="0"/>
                  <a:pt x="269" y="0"/>
                  <a:pt x="269" y="0"/>
                </a:cubicBezTo>
                <a:cubicBezTo>
                  <a:pt x="251" y="0"/>
                  <a:pt x="237" y="15"/>
                  <a:pt x="237" y="32"/>
                </a:cubicBezTo>
                <a:cubicBezTo>
                  <a:pt x="237" y="99"/>
                  <a:pt x="237" y="99"/>
                  <a:pt x="237" y="99"/>
                </a:cubicBezTo>
                <a:cubicBezTo>
                  <a:pt x="237" y="117"/>
                  <a:pt x="251" y="131"/>
                  <a:pt x="269" y="131"/>
                </a:cubicBezTo>
                <a:cubicBezTo>
                  <a:pt x="433" y="131"/>
                  <a:pt x="433" y="131"/>
                  <a:pt x="433" y="131"/>
                </a:cubicBezTo>
                <a:cubicBezTo>
                  <a:pt x="433" y="183"/>
                  <a:pt x="433" y="183"/>
                  <a:pt x="433" y="183"/>
                </a:cubicBezTo>
                <a:cubicBezTo>
                  <a:pt x="124" y="183"/>
                  <a:pt x="124" y="183"/>
                  <a:pt x="124" y="183"/>
                </a:cubicBezTo>
                <a:cubicBezTo>
                  <a:pt x="111" y="183"/>
                  <a:pt x="98" y="193"/>
                  <a:pt x="95" y="205"/>
                </a:cubicBezTo>
                <a:cubicBezTo>
                  <a:pt x="44" y="449"/>
                  <a:pt x="44" y="449"/>
                  <a:pt x="44" y="449"/>
                </a:cubicBezTo>
                <a:cubicBezTo>
                  <a:pt x="35" y="449"/>
                  <a:pt x="35" y="449"/>
                  <a:pt x="35" y="449"/>
                </a:cubicBezTo>
                <a:cubicBezTo>
                  <a:pt x="15" y="449"/>
                  <a:pt x="0" y="465"/>
                  <a:pt x="0" y="484"/>
                </a:cubicBezTo>
                <a:cubicBezTo>
                  <a:pt x="0" y="578"/>
                  <a:pt x="0" y="578"/>
                  <a:pt x="0" y="578"/>
                </a:cubicBezTo>
                <a:cubicBezTo>
                  <a:pt x="0" y="597"/>
                  <a:pt x="15" y="612"/>
                  <a:pt x="35" y="612"/>
                </a:cubicBezTo>
                <a:cubicBezTo>
                  <a:pt x="604" y="612"/>
                  <a:pt x="604" y="612"/>
                  <a:pt x="604" y="612"/>
                </a:cubicBezTo>
                <a:cubicBezTo>
                  <a:pt x="623" y="612"/>
                  <a:pt x="638" y="597"/>
                  <a:pt x="638" y="578"/>
                </a:cubicBezTo>
                <a:cubicBezTo>
                  <a:pt x="638" y="484"/>
                  <a:pt x="638" y="484"/>
                  <a:pt x="638" y="484"/>
                </a:cubicBezTo>
                <a:cubicBezTo>
                  <a:pt x="638" y="465"/>
                  <a:pt x="623" y="449"/>
                  <a:pt x="604" y="449"/>
                </a:cubicBezTo>
                <a:close/>
                <a:moveTo>
                  <a:pt x="251" y="99"/>
                </a:moveTo>
                <a:cubicBezTo>
                  <a:pt x="251" y="32"/>
                  <a:pt x="251" y="32"/>
                  <a:pt x="251" y="32"/>
                </a:cubicBezTo>
                <a:cubicBezTo>
                  <a:pt x="251" y="22"/>
                  <a:pt x="259" y="14"/>
                  <a:pt x="269" y="14"/>
                </a:cubicBezTo>
                <a:cubicBezTo>
                  <a:pt x="522" y="14"/>
                  <a:pt x="522" y="14"/>
                  <a:pt x="522" y="14"/>
                </a:cubicBezTo>
                <a:cubicBezTo>
                  <a:pt x="531" y="14"/>
                  <a:pt x="540" y="22"/>
                  <a:pt x="540" y="32"/>
                </a:cubicBezTo>
                <a:cubicBezTo>
                  <a:pt x="540" y="99"/>
                  <a:pt x="540" y="99"/>
                  <a:pt x="540" y="99"/>
                </a:cubicBezTo>
                <a:cubicBezTo>
                  <a:pt x="540" y="109"/>
                  <a:pt x="531" y="117"/>
                  <a:pt x="522" y="117"/>
                </a:cubicBezTo>
                <a:cubicBezTo>
                  <a:pt x="269" y="117"/>
                  <a:pt x="269" y="117"/>
                  <a:pt x="269" y="117"/>
                </a:cubicBezTo>
                <a:cubicBezTo>
                  <a:pt x="259" y="117"/>
                  <a:pt x="251" y="109"/>
                  <a:pt x="251" y="99"/>
                </a:cubicBezTo>
                <a:close/>
                <a:moveTo>
                  <a:pt x="447" y="131"/>
                </a:moveTo>
                <a:cubicBezTo>
                  <a:pt x="480" y="131"/>
                  <a:pt x="480" y="131"/>
                  <a:pt x="480" y="131"/>
                </a:cubicBezTo>
                <a:cubicBezTo>
                  <a:pt x="480" y="183"/>
                  <a:pt x="480" y="183"/>
                  <a:pt x="480" y="183"/>
                </a:cubicBezTo>
                <a:cubicBezTo>
                  <a:pt x="447" y="183"/>
                  <a:pt x="447" y="183"/>
                  <a:pt x="447" y="183"/>
                </a:cubicBezTo>
                <a:lnTo>
                  <a:pt x="447" y="131"/>
                </a:lnTo>
                <a:close/>
                <a:moveTo>
                  <a:pt x="624" y="578"/>
                </a:moveTo>
                <a:cubicBezTo>
                  <a:pt x="624" y="589"/>
                  <a:pt x="615" y="598"/>
                  <a:pt x="604" y="598"/>
                </a:cubicBezTo>
                <a:cubicBezTo>
                  <a:pt x="35" y="598"/>
                  <a:pt x="35" y="598"/>
                  <a:pt x="35" y="598"/>
                </a:cubicBezTo>
                <a:cubicBezTo>
                  <a:pt x="23" y="598"/>
                  <a:pt x="14" y="589"/>
                  <a:pt x="14" y="578"/>
                </a:cubicBezTo>
                <a:cubicBezTo>
                  <a:pt x="14" y="484"/>
                  <a:pt x="14" y="484"/>
                  <a:pt x="14" y="484"/>
                </a:cubicBezTo>
                <a:cubicBezTo>
                  <a:pt x="14" y="473"/>
                  <a:pt x="23" y="463"/>
                  <a:pt x="35" y="463"/>
                </a:cubicBezTo>
                <a:cubicBezTo>
                  <a:pt x="50" y="463"/>
                  <a:pt x="50" y="463"/>
                  <a:pt x="50" y="463"/>
                </a:cubicBezTo>
                <a:cubicBezTo>
                  <a:pt x="53" y="463"/>
                  <a:pt x="56" y="461"/>
                  <a:pt x="57" y="458"/>
                </a:cubicBezTo>
                <a:cubicBezTo>
                  <a:pt x="109" y="208"/>
                  <a:pt x="109" y="208"/>
                  <a:pt x="109" y="208"/>
                </a:cubicBezTo>
                <a:cubicBezTo>
                  <a:pt x="110" y="202"/>
                  <a:pt x="117" y="197"/>
                  <a:pt x="124" y="197"/>
                </a:cubicBezTo>
                <a:cubicBezTo>
                  <a:pt x="514" y="197"/>
                  <a:pt x="514" y="197"/>
                  <a:pt x="514" y="197"/>
                </a:cubicBezTo>
                <a:cubicBezTo>
                  <a:pt x="521" y="197"/>
                  <a:pt x="528" y="202"/>
                  <a:pt x="529" y="208"/>
                </a:cubicBezTo>
                <a:cubicBezTo>
                  <a:pt x="581" y="458"/>
                  <a:pt x="581" y="458"/>
                  <a:pt x="581" y="458"/>
                </a:cubicBezTo>
                <a:cubicBezTo>
                  <a:pt x="582" y="461"/>
                  <a:pt x="585" y="463"/>
                  <a:pt x="588" y="463"/>
                </a:cubicBezTo>
                <a:cubicBezTo>
                  <a:pt x="604" y="463"/>
                  <a:pt x="604" y="463"/>
                  <a:pt x="604" y="463"/>
                </a:cubicBezTo>
                <a:cubicBezTo>
                  <a:pt x="615" y="463"/>
                  <a:pt x="624" y="473"/>
                  <a:pt x="624" y="484"/>
                </a:cubicBezTo>
                <a:lnTo>
                  <a:pt x="624" y="578"/>
                </a:lnTo>
                <a:close/>
                <a:moveTo>
                  <a:pt x="312" y="378"/>
                </a:moveTo>
                <a:cubicBezTo>
                  <a:pt x="513" y="378"/>
                  <a:pt x="513" y="378"/>
                  <a:pt x="513" y="378"/>
                </a:cubicBezTo>
                <a:cubicBezTo>
                  <a:pt x="518" y="378"/>
                  <a:pt x="522" y="376"/>
                  <a:pt x="525" y="373"/>
                </a:cubicBezTo>
                <a:cubicBezTo>
                  <a:pt x="528" y="369"/>
                  <a:pt x="529" y="365"/>
                  <a:pt x="528" y="360"/>
                </a:cubicBezTo>
                <a:cubicBezTo>
                  <a:pt x="509" y="237"/>
                  <a:pt x="509" y="237"/>
                  <a:pt x="509" y="237"/>
                </a:cubicBezTo>
                <a:cubicBezTo>
                  <a:pt x="508" y="229"/>
                  <a:pt x="500" y="223"/>
                  <a:pt x="492" y="223"/>
                </a:cubicBezTo>
                <a:cubicBezTo>
                  <a:pt x="313" y="223"/>
                  <a:pt x="313" y="223"/>
                  <a:pt x="313" y="223"/>
                </a:cubicBezTo>
                <a:cubicBezTo>
                  <a:pt x="304" y="223"/>
                  <a:pt x="297" y="230"/>
                  <a:pt x="297" y="238"/>
                </a:cubicBezTo>
                <a:cubicBezTo>
                  <a:pt x="296" y="361"/>
                  <a:pt x="296" y="361"/>
                  <a:pt x="296" y="361"/>
                </a:cubicBezTo>
                <a:cubicBezTo>
                  <a:pt x="295" y="365"/>
                  <a:pt x="297" y="370"/>
                  <a:pt x="300" y="373"/>
                </a:cubicBezTo>
                <a:cubicBezTo>
                  <a:pt x="303" y="376"/>
                  <a:pt x="308" y="378"/>
                  <a:pt x="312" y="378"/>
                </a:cubicBezTo>
                <a:close/>
                <a:moveTo>
                  <a:pt x="311" y="238"/>
                </a:moveTo>
                <a:cubicBezTo>
                  <a:pt x="311" y="238"/>
                  <a:pt x="312" y="237"/>
                  <a:pt x="313" y="237"/>
                </a:cubicBezTo>
                <a:cubicBezTo>
                  <a:pt x="492" y="237"/>
                  <a:pt x="492" y="237"/>
                  <a:pt x="492" y="237"/>
                </a:cubicBezTo>
                <a:cubicBezTo>
                  <a:pt x="494" y="237"/>
                  <a:pt x="495" y="239"/>
                  <a:pt x="495" y="239"/>
                </a:cubicBezTo>
                <a:cubicBezTo>
                  <a:pt x="515" y="362"/>
                  <a:pt x="515" y="362"/>
                  <a:pt x="515" y="362"/>
                </a:cubicBezTo>
                <a:cubicBezTo>
                  <a:pt x="515" y="363"/>
                  <a:pt x="515" y="363"/>
                  <a:pt x="514" y="363"/>
                </a:cubicBezTo>
                <a:cubicBezTo>
                  <a:pt x="514" y="364"/>
                  <a:pt x="514" y="364"/>
                  <a:pt x="513" y="364"/>
                </a:cubicBezTo>
                <a:cubicBezTo>
                  <a:pt x="312" y="364"/>
                  <a:pt x="312" y="364"/>
                  <a:pt x="312" y="364"/>
                </a:cubicBezTo>
                <a:cubicBezTo>
                  <a:pt x="311" y="364"/>
                  <a:pt x="311" y="363"/>
                  <a:pt x="310" y="363"/>
                </a:cubicBezTo>
                <a:cubicBezTo>
                  <a:pt x="310" y="363"/>
                  <a:pt x="310" y="362"/>
                  <a:pt x="310" y="361"/>
                </a:cubicBezTo>
                <a:lnTo>
                  <a:pt x="311" y="238"/>
                </a:lnTo>
                <a:close/>
                <a:moveTo>
                  <a:pt x="138" y="289"/>
                </a:moveTo>
                <a:cubicBezTo>
                  <a:pt x="252" y="289"/>
                  <a:pt x="252" y="289"/>
                  <a:pt x="252" y="289"/>
                </a:cubicBezTo>
                <a:cubicBezTo>
                  <a:pt x="261" y="289"/>
                  <a:pt x="268" y="282"/>
                  <a:pt x="268" y="274"/>
                </a:cubicBezTo>
                <a:cubicBezTo>
                  <a:pt x="270" y="239"/>
                  <a:pt x="270" y="239"/>
                  <a:pt x="270" y="239"/>
                </a:cubicBezTo>
                <a:cubicBezTo>
                  <a:pt x="270" y="235"/>
                  <a:pt x="269" y="231"/>
                  <a:pt x="266" y="228"/>
                </a:cubicBezTo>
                <a:cubicBezTo>
                  <a:pt x="263" y="225"/>
                  <a:pt x="259" y="223"/>
                  <a:pt x="255" y="223"/>
                </a:cubicBezTo>
                <a:cubicBezTo>
                  <a:pt x="146" y="223"/>
                  <a:pt x="146" y="223"/>
                  <a:pt x="146" y="223"/>
                </a:cubicBezTo>
                <a:cubicBezTo>
                  <a:pt x="138" y="223"/>
                  <a:pt x="130" y="229"/>
                  <a:pt x="129" y="237"/>
                </a:cubicBezTo>
                <a:cubicBezTo>
                  <a:pt x="124" y="272"/>
                  <a:pt x="124" y="272"/>
                  <a:pt x="124" y="272"/>
                </a:cubicBezTo>
                <a:cubicBezTo>
                  <a:pt x="123" y="276"/>
                  <a:pt x="124" y="280"/>
                  <a:pt x="127" y="284"/>
                </a:cubicBezTo>
                <a:cubicBezTo>
                  <a:pt x="130" y="287"/>
                  <a:pt x="134" y="289"/>
                  <a:pt x="138" y="289"/>
                </a:cubicBezTo>
                <a:close/>
                <a:moveTo>
                  <a:pt x="143" y="239"/>
                </a:moveTo>
                <a:cubicBezTo>
                  <a:pt x="143" y="239"/>
                  <a:pt x="144" y="237"/>
                  <a:pt x="146" y="237"/>
                </a:cubicBezTo>
                <a:cubicBezTo>
                  <a:pt x="255" y="237"/>
                  <a:pt x="255" y="237"/>
                  <a:pt x="255" y="237"/>
                </a:cubicBezTo>
                <a:cubicBezTo>
                  <a:pt x="256" y="237"/>
                  <a:pt x="256" y="238"/>
                  <a:pt x="256" y="238"/>
                </a:cubicBezTo>
                <a:cubicBezTo>
                  <a:pt x="254" y="273"/>
                  <a:pt x="254" y="273"/>
                  <a:pt x="254" y="273"/>
                </a:cubicBezTo>
                <a:cubicBezTo>
                  <a:pt x="254" y="274"/>
                  <a:pt x="253" y="275"/>
                  <a:pt x="252" y="275"/>
                </a:cubicBezTo>
                <a:cubicBezTo>
                  <a:pt x="138" y="275"/>
                  <a:pt x="138" y="275"/>
                  <a:pt x="138" y="275"/>
                </a:cubicBezTo>
                <a:cubicBezTo>
                  <a:pt x="138" y="275"/>
                  <a:pt x="137" y="274"/>
                  <a:pt x="137" y="274"/>
                </a:cubicBezTo>
                <a:lnTo>
                  <a:pt x="143" y="239"/>
                </a:lnTo>
                <a:close/>
                <a:moveTo>
                  <a:pt x="588" y="512"/>
                </a:moveTo>
                <a:cubicBezTo>
                  <a:pt x="588" y="516"/>
                  <a:pt x="584" y="519"/>
                  <a:pt x="581" y="519"/>
                </a:cubicBezTo>
                <a:cubicBezTo>
                  <a:pt x="58" y="519"/>
                  <a:pt x="58" y="519"/>
                  <a:pt x="58" y="519"/>
                </a:cubicBezTo>
                <a:cubicBezTo>
                  <a:pt x="54" y="519"/>
                  <a:pt x="51" y="516"/>
                  <a:pt x="51" y="512"/>
                </a:cubicBezTo>
                <a:cubicBezTo>
                  <a:pt x="51" y="508"/>
                  <a:pt x="54" y="505"/>
                  <a:pt x="58" y="505"/>
                </a:cubicBezTo>
                <a:cubicBezTo>
                  <a:pt x="581" y="505"/>
                  <a:pt x="581" y="505"/>
                  <a:pt x="581" y="505"/>
                </a:cubicBezTo>
                <a:cubicBezTo>
                  <a:pt x="584" y="505"/>
                  <a:pt x="588" y="508"/>
                  <a:pt x="588" y="512"/>
                </a:cubicBezTo>
                <a:close/>
                <a:moveTo>
                  <a:pt x="512" y="82"/>
                </a:moveTo>
                <a:cubicBezTo>
                  <a:pt x="512" y="86"/>
                  <a:pt x="508" y="89"/>
                  <a:pt x="505" y="89"/>
                </a:cubicBezTo>
                <a:cubicBezTo>
                  <a:pt x="307" y="89"/>
                  <a:pt x="307" y="89"/>
                  <a:pt x="307" y="89"/>
                </a:cubicBezTo>
                <a:cubicBezTo>
                  <a:pt x="304" y="89"/>
                  <a:pt x="300" y="86"/>
                  <a:pt x="300" y="82"/>
                </a:cubicBezTo>
                <a:cubicBezTo>
                  <a:pt x="300" y="78"/>
                  <a:pt x="304" y="75"/>
                  <a:pt x="307" y="75"/>
                </a:cubicBezTo>
                <a:cubicBezTo>
                  <a:pt x="505" y="75"/>
                  <a:pt x="505" y="75"/>
                  <a:pt x="505" y="75"/>
                </a:cubicBezTo>
                <a:cubicBezTo>
                  <a:pt x="508" y="75"/>
                  <a:pt x="512" y="78"/>
                  <a:pt x="512" y="82"/>
                </a:cubicBezTo>
                <a:close/>
                <a:moveTo>
                  <a:pt x="512" y="50"/>
                </a:moveTo>
                <a:cubicBezTo>
                  <a:pt x="512" y="53"/>
                  <a:pt x="508" y="57"/>
                  <a:pt x="505" y="57"/>
                </a:cubicBezTo>
                <a:cubicBezTo>
                  <a:pt x="307" y="57"/>
                  <a:pt x="307" y="57"/>
                  <a:pt x="307" y="57"/>
                </a:cubicBezTo>
                <a:cubicBezTo>
                  <a:pt x="304" y="57"/>
                  <a:pt x="300" y="53"/>
                  <a:pt x="300" y="50"/>
                </a:cubicBezTo>
                <a:cubicBezTo>
                  <a:pt x="300" y="46"/>
                  <a:pt x="304" y="43"/>
                  <a:pt x="307" y="43"/>
                </a:cubicBezTo>
                <a:cubicBezTo>
                  <a:pt x="505" y="43"/>
                  <a:pt x="505" y="43"/>
                  <a:pt x="505" y="43"/>
                </a:cubicBezTo>
                <a:cubicBezTo>
                  <a:pt x="508" y="43"/>
                  <a:pt x="512" y="46"/>
                  <a:pt x="512" y="50"/>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69" name="Oval 68"/>
          <p:cNvSpPr/>
          <p:nvPr/>
        </p:nvSpPr>
        <p:spPr>
          <a:xfrm>
            <a:off x="10364508" y="4756605"/>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94" name="Oval 93"/>
          <p:cNvSpPr/>
          <p:nvPr/>
        </p:nvSpPr>
        <p:spPr>
          <a:xfrm>
            <a:off x="10364508" y="3102193"/>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53" name="Oval 52"/>
          <p:cNvSpPr/>
          <p:nvPr/>
        </p:nvSpPr>
        <p:spPr>
          <a:xfrm>
            <a:off x="10786900" y="2924991"/>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9" name="Oval 58"/>
          <p:cNvSpPr/>
          <p:nvPr/>
        </p:nvSpPr>
        <p:spPr>
          <a:xfrm>
            <a:off x="10788836" y="4579197"/>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70" name="Rechteck 24"/>
          <p:cNvSpPr/>
          <p:nvPr/>
        </p:nvSpPr>
        <p:spPr bwMode="gray">
          <a:xfrm>
            <a:off x="10377226" y="5158801"/>
            <a:ext cx="1205174" cy="444737"/>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spc="-20" dirty="0">
                <a:solidFill>
                  <a:schemeClr val="tx1"/>
                </a:solidFill>
                <a:latin typeface="EYInterstate Light" panose="02000506000000020004" pitchFamily="2" charset="0"/>
              </a:rPr>
              <a:t>Gestion de la technologie </a:t>
            </a:r>
          </a:p>
        </p:txBody>
      </p:sp>
      <p:sp>
        <p:nvSpPr>
          <p:cNvPr id="95" name="Rechteck 24"/>
          <p:cNvSpPr/>
          <p:nvPr/>
        </p:nvSpPr>
        <p:spPr bwMode="gray">
          <a:xfrm>
            <a:off x="10507253" y="3504389"/>
            <a:ext cx="945120" cy="620170"/>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fr-CA" sz="1200" dirty="0">
                <a:solidFill>
                  <a:schemeClr val="tx1"/>
                </a:solidFill>
                <a:latin typeface="EYInterstate Light" panose="02000506000000020004" pitchFamily="2" charset="0"/>
              </a:rPr>
              <a:t>Intégrité des données</a:t>
            </a:r>
          </a:p>
        </p:txBody>
      </p:sp>
      <p:sp>
        <p:nvSpPr>
          <p:cNvPr id="72" name="Freeform 81"/>
          <p:cNvSpPr>
            <a:spLocks noEditPoints="1"/>
          </p:cNvSpPr>
          <p:nvPr/>
        </p:nvSpPr>
        <p:spPr bwMode="auto">
          <a:xfrm>
            <a:off x="10882254" y="4635157"/>
            <a:ext cx="226470" cy="303856"/>
          </a:xfrm>
          <a:custGeom>
            <a:avLst/>
            <a:gdLst>
              <a:gd name="T0" fmla="*/ 596 w 603"/>
              <a:gd name="T1" fmla="*/ 239 h 757"/>
              <a:gd name="T2" fmla="*/ 578 w 603"/>
              <a:gd name="T3" fmla="*/ 180 h 757"/>
              <a:gd name="T4" fmla="*/ 548 w 603"/>
              <a:gd name="T5" fmla="*/ 126 h 757"/>
              <a:gd name="T6" fmla="*/ 507 w 603"/>
              <a:gd name="T7" fmla="*/ 80 h 757"/>
              <a:gd name="T8" fmla="*/ 458 w 603"/>
              <a:gd name="T9" fmla="*/ 43 h 757"/>
              <a:gd name="T10" fmla="*/ 403 w 603"/>
              <a:gd name="T11" fmla="*/ 17 h 757"/>
              <a:gd name="T12" fmla="*/ 343 w 603"/>
              <a:gd name="T13" fmla="*/ 3 h 757"/>
              <a:gd name="T14" fmla="*/ 281 w 603"/>
              <a:gd name="T15" fmla="*/ 2 h 757"/>
              <a:gd name="T16" fmla="*/ 221 w 603"/>
              <a:gd name="T17" fmla="*/ 14 h 757"/>
              <a:gd name="T18" fmla="*/ 164 w 603"/>
              <a:gd name="T19" fmla="*/ 38 h 757"/>
              <a:gd name="T20" fmla="*/ 114 w 603"/>
              <a:gd name="T21" fmla="*/ 73 h 757"/>
              <a:gd name="T22" fmla="*/ 72 w 603"/>
              <a:gd name="T23" fmla="*/ 118 h 757"/>
              <a:gd name="T24" fmla="*/ 40 w 603"/>
              <a:gd name="T25" fmla="*/ 171 h 757"/>
              <a:gd name="T26" fmla="*/ 20 w 603"/>
              <a:gd name="T27" fmla="*/ 229 h 757"/>
              <a:gd name="T28" fmla="*/ 13 w 603"/>
              <a:gd name="T29" fmla="*/ 290 h 757"/>
              <a:gd name="T30" fmla="*/ 18 w 603"/>
              <a:gd name="T31" fmla="*/ 351 h 757"/>
              <a:gd name="T32" fmla="*/ 36 w 603"/>
              <a:gd name="T33" fmla="*/ 410 h 757"/>
              <a:gd name="T34" fmla="*/ 66 w 603"/>
              <a:gd name="T35" fmla="*/ 464 h 757"/>
              <a:gd name="T36" fmla="*/ 1 w 603"/>
              <a:gd name="T37" fmla="*/ 650 h 757"/>
              <a:gd name="T38" fmla="*/ 202 w 603"/>
              <a:gd name="T39" fmla="*/ 755 h 757"/>
              <a:gd name="T40" fmla="*/ 303 w 603"/>
              <a:gd name="T41" fmla="*/ 569 h 757"/>
              <a:gd name="T42" fmla="*/ 381 w 603"/>
              <a:gd name="T43" fmla="*/ 711 h 757"/>
              <a:gd name="T44" fmla="*/ 578 w 603"/>
              <a:gd name="T45" fmla="*/ 622 h 757"/>
              <a:gd name="T46" fmla="*/ 547 w 603"/>
              <a:gd name="T47" fmla="*/ 469 h 757"/>
              <a:gd name="T48" fmla="*/ 578 w 603"/>
              <a:gd name="T49" fmla="*/ 416 h 757"/>
              <a:gd name="T50" fmla="*/ 597 w 603"/>
              <a:gd name="T51" fmla="*/ 357 h 757"/>
              <a:gd name="T52" fmla="*/ 603 w 603"/>
              <a:gd name="T53" fmla="*/ 295 h 757"/>
              <a:gd name="T54" fmla="*/ 552 w 603"/>
              <a:gd name="T55" fmla="*/ 370 h 757"/>
              <a:gd name="T56" fmla="*/ 526 w 603"/>
              <a:gd name="T57" fmla="*/ 427 h 757"/>
              <a:gd name="T58" fmla="*/ 498 w 603"/>
              <a:gd name="T59" fmla="*/ 472 h 757"/>
              <a:gd name="T60" fmla="*/ 383 w 603"/>
              <a:gd name="T61" fmla="*/ 692 h 757"/>
              <a:gd name="T62" fmla="*/ 302 w 603"/>
              <a:gd name="T63" fmla="*/ 551 h 757"/>
              <a:gd name="T64" fmla="*/ 132 w 603"/>
              <a:gd name="T65" fmla="*/ 654 h 757"/>
              <a:gd name="T66" fmla="*/ 103 w 603"/>
              <a:gd name="T67" fmla="*/ 465 h 757"/>
              <a:gd name="T68" fmla="*/ 83 w 603"/>
              <a:gd name="T69" fmla="*/ 419 h 757"/>
              <a:gd name="T70" fmla="*/ 34 w 603"/>
              <a:gd name="T71" fmla="*/ 353 h 757"/>
              <a:gd name="T72" fmla="*/ 52 w 603"/>
              <a:gd name="T73" fmla="*/ 273 h 757"/>
              <a:gd name="T74" fmla="*/ 65 w 603"/>
              <a:gd name="T75" fmla="*/ 212 h 757"/>
              <a:gd name="T76" fmla="*/ 81 w 603"/>
              <a:gd name="T77" fmla="*/ 131 h 757"/>
              <a:gd name="T78" fmla="*/ 153 w 603"/>
              <a:gd name="T79" fmla="*/ 91 h 757"/>
              <a:gd name="T80" fmla="*/ 207 w 603"/>
              <a:gd name="T81" fmla="*/ 59 h 757"/>
              <a:gd name="T82" fmla="*/ 278 w 603"/>
              <a:gd name="T83" fmla="*/ 18 h 757"/>
              <a:gd name="T84" fmla="*/ 356 w 603"/>
              <a:gd name="T85" fmla="*/ 44 h 757"/>
              <a:gd name="T86" fmla="*/ 415 w 603"/>
              <a:gd name="T87" fmla="*/ 63 h 757"/>
              <a:gd name="T88" fmla="*/ 494 w 603"/>
              <a:gd name="T89" fmla="*/ 88 h 757"/>
              <a:gd name="T90" fmla="*/ 526 w 603"/>
              <a:gd name="T91" fmla="*/ 163 h 757"/>
              <a:gd name="T92" fmla="*/ 552 w 603"/>
              <a:gd name="T93" fmla="*/ 220 h 757"/>
              <a:gd name="T94" fmla="*/ 586 w 603"/>
              <a:gd name="T95" fmla="*/ 295 h 757"/>
              <a:gd name="T96" fmla="*/ 307 w 603"/>
              <a:gd name="T97" fmla="*/ 463 h 757"/>
              <a:gd name="T98" fmla="*/ 147 w 603"/>
              <a:gd name="T99" fmla="*/ 28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3" h="757">
                <a:moveTo>
                  <a:pt x="603" y="295"/>
                </a:moveTo>
                <a:cubicBezTo>
                  <a:pt x="603" y="293"/>
                  <a:pt x="602" y="291"/>
                  <a:pt x="601" y="290"/>
                </a:cubicBezTo>
                <a:cubicBezTo>
                  <a:pt x="576" y="267"/>
                  <a:pt x="576" y="267"/>
                  <a:pt x="576" y="267"/>
                </a:cubicBezTo>
                <a:cubicBezTo>
                  <a:pt x="596" y="239"/>
                  <a:pt x="596" y="239"/>
                  <a:pt x="596" y="239"/>
                </a:cubicBezTo>
                <a:cubicBezTo>
                  <a:pt x="597" y="237"/>
                  <a:pt x="597" y="235"/>
                  <a:pt x="597" y="233"/>
                </a:cubicBezTo>
                <a:cubicBezTo>
                  <a:pt x="596" y="232"/>
                  <a:pt x="595" y="230"/>
                  <a:pt x="593" y="229"/>
                </a:cubicBezTo>
                <a:cubicBezTo>
                  <a:pt x="564" y="211"/>
                  <a:pt x="564" y="211"/>
                  <a:pt x="564" y="211"/>
                </a:cubicBezTo>
                <a:cubicBezTo>
                  <a:pt x="578" y="180"/>
                  <a:pt x="578" y="180"/>
                  <a:pt x="578" y="180"/>
                </a:cubicBezTo>
                <a:cubicBezTo>
                  <a:pt x="578" y="178"/>
                  <a:pt x="578" y="176"/>
                  <a:pt x="578" y="175"/>
                </a:cubicBezTo>
                <a:cubicBezTo>
                  <a:pt x="577" y="173"/>
                  <a:pt x="575" y="171"/>
                  <a:pt x="573" y="171"/>
                </a:cubicBezTo>
                <a:cubicBezTo>
                  <a:pt x="541" y="160"/>
                  <a:pt x="541" y="160"/>
                  <a:pt x="541" y="160"/>
                </a:cubicBezTo>
                <a:cubicBezTo>
                  <a:pt x="548" y="126"/>
                  <a:pt x="548" y="126"/>
                  <a:pt x="548" y="126"/>
                </a:cubicBezTo>
                <a:cubicBezTo>
                  <a:pt x="548" y="124"/>
                  <a:pt x="548" y="122"/>
                  <a:pt x="547" y="121"/>
                </a:cubicBezTo>
                <a:cubicBezTo>
                  <a:pt x="545" y="119"/>
                  <a:pt x="544" y="118"/>
                  <a:pt x="542" y="118"/>
                </a:cubicBezTo>
                <a:cubicBezTo>
                  <a:pt x="508" y="114"/>
                  <a:pt x="508" y="114"/>
                  <a:pt x="508" y="114"/>
                </a:cubicBezTo>
                <a:cubicBezTo>
                  <a:pt x="507" y="80"/>
                  <a:pt x="507" y="80"/>
                  <a:pt x="507" y="80"/>
                </a:cubicBezTo>
                <a:cubicBezTo>
                  <a:pt x="507" y="78"/>
                  <a:pt x="507" y="76"/>
                  <a:pt x="505" y="75"/>
                </a:cubicBezTo>
                <a:cubicBezTo>
                  <a:pt x="504" y="73"/>
                  <a:pt x="502" y="73"/>
                  <a:pt x="500" y="73"/>
                </a:cubicBezTo>
                <a:cubicBezTo>
                  <a:pt x="466" y="76"/>
                  <a:pt x="466" y="76"/>
                  <a:pt x="466" y="76"/>
                </a:cubicBezTo>
                <a:cubicBezTo>
                  <a:pt x="458" y="43"/>
                  <a:pt x="458" y="43"/>
                  <a:pt x="458" y="43"/>
                </a:cubicBezTo>
                <a:cubicBezTo>
                  <a:pt x="458" y="41"/>
                  <a:pt x="457" y="39"/>
                  <a:pt x="455" y="38"/>
                </a:cubicBezTo>
                <a:cubicBezTo>
                  <a:pt x="453" y="37"/>
                  <a:pt x="451" y="37"/>
                  <a:pt x="449" y="38"/>
                </a:cubicBezTo>
                <a:cubicBezTo>
                  <a:pt x="417" y="48"/>
                  <a:pt x="417" y="48"/>
                  <a:pt x="417" y="48"/>
                </a:cubicBezTo>
                <a:cubicBezTo>
                  <a:pt x="403" y="17"/>
                  <a:pt x="403" y="17"/>
                  <a:pt x="403" y="17"/>
                </a:cubicBezTo>
                <a:cubicBezTo>
                  <a:pt x="402" y="15"/>
                  <a:pt x="400" y="14"/>
                  <a:pt x="398" y="13"/>
                </a:cubicBezTo>
                <a:cubicBezTo>
                  <a:pt x="397" y="13"/>
                  <a:pt x="395" y="13"/>
                  <a:pt x="393" y="14"/>
                </a:cubicBezTo>
                <a:cubicBezTo>
                  <a:pt x="363" y="30"/>
                  <a:pt x="363" y="30"/>
                  <a:pt x="363" y="30"/>
                </a:cubicBezTo>
                <a:cubicBezTo>
                  <a:pt x="343" y="3"/>
                  <a:pt x="343" y="3"/>
                  <a:pt x="343" y="3"/>
                </a:cubicBezTo>
                <a:cubicBezTo>
                  <a:pt x="342" y="2"/>
                  <a:pt x="340" y="0"/>
                  <a:pt x="338" y="0"/>
                </a:cubicBezTo>
                <a:cubicBezTo>
                  <a:pt x="336" y="0"/>
                  <a:pt x="334" y="1"/>
                  <a:pt x="332" y="2"/>
                </a:cubicBezTo>
                <a:cubicBezTo>
                  <a:pt x="307" y="24"/>
                  <a:pt x="307" y="24"/>
                  <a:pt x="307" y="24"/>
                </a:cubicBezTo>
                <a:cubicBezTo>
                  <a:pt x="281" y="2"/>
                  <a:pt x="281" y="2"/>
                  <a:pt x="281" y="2"/>
                </a:cubicBezTo>
                <a:cubicBezTo>
                  <a:pt x="280" y="1"/>
                  <a:pt x="278" y="0"/>
                  <a:pt x="276" y="0"/>
                </a:cubicBezTo>
                <a:cubicBezTo>
                  <a:pt x="274" y="0"/>
                  <a:pt x="272" y="2"/>
                  <a:pt x="271" y="3"/>
                </a:cubicBezTo>
                <a:cubicBezTo>
                  <a:pt x="251" y="30"/>
                  <a:pt x="251" y="30"/>
                  <a:pt x="251" y="30"/>
                </a:cubicBezTo>
                <a:cubicBezTo>
                  <a:pt x="221" y="14"/>
                  <a:pt x="221" y="14"/>
                  <a:pt x="221" y="14"/>
                </a:cubicBezTo>
                <a:cubicBezTo>
                  <a:pt x="219" y="13"/>
                  <a:pt x="217" y="13"/>
                  <a:pt x="215" y="13"/>
                </a:cubicBezTo>
                <a:cubicBezTo>
                  <a:pt x="213" y="14"/>
                  <a:pt x="212" y="15"/>
                  <a:pt x="211" y="17"/>
                </a:cubicBezTo>
                <a:cubicBezTo>
                  <a:pt x="197" y="48"/>
                  <a:pt x="197" y="48"/>
                  <a:pt x="197" y="48"/>
                </a:cubicBezTo>
                <a:cubicBezTo>
                  <a:pt x="164" y="38"/>
                  <a:pt x="164" y="38"/>
                  <a:pt x="164" y="38"/>
                </a:cubicBezTo>
                <a:cubicBezTo>
                  <a:pt x="162" y="37"/>
                  <a:pt x="160" y="37"/>
                  <a:pt x="159" y="38"/>
                </a:cubicBezTo>
                <a:cubicBezTo>
                  <a:pt x="157" y="39"/>
                  <a:pt x="156" y="41"/>
                  <a:pt x="155" y="43"/>
                </a:cubicBezTo>
                <a:cubicBezTo>
                  <a:pt x="148" y="76"/>
                  <a:pt x="148" y="76"/>
                  <a:pt x="148" y="76"/>
                </a:cubicBezTo>
                <a:cubicBezTo>
                  <a:pt x="114" y="73"/>
                  <a:pt x="114" y="73"/>
                  <a:pt x="114" y="73"/>
                </a:cubicBezTo>
                <a:cubicBezTo>
                  <a:pt x="112" y="73"/>
                  <a:pt x="110" y="73"/>
                  <a:pt x="109" y="75"/>
                </a:cubicBezTo>
                <a:cubicBezTo>
                  <a:pt x="107" y="76"/>
                  <a:pt x="106" y="78"/>
                  <a:pt x="106" y="80"/>
                </a:cubicBezTo>
                <a:cubicBezTo>
                  <a:pt x="106" y="114"/>
                  <a:pt x="106" y="114"/>
                  <a:pt x="106" y="114"/>
                </a:cubicBezTo>
                <a:cubicBezTo>
                  <a:pt x="72" y="118"/>
                  <a:pt x="72" y="118"/>
                  <a:pt x="72" y="118"/>
                </a:cubicBezTo>
                <a:cubicBezTo>
                  <a:pt x="70" y="118"/>
                  <a:pt x="68" y="119"/>
                  <a:pt x="67" y="121"/>
                </a:cubicBezTo>
                <a:cubicBezTo>
                  <a:pt x="66" y="122"/>
                  <a:pt x="65" y="124"/>
                  <a:pt x="66" y="126"/>
                </a:cubicBezTo>
                <a:cubicBezTo>
                  <a:pt x="73" y="160"/>
                  <a:pt x="73" y="160"/>
                  <a:pt x="73" y="160"/>
                </a:cubicBezTo>
                <a:cubicBezTo>
                  <a:pt x="40" y="171"/>
                  <a:pt x="40" y="171"/>
                  <a:pt x="40" y="171"/>
                </a:cubicBezTo>
                <a:cubicBezTo>
                  <a:pt x="38" y="171"/>
                  <a:pt x="37" y="173"/>
                  <a:pt x="36" y="175"/>
                </a:cubicBezTo>
                <a:cubicBezTo>
                  <a:pt x="35" y="176"/>
                  <a:pt x="35" y="178"/>
                  <a:pt x="36" y="180"/>
                </a:cubicBezTo>
                <a:cubicBezTo>
                  <a:pt x="50" y="211"/>
                  <a:pt x="50" y="211"/>
                  <a:pt x="50" y="211"/>
                </a:cubicBezTo>
                <a:cubicBezTo>
                  <a:pt x="20" y="229"/>
                  <a:pt x="20" y="229"/>
                  <a:pt x="20" y="229"/>
                </a:cubicBezTo>
                <a:cubicBezTo>
                  <a:pt x="19" y="230"/>
                  <a:pt x="17" y="232"/>
                  <a:pt x="17" y="233"/>
                </a:cubicBezTo>
                <a:cubicBezTo>
                  <a:pt x="17" y="235"/>
                  <a:pt x="17" y="237"/>
                  <a:pt x="18" y="239"/>
                </a:cubicBezTo>
                <a:cubicBezTo>
                  <a:pt x="38" y="267"/>
                  <a:pt x="38" y="267"/>
                  <a:pt x="38" y="267"/>
                </a:cubicBezTo>
                <a:cubicBezTo>
                  <a:pt x="13" y="290"/>
                  <a:pt x="13" y="290"/>
                  <a:pt x="13" y="290"/>
                </a:cubicBezTo>
                <a:cubicBezTo>
                  <a:pt x="11" y="291"/>
                  <a:pt x="10" y="293"/>
                  <a:pt x="10" y="295"/>
                </a:cubicBezTo>
                <a:cubicBezTo>
                  <a:pt x="10" y="297"/>
                  <a:pt x="11" y="299"/>
                  <a:pt x="13" y="300"/>
                </a:cubicBezTo>
                <a:cubicBezTo>
                  <a:pt x="38" y="323"/>
                  <a:pt x="38" y="323"/>
                  <a:pt x="38" y="323"/>
                </a:cubicBezTo>
                <a:cubicBezTo>
                  <a:pt x="18" y="351"/>
                  <a:pt x="18" y="351"/>
                  <a:pt x="18" y="351"/>
                </a:cubicBezTo>
                <a:cubicBezTo>
                  <a:pt x="17" y="353"/>
                  <a:pt x="17" y="355"/>
                  <a:pt x="17" y="357"/>
                </a:cubicBezTo>
                <a:cubicBezTo>
                  <a:pt x="17" y="359"/>
                  <a:pt x="19" y="360"/>
                  <a:pt x="20" y="361"/>
                </a:cubicBezTo>
                <a:cubicBezTo>
                  <a:pt x="50" y="379"/>
                  <a:pt x="50" y="379"/>
                  <a:pt x="50" y="379"/>
                </a:cubicBezTo>
                <a:cubicBezTo>
                  <a:pt x="36" y="410"/>
                  <a:pt x="36" y="410"/>
                  <a:pt x="36" y="410"/>
                </a:cubicBezTo>
                <a:cubicBezTo>
                  <a:pt x="35" y="412"/>
                  <a:pt x="35" y="414"/>
                  <a:pt x="36" y="416"/>
                </a:cubicBezTo>
                <a:cubicBezTo>
                  <a:pt x="37" y="417"/>
                  <a:pt x="38" y="419"/>
                  <a:pt x="40" y="419"/>
                </a:cubicBezTo>
                <a:cubicBezTo>
                  <a:pt x="73" y="430"/>
                  <a:pt x="73" y="430"/>
                  <a:pt x="73" y="430"/>
                </a:cubicBezTo>
                <a:cubicBezTo>
                  <a:pt x="66" y="464"/>
                  <a:pt x="66" y="464"/>
                  <a:pt x="66" y="464"/>
                </a:cubicBezTo>
                <a:cubicBezTo>
                  <a:pt x="65" y="466"/>
                  <a:pt x="66" y="468"/>
                  <a:pt x="67" y="469"/>
                </a:cubicBezTo>
                <a:cubicBezTo>
                  <a:pt x="68" y="471"/>
                  <a:pt x="70" y="472"/>
                  <a:pt x="72" y="472"/>
                </a:cubicBezTo>
                <a:cubicBezTo>
                  <a:pt x="87" y="474"/>
                  <a:pt x="87" y="474"/>
                  <a:pt x="87" y="474"/>
                </a:cubicBezTo>
                <a:cubicBezTo>
                  <a:pt x="1" y="650"/>
                  <a:pt x="1" y="650"/>
                  <a:pt x="1" y="650"/>
                </a:cubicBezTo>
                <a:cubicBezTo>
                  <a:pt x="0" y="652"/>
                  <a:pt x="0" y="654"/>
                  <a:pt x="1" y="656"/>
                </a:cubicBezTo>
                <a:cubicBezTo>
                  <a:pt x="3" y="658"/>
                  <a:pt x="5" y="660"/>
                  <a:pt x="7" y="660"/>
                </a:cubicBezTo>
                <a:cubicBezTo>
                  <a:pt x="124" y="665"/>
                  <a:pt x="124" y="665"/>
                  <a:pt x="124" y="665"/>
                </a:cubicBezTo>
                <a:cubicBezTo>
                  <a:pt x="202" y="755"/>
                  <a:pt x="202" y="755"/>
                  <a:pt x="202" y="755"/>
                </a:cubicBezTo>
                <a:cubicBezTo>
                  <a:pt x="203" y="756"/>
                  <a:pt x="205" y="757"/>
                  <a:pt x="207" y="757"/>
                </a:cubicBezTo>
                <a:cubicBezTo>
                  <a:pt x="208" y="757"/>
                  <a:pt x="208" y="757"/>
                  <a:pt x="208" y="757"/>
                </a:cubicBezTo>
                <a:cubicBezTo>
                  <a:pt x="211" y="757"/>
                  <a:pt x="213" y="755"/>
                  <a:pt x="214" y="753"/>
                </a:cubicBezTo>
                <a:cubicBezTo>
                  <a:pt x="303" y="569"/>
                  <a:pt x="303" y="569"/>
                  <a:pt x="303" y="569"/>
                </a:cubicBezTo>
                <a:cubicBezTo>
                  <a:pt x="307" y="566"/>
                  <a:pt x="307" y="566"/>
                  <a:pt x="307" y="566"/>
                </a:cubicBezTo>
                <a:cubicBezTo>
                  <a:pt x="314" y="572"/>
                  <a:pt x="314" y="572"/>
                  <a:pt x="314" y="572"/>
                </a:cubicBezTo>
                <a:cubicBezTo>
                  <a:pt x="375" y="707"/>
                  <a:pt x="375" y="707"/>
                  <a:pt x="375" y="707"/>
                </a:cubicBezTo>
                <a:cubicBezTo>
                  <a:pt x="376" y="709"/>
                  <a:pt x="378" y="711"/>
                  <a:pt x="381" y="711"/>
                </a:cubicBezTo>
                <a:cubicBezTo>
                  <a:pt x="383" y="712"/>
                  <a:pt x="385" y="711"/>
                  <a:pt x="387" y="709"/>
                </a:cubicBezTo>
                <a:cubicBezTo>
                  <a:pt x="459" y="626"/>
                  <a:pt x="459" y="626"/>
                  <a:pt x="459" y="626"/>
                </a:cubicBezTo>
                <a:cubicBezTo>
                  <a:pt x="572" y="625"/>
                  <a:pt x="572" y="625"/>
                  <a:pt x="572" y="625"/>
                </a:cubicBezTo>
                <a:cubicBezTo>
                  <a:pt x="574" y="625"/>
                  <a:pt x="576" y="624"/>
                  <a:pt x="578" y="622"/>
                </a:cubicBezTo>
                <a:cubicBezTo>
                  <a:pt x="579" y="620"/>
                  <a:pt x="579" y="617"/>
                  <a:pt x="578" y="615"/>
                </a:cubicBezTo>
                <a:cubicBezTo>
                  <a:pt x="515" y="475"/>
                  <a:pt x="515" y="475"/>
                  <a:pt x="515" y="475"/>
                </a:cubicBezTo>
                <a:cubicBezTo>
                  <a:pt x="542" y="472"/>
                  <a:pt x="542" y="472"/>
                  <a:pt x="542" y="472"/>
                </a:cubicBezTo>
                <a:cubicBezTo>
                  <a:pt x="544" y="472"/>
                  <a:pt x="545" y="471"/>
                  <a:pt x="547" y="469"/>
                </a:cubicBezTo>
                <a:cubicBezTo>
                  <a:pt x="548" y="468"/>
                  <a:pt x="548" y="466"/>
                  <a:pt x="548" y="464"/>
                </a:cubicBezTo>
                <a:cubicBezTo>
                  <a:pt x="541" y="430"/>
                  <a:pt x="541" y="430"/>
                  <a:pt x="541" y="430"/>
                </a:cubicBezTo>
                <a:cubicBezTo>
                  <a:pt x="573" y="419"/>
                  <a:pt x="573" y="419"/>
                  <a:pt x="573" y="419"/>
                </a:cubicBezTo>
                <a:cubicBezTo>
                  <a:pt x="575" y="419"/>
                  <a:pt x="577" y="417"/>
                  <a:pt x="578" y="416"/>
                </a:cubicBezTo>
                <a:cubicBezTo>
                  <a:pt x="578" y="414"/>
                  <a:pt x="578" y="412"/>
                  <a:pt x="578" y="410"/>
                </a:cubicBezTo>
                <a:cubicBezTo>
                  <a:pt x="564" y="379"/>
                  <a:pt x="564" y="379"/>
                  <a:pt x="564" y="379"/>
                </a:cubicBezTo>
                <a:cubicBezTo>
                  <a:pt x="593" y="361"/>
                  <a:pt x="593" y="361"/>
                  <a:pt x="593" y="361"/>
                </a:cubicBezTo>
                <a:cubicBezTo>
                  <a:pt x="595" y="360"/>
                  <a:pt x="596" y="359"/>
                  <a:pt x="597" y="357"/>
                </a:cubicBezTo>
                <a:cubicBezTo>
                  <a:pt x="597" y="355"/>
                  <a:pt x="597" y="353"/>
                  <a:pt x="596" y="351"/>
                </a:cubicBezTo>
                <a:cubicBezTo>
                  <a:pt x="576" y="323"/>
                  <a:pt x="576" y="323"/>
                  <a:pt x="576" y="323"/>
                </a:cubicBezTo>
                <a:cubicBezTo>
                  <a:pt x="601" y="300"/>
                  <a:pt x="601" y="300"/>
                  <a:pt x="601" y="300"/>
                </a:cubicBezTo>
                <a:cubicBezTo>
                  <a:pt x="602" y="299"/>
                  <a:pt x="603" y="297"/>
                  <a:pt x="603" y="295"/>
                </a:cubicBezTo>
                <a:close/>
                <a:moveTo>
                  <a:pt x="562" y="317"/>
                </a:moveTo>
                <a:cubicBezTo>
                  <a:pt x="559" y="320"/>
                  <a:pt x="559" y="324"/>
                  <a:pt x="561" y="326"/>
                </a:cubicBezTo>
                <a:cubicBezTo>
                  <a:pt x="580" y="353"/>
                  <a:pt x="580" y="353"/>
                  <a:pt x="580" y="353"/>
                </a:cubicBezTo>
                <a:cubicBezTo>
                  <a:pt x="552" y="370"/>
                  <a:pt x="552" y="370"/>
                  <a:pt x="552" y="370"/>
                </a:cubicBezTo>
                <a:cubicBezTo>
                  <a:pt x="549" y="372"/>
                  <a:pt x="547" y="375"/>
                  <a:pt x="549" y="379"/>
                </a:cubicBezTo>
                <a:cubicBezTo>
                  <a:pt x="562" y="409"/>
                  <a:pt x="562" y="409"/>
                  <a:pt x="562" y="409"/>
                </a:cubicBezTo>
                <a:cubicBezTo>
                  <a:pt x="531" y="419"/>
                  <a:pt x="531" y="419"/>
                  <a:pt x="531" y="419"/>
                </a:cubicBezTo>
                <a:cubicBezTo>
                  <a:pt x="527" y="420"/>
                  <a:pt x="526" y="424"/>
                  <a:pt x="526" y="427"/>
                </a:cubicBezTo>
                <a:cubicBezTo>
                  <a:pt x="533" y="459"/>
                  <a:pt x="533" y="459"/>
                  <a:pt x="533" y="459"/>
                </a:cubicBezTo>
                <a:cubicBezTo>
                  <a:pt x="504" y="462"/>
                  <a:pt x="504" y="462"/>
                  <a:pt x="504" y="462"/>
                </a:cubicBezTo>
                <a:cubicBezTo>
                  <a:pt x="501" y="463"/>
                  <a:pt x="499" y="464"/>
                  <a:pt x="498" y="466"/>
                </a:cubicBezTo>
                <a:cubicBezTo>
                  <a:pt x="497" y="468"/>
                  <a:pt x="497" y="470"/>
                  <a:pt x="498" y="472"/>
                </a:cubicBezTo>
                <a:cubicBezTo>
                  <a:pt x="561" y="611"/>
                  <a:pt x="561" y="611"/>
                  <a:pt x="561" y="611"/>
                </a:cubicBezTo>
                <a:cubicBezTo>
                  <a:pt x="456" y="612"/>
                  <a:pt x="456" y="612"/>
                  <a:pt x="456" y="612"/>
                </a:cubicBezTo>
                <a:cubicBezTo>
                  <a:pt x="454" y="612"/>
                  <a:pt x="452" y="612"/>
                  <a:pt x="451" y="614"/>
                </a:cubicBezTo>
                <a:cubicBezTo>
                  <a:pt x="383" y="692"/>
                  <a:pt x="383" y="692"/>
                  <a:pt x="383" y="692"/>
                </a:cubicBezTo>
                <a:cubicBezTo>
                  <a:pt x="326" y="564"/>
                  <a:pt x="326" y="564"/>
                  <a:pt x="326" y="564"/>
                </a:cubicBezTo>
                <a:cubicBezTo>
                  <a:pt x="325" y="563"/>
                  <a:pt x="325" y="563"/>
                  <a:pt x="324" y="562"/>
                </a:cubicBezTo>
                <a:cubicBezTo>
                  <a:pt x="311" y="551"/>
                  <a:pt x="311" y="551"/>
                  <a:pt x="311" y="551"/>
                </a:cubicBezTo>
                <a:cubicBezTo>
                  <a:pt x="309" y="549"/>
                  <a:pt x="305" y="549"/>
                  <a:pt x="302" y="551"/>
                </a:cubicBezTo>
                <a:cubicBezTo>
                  <a:pt x="293" y="559"/>
                  <a:pt x="293" y="559"/>
                  <a:pt x="293" y="559"/>
                </a:cubicBezTo>
                <a:cubicBezTo>
                  <a:pt x="292" y="560"/>
                  <a:pt x="292" y="561"/>
                  <a:pt x="291" y="561"/>
                </a:cubicBezTo>
                <a:cubicBezTo>
                  <a:pt x="206" y="737"/>
                  <a:pt x="206" y="737"/>
                  <a:pt x="206" y="737"/>
                </a:cubicBezTo>
                <a:cubicBezTo>
                  <a:pt x="132" y="654"/>
                  <a:pt x="132" y="654"/>
                  <a:pt x="132" y="654"/>
                </a:cubicBezTo>
                <a:cubicBezTo>
                  <a:pt x="131" y="652"/>
                  <a:pt x="129" y="651"/>
                  <a:pt x="127" y="651"/>
                </a:cubicBezTo>
                <a:cubicBezTo>
                  <a:pt x="18" y="646"/>
                  <a:pt x="18" y="646"/>
                  <a:pt x="18" y="646"/>
                </a:cubicBezTo>
                <a:cubicBezTo>
                  <a:pt x="104" y="471"/>
                  <a:pt x="104" y="471"/>
                  <a:pt x="104" y="471"/>
                </a:cubicBezTo>
                <a:cubicBezTo>
                  <a:pt x="105" y="469"/>
                  <a:pt x="105" y="467"/>
                  <a:pt x="103" y="465"/>
                </a:cubicBezTo>
                <a:cubicBezTo>
                  <a:pt x="102" y="463"/>
                  <a:pt x="100" y="461"/>
                  <a:pt x="98" y="461"/>
                </a:cubicBezTo>
                <a:cubicBezTo>
                  <a:pt x="81" y="459"/>
                  <a:pt x="81" y="459"/>
                  <a:pt x="81" y="459"/>
                </a:cubicBezTo>
                <a:cubicBezTo>
                  <a:pt x="87" y="427"/>
                  <a:pt x="87" y="427"/>
                  <a:pt x="87" y="427"/>
                </a:cubicBezTo>
                <a:cubicBezTo>
                  <a:pt x="88" y="424"/>
                  <a:pt x="86" y="420"/>
                  <a:pt x="83" y="419"/>
                </a:cubicBezTo>
                <a:cubicBezTo>
                  <a:pt x="52" y="409"/>
                  <a:pt x="52" y="409"/>
                  <a:pt x="52" y="409"/>
                </a:cubicBezTo>
                <a:cubicBezTo>
                  <a:pt x="65" y="379"/>
                  <a:pt x="65" y="379"/>
                  <a:pt x="65" y="379"/>
                </a:cubicBezTo>
                <a:cubicBezTo>
                  <a:pt x="66" y="375"/>
                  <a:pt x="65" y="372"/>
                  <a:pt x="62" y="370"/>
                </a:cubicBezTo>
                <a:cubicBezTo>
                  <a:pt x="34" y="353"/>
                  <a:pt x="34" y="353"/>
                  <a:pt x="34" y="353"/>
                </a:cubicBezTo>
                <a:cubicBezTo>
                  <a:pt x="53" y="326"/>
                  <a:pt x="53" y="326"/>
                  <a:pt x="53" y="326"/>
                </a:cubicBezTo>
                <a:cubicBezTo>
                  <a:pt x="55" y="324"/>
                  <a:pt x="54" y="320"/>
                  <a:pt x="52" y="317"/>
                </a:cubicBezTo>
                <a:cubicBezTo>
                  <a:pt x="28" y="295"/>
                  <a:pt x="28" y="295"/>
                  <a:pt x="28" y="295"/>
                </a:cubicBezTo>
                <a:cubicBezTo>
                  <a:pt x="52" y="273"/>
                  <a:pt x="52" y="273"/>
                  <a:pt x="52" y="273"/>
                </a:cubicBezTo>
                <a:cubicBezTo>
                  <a:pt x="54" y="270"/>
                  <a:pt x="55" y="267"/>
                  <a:pt x="53" y="264"/>
                </a:cubicBezTo>
                <a:cubicBezTo>
                  <a:pt x="34" y="237"/>
                  <a:pt x="34" y="237"/>
                  <a:pt x="34" y="237"/>
                </a:cubicBezTo>
                <a:cubicBezTo>
                  <a:pt x="62" y="220"/>
                  <a:pt x="62" y="220"/>
                  <a:pt x="62" y="220"/>
                </a:cubicBezTo>
                <a:cubicBezTo>
                  <a:pt x="65" y="219"/>
                  <a:pt x="66" y="215"/>
                  <a:pt x="65" y="212"/>
                </a:cubicBezTo>
                <a:cubicBezTo>
                  <a:pt x="52" y="182"/>
                  <a:pt x="52" y="182"/>
                  <a:pt x="52" y="182"/>
                </a:cubicBezTo>
                <a:cubicBezTo>
                  <a:pt x="83" y="171"/>
                  <a:pt x="83" y="171"/>
                  <a:pt x="83" y="171"/>
                </a:cubicBezTo>
                <a:cubicBezTo>
                  <a:pt x="86" y="170"/>
                  <a:pt x="88" y="167"/>
                  <a:pt x="87" y="163"/>
                </a:cubicBezTo>
                <a:cubicBezTo>
                  <a:pt x="81" y="131"/>
                  <a:pt x="81" y="131"/>
                  <a:pt x="81" y="131"/>
                </a:cubicBezTo>
                <a:cubicBezTo>
                  <a:pt x="114" y="127"/>
                  <a:pt x="114" y="127"/>
                  <a:pt x="114" y="127"/>
                </a:cubicBezTo>
                <a:cubicBezTo>
                  <a:pt x="117" y="127"/>
                  <a:pt x="120" y="124"/>
                  <a:pt x="120" y="120"/>
                </a:cubicBezTo>
                <a:cubicBezTo>
                  <a:pt x="120" y="88"/>
                  <a:pt x="120" y="88"/>
                  <a:pt x="120" y="88"/>
                </a:cubicBezTo>
                <a:cubicBezTo>
                  <a:pt x="153" y="91"/>
                  <a:pt x="153" y="91"/>
                  <a:pt x="153" y="91"/>
                </a:cubicBezTo>
                <a:cubicBezTo>
                  <a:pt x="156" y="91"/>
                  <a:pt x="159" y="89"/>
                  <a:pt x="160" y="85"/>
                </a:cubicBezTo>
                <a:cubicBezTo>
                  <a:pt x="167" y="53"/>
                  <a:pt x="167" y="53"/>
                  <a:pt x="167" y="53"/>
                </a:cubicBezTo>
                <a:cubicBezTo>
                  <a:pt x="198" y="63"/>
                  <a:pt x="198" y="63"/>
                  <a:pt x="198" y="63"/>
                </a:cubicBezTo>
                <a:cubicBezTo>
                  <a:pt x="202" y="64"/>
                  <a:pt x="205" y="63"/>
                  <a:pt x="207" y="59"/>
                </a:cubicBezTo>
                <a:cubicBezTo>
                  <a:pt x="221" y="30"/>
                  <a:pt x="221" y="30"/>
                  <a:pt x="221" y="30"/>
                </a:cubicBezTo>
                <a:cubicBezTo>
                  <a:pt x="249" y="46"/>
                  <a:pt x="249" y="46"/>
                  <a:pt x="249" y="46"/>
                </a:cubicBezTo>
                <a:cubicBezTo>
                  <a:pt x="252" y="47"/>
                  <a:pt x="256" y="47"/>
                  <a:pt x="258" y="44"/>
                </a:cubicBezTo>
                <a:cubicBezTo>
                  <a:pt x="278" y="18"/>
                  <a:pt x="278" y="18"/>
                  <a:pt x="278" y="18"/>
                </a:cubicBezTo>
                <a:cubicBezTo>
                  <a:pt x="302" y="39"/>
                  <a:pt x="302" y="39"/>
                  <a:pt x="302" y="39"/>
                </a:cubicBezTo>
                <a:cubicBezTo>
                  <a:pt x="305" y="41"/>
                  <a:pt x="309" y="41"/>
                  <a:pt x="311" y="39"/>
                </a:cubicBezTo>
                <a:cubicBezTo>
                  <a:pt x="336" y="18"/>
                  <a:pt x="336" y="18"/>
                  <a:pt x="336" y="18"/>
                </a:cubicBezTo>
                <a:cubicBezTo>
                  <a:pt x="356" y="44"/>
                  <a:pt x="356" y="44"/>
                  <a:pt x="356" y="44"/>
                </a:cubicBezTo>
                <a:cubicBezTo>
                  <a:pt x="358" y="47"/>
                  <a:pt x="361" y="47"/>
                  <a:pt x="365" y="46"/>
                </a:cubicBezTo>
                <a:cubicBezTo>
                  <a:pt x="393" y="30"/>
                  <a:pt x="393" y="30"/>
                  <a:pt x="393" y="30"/>
                </a:cubicBezTo>
                <a:cubicBezTo>
                  <a:pt x="407" y="59"/>
                  <a:pt x="407" y="59"/>
                  <a:pt x="407" y="59"/>
                </a:cubicBezTo>
                <a:cubicBezTo>
                  <a:pt x="408" y="63"/>
                  <a:pt x="412" y="64"/>
                  <a:pt x="415" y="63"/>
                </a:cubicBezTo>
                <a:cubicBezTo>
                  <a:pt x="446" y="53"/>
                  <a:pt x="446" y="53"/>
                  <a:pt x="446" y="53"/>
                </a:cubicBezTo>
                <a:cubicBezTo>
                  <a:pt x="454" y="85"/>
                  <a:pt x="454" y="85"/>
                  <a:pt x="454" y="85"/>
                </a:cubicBezTo>
                <a:cubicBezTo>
                  <a:pt x="454" y="89"/>
                  <a:pt x="457" y="91"/>
                  <a:pt x="461" y="91"/>
                </a:cubicBezTo>
                <a:cubicBezTo>
                  <a:pt x="494" y="88"/>
                  <a:pt x="494" y="88"/>
                  <a:pt x="494" y="88"/>
                </a:cubicBezTo>
                <a:cubicBezTo>
                  <a:pt x="494" y="120"/>
                  <a:pt x="494" y="120"/>
                  <a:pt x="494" y="120"/>
                </a:cubicBezTo>
                <a:cubicBezTo>
                  <a:pt x="494" y="124"/>
                  <a:pt x="497" y="127"/>
                  <a:pt x="500" y="127"/>
                </a:cubicBezTo>
                <a:cubicBezTo>
                  <a:pt x="533" y="131"/>
                  <a:pt x="533" y="131"/>
                  <a:pt x="533" y="131"/>
                </a:cubicBezTo>
                <a:cubicBezTo>
                  <a:pt x="526" y="163"/>
                  <a:pt x="526" y="163"/>
                  <a:pt x="526" y="163"/>
                </a:cubicBezTo>
                <a:cubicBezTo>
                  <a:pt x="526" y="167"/>
                  <a:pt x="527" y="170"/>
                  <a:pt x="531" y="171"/>
                </a:cubicBezTo>
                <a:cubicBezTo>
                  <a:pt x="562" y="182"/>
                  <a:pt x="562" y="182"/>
                  <a:pt x="562" y="182"/>
                </a:cubicBezTo>
                <a:cubicBezTo>
                  <a:pt x="549" y="212"/>
                  <a:pt x="549" y="212"/>
                  <a:pt x="549" y="212"/>
                </a:cubicBezTo>
                <a:cubicBezTo>
                  <a:pt x="547" y="215"/>
                  <a:pt x="549" y="219"/>
                  <a:pt x="552" y="220"/>
                </a:cubicBezTo>
                <a:cubicBezTo>
                  <a:pt x="580" y="237"/>
                  <a:pt x="580" y="237"/>
                  <a:pt x="580" y="237"/>
                </a:cubicBezTo>
                <a:cubicBezTo>
                  <a:pt x="561" y="264"/>
                  <a:pt x="561" y="264"/>
                  <a:pt x="561" y="264"/>
                </a:cubicBezTo>
                <a:cubicBezTo>
                  <a:pt x="559" y="267"/>
                  <a:pt x="559" y="270"/>
                  <a:pt x="562" y="273"/>
                </a:cubicBezTo>
                <a:cubicBezTo>
                  <a:pt x="586" y="295"/>
                  <a:pt x="586" y="295"/>
                  <a:pt x="586" y="295"/>
                </a:cubicBezTo>
                <a:lnTo>
                  <a:pt x="562" y="317"/>
                </a:lnTo>
                <a:close/>
                <a:moveTo>
                  <a:pt x="307" y="116"/>
                </a:moveTo>
                <a:cubicBezTo>
                  <a:pt x="211" y="116"/>
                  <a:pt x="133" y="193"/>
                  <a:pt x="133" y="289"/>
                </a:cubicBezTo>
                <a:cubicBezTo>
                  <a:pt x="133" y="385"/>
                  <a:pt x="211" y="463"/>
                  <a:pt x="307" y="463"/>
                </a:cubicBezTo>
                <a:cubicBezTo>
                  <a:pt x="403" y="463"/>
                  <a:pt x="480" y="385"/>
                  <a:pt x="480" y="289"/>
                </a:cubicBezTo>
                <a:cubicBezTo>
                  <a:pt x="480" y="193"/>
                  <a:pt x="403" y="116"/>
                  <a:pt x="307" y="116"/>
                </a:cubicBezTo>
                <a:close/>
                <a:moveTo>
                  <a:pt x="307" y="449"/>
                </a:moveTo>
                <a:cubicBezTo>
                  <a:pt x="219" y="449"/>
                  <a:pt x="147" y="377"/>
                  <a:pt x="147" y="289"/>
                </a:cubicBezTo>
                <a:cubicBezTo>
                  <a:pt x="147" y="201"/>
                  <a:pt x="219" y="130"/>
                  <a:pt x="307" y="130"/>
                </a:cubicBezTo>
                <a:cubicBezTo>
                  <a:pt x="395" y="130"/>
                  <a:pt x="466" y="201"/>
                  <a:pt x="466" y="289"/>
                </a:cubicBezTo>
                <a:cubicBezTo>
                  <a:pt x="466" y="377"/>
                  <a:pt x="395" y="449"/>
                  <a:pt x="307" y="449"/>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
        <p:nvSpPr>
          <p:cNvPr id="97" name="Freeform 81"/>
          <p:cNvSpPr>
            <a:spLocks noEditPoints="1"/>
          </p:cNvSpPr>
          <p:nvPr/>
        </p:nvSpPr>
        <p:spPr bwMode="auto">
          <a:xfrm>
            <a:off x="10882254" y="2980745"/>
            <a:ext cx="226470" cy="303856"/>
          </a:xfrm>
          <a:custGeom>
            <a:avLst/>
            <a:gdLst>
              <a:gd name="T0" fmla="*/ 596 w 603"/>
              <a:gd name="T1" fmla="*/ 239 h 757"/>
              <a:gd name="T2" fmla="*/ 578 w 603"/>
              <a:gd name="T3" fmla="*/ 180 h 757"/>
              <a:gd name="T4" fmla="*/ 548 w 603"/>
              <a:gd name="T5" fmla="*/ 126 h 757"/>
              <a:gd name="T6" fmla="*/ 507 w 603"/>
              <a:gd name="T7" fmla="*/ 80 h 757"/>
              <a:gd name="T8" fmla="*/ 458 w 603"/>
              <a:gd name="T9" fmla="*/ 43 h 757"/>
              <a:gd name="T10" fmla="*/ 403 w 603"/>
              <a:gd name="T11" fmla="*/ 17 h 757"/>
              <a:gd name="T12" fmla="*/ 343 w 603"/>
              <a:gd name="T13" fmla="*/ 3 h 757"/>
              <a:gd name="T14" fmla="*/ 281 w 603"/>
              <a:gd name="T15" fmla="*/ 2 h 757"/>
              <a:gd name="T16" fmla="*/ 221 w 603"/>
              <a:gd name="T17" fmla="*/ 14 h 757"/>
              <a:gd name="T18" fmla="*/ 164 w 603"/>
              <a:gd name="T19" fmla="*/ 38 h 757"/>
              <a:gd name="T20" fmla="*/ 114 w 603"/>
              <a:gd name="T21" fmla="*/ 73 h 757"/>
              <a:gd name="T22" fmla="*/ 72 w 603"/>
              <a:gd name="T23" fmla="*/ 118 h 757"/>
              <a:gd name="T24" fmla="*/ 40 w 603"/>
              <a:gd name="T25" fmla="*/ 171 h 757"/>
              <a:gd name="T26" fmla="*/ 20 w 603"/>
              <a:gd name="T27" fmla="*/ 229 h 757"/>
              <a:gd name="T28" fmla="*/ 13 w 603"/>
              <a:gd name="T29" fmla="*/ 290 h 757"/>
              <a:gd name="T30" fmla="*/ 18 w 603"/>
              <a:gd name="T31" fmla="*/ 351 h 757"/>
              <a:gd name="T32" fmla="*/ 36 w 603"/>
              <a:gd name="T33" fmla="*/ 410 h 757"/>
              <a:gd name="T34" fmla="*/ 66 w 603"/>
              <a:gd name="T35" fmla="*/ 464 h 757"/>
              <a:gd name="T36" fmla="*/ 1 w 603"/>
              <a:gd name="T37" fmla="*/ 650 h 757"/>
              <a:gd name="T38" fmla="*/ 202 w 603"/>
              <a:gd name="T39" fmla="*/ 755 h 757"/>
              <a:gd name="T40" fmla="*/ 303 w 603"/>
              <a:gd name="T41" fmla="*/ 569 h 757"/>
              <a:gd name="T42" fmla="*/ 381 w 603"/>
              <a:gd name="T43" fmla="*/ 711 h 757"/>
              <a:gd name="T44" fmla="*/ 578 w 603"/>
              <a:gd name="T45" fmla="*/ 622 h 757"/>
              <a:gd name="T46" fmla="*/ 547 w 603"/>
              <a:gd name="T47" fmla="*/ 469 h 757"/>
              <a:gd name="T48" fmla="*/ 578 w 603"/>
              <a:gd name="T49" fmla="*/ 416 h 757"/>
              <a:gd name="T50" fmla="*/ 597 w 603"/>
              <a:gd name="T51" fmla="*/ 357 h 757"/>
              <a:gd name="T52" fmla="*/ 603 w 603"/>
              <a:gd name="T53" fmla="*/ 295 h 757"/>
              <a:gd name="T54" fmla="*/ 552 w 603"/>
              <a:gd name="T55" fmla="*/ 370 h 757"/>
              <a:gd name="T56" fmla="*/ 526 w 603"/>
              <a:gd name="T57" fmla="*/ 427 h 757"/>
              <a:gd name="T58" fmla="*/ 498 w 603"/>
              <a:gd name="T59" fmla="*/ 472 h 757"/>
              <a:gd name="T60" fmla="*/ 383 w 603"/>
              <a:gd name="T61" fmla="*/ 692 h 757"/>
              <a:gd name="T62" fmla="*/ 302 w 603"/>
              <a:gd name="T63" fmla="*/ 551 h 757"/>
              <a:gd name="T64" fmla="*/ 132 w 603"/>
              <a:gd name="T65" fmla="*/ 654 h 757"/>
              <a:gd name="T66" fmla="*/ 103 w 603"/>
              <a:gd name="T67" fmla="*/ 465 h 757"/>
              <a:gd name="T68" fmla="*/ 83 w 603"/>
              <a:gd name="T69" fmla="*/ 419 h 757"/>
              <a:gd name="T70" fmla="*/ 34 w 603"/>
              <a:gd name="T71" fmla="*/ 353 h 757"/>
              <a:gd name="T72" fmla="*/ 52 w 603"/>
              <a:gd name="T73" fmla="*/ 273 h 757"/>
              <a:gd name="T74" fmla="*/ 65 w 603"/>
              <a:gd name="T75" fmla="*/ 212 h 757"/>
              <a:gd name="T76" fmla="*/ 81 w 603"/>
              <a:gd name="T77" fmla="*/ 131 h 757"/>
              <a:gd name="T78" fmla="*/ 153 w 603"/>
              <a:gd name="T79" fmla="*/ 91 h 757"/>
              <a:gd name="T80" fmla="*/ 207 w 603"/>
              <a:gd name="T81" fmla="*/ 59 h 757"/>
              <a:gd name="T82" fmla="*/ 278 w 603"/>
              <a:gd name="T83" fmla="*/ 18 h 757"/>
              <a:gd name="T84" fmla="*/ 356 w 603"/>
              <a:gd name="T85" fmla="*/ 44 h 757"/>
              <a:gd name="T86" fmla="*/ 415 w 603"/>
              <a:gd name="T87" fmla="*/ 63 h 757"/>
              <a:gd name="T88" fmla="*/ 494 w 603"/>
              <a:gd name="T89" fmla="*/ 88 h 757"/>
              <a:gd name="T90" fmla="*/ 526 w 603"/>
              <a:gd name="T91" fmla="*/ 163 h 757"/>
              <a:gd name="T92" fmla="*/ 552 w 603"/>
              <a:gd name="T93" fmla="*/ 220 h 757"/>
              <a:gd name="T94" fmla="*/ 586 w 603"/>
              <a:gd name="T95" fmla="*/ 295 h 757"/>
              <a:gd name="T96" fmla="*/ 307 w 603"/>
              <a:gd name="T97" fmla="*/ 463 h 757"/>
              <a:gd name="T98" fmla="*/ 147 w 603"/>
              <a:gd name="T99" fmla="*/ 28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3" h="757">
                <a:moveTo>
                  <a:pt x="603" y="295"/>
                </a:moveTo>
                <a:cubicBezTo>
                  <a:pt x="603" y="293"/>
                  <a:pt x="602" y="291"/>
                  <a:pt x="601" y="290"/>
                </a:cubicBezTo>
                <a:cubicBezTo>
                  <a:pt x="576" y="267"/>
                  <a:pt x="576" y="267"/>
                  <a:pt x="576" y="267"/>
                </a:cubicBezTo>
                <a:cubicBezTo>
                  <a:pt x="596" y="239"/>
                  <a:pt x="596" y="239"/>
                  <a:pt x="596" y="239"/>
                </a:cubicBezTo>
                <a:cubicBezTo>
                  <a:pt x="597" y="237"/>
                  <a:pt x="597" y="235"/>
                  <a:pt x="597" y="233"/>
                </a:cubicBezTo>
                <a:cubicBezTo>
                  <a:pt x="596" y="232"/>
                  <a:pt x="595" y="230"/>
                  <a:pt x="593" y="229"/>
                </a:cubicBezTo>
                <a:cubicBezTo>
                  <a:pt x="564" y="211"/>
                  <a:pt x="564" y="211"/>
                  <a:pt x="564" y="211"/>
                </a:cubicBezTo>
                <a:cubicBezTo>
                  <a:pt x="578" y="180"/>
                  <a:pt x="578" y="180"/>
                  <a:pt x="578" y="180"/>
                </a:cubicBezTo>
                <a:cubicBezTo>
                  <a:pt x="578" y="178"/>
                  <a:pt x="578" y="176"/>
                  <a:pt x="578" y="175"/>
                </a:cubicBezTo>
                <a:cubicBezTo>
                  <a:pt x="577" y="173"/>
                  <a:pt x="575" y="171"/>
                  <a:pt x="573" y="171"/>
                </a:cubicBezTo>
                <a:cubicBezTo>
                  <a:pt x="541" y="160"/>
                  <a:pt x="541" y="160"/>
                  <a:pt x="541" y="160"/>
                </a:cubicBezTo>
                <a:cubicBezTo>
                  <a:pt x="548" y="126"/>
                  <a:pt x="548" y="126"/>
                  <a:pt x="548" y="126"/>
                </a:cubicBezTo>
                <a:cubicBezTo>
                  <a:pt x="548" y="124"/>
                  <a:pt x="548" y="122"/>
                  <a:pt x="547" y="121"/>
                </a:cubicBezTo>
                <a:cubicBezTo>
                  <a:pt x="545" y="119"/>
                  <a:pt x="544" y="118"/>
                  <a:pt x="542" y="118"/>
                </a:cubicBezTo>
                <a:cubicBezTo>
                  <a:pt x="508" y="114"/>
                  <a:pt x="508" y="114"/>
                  <a:pt x="508" y="114"/>
                </a:cubicBezTo>
                <a:cubicBezTo>
                  <a:pt x="507" y="80"/>
                  <a:pt x="507" y="80"/>
                  <a:pt x="507" y="80"/>
                </a:cubicBezTo>
                <a:cubicBezTo>
                  <a:pt x="507" y="78"/>
                  <a:pt x="507" y="76"/>
                  <a:pt x="505" y="75"/>
                </a:cubicBezTo>
                <a:cubicBezTo>
                  <a:pt x="504" y="73"/>
                  <a:pt x="502" y="73"/>
                  <a:pt x="500" y="73"/>
                </a:cubicBezTo>
                <a:cubicBezTo>
                  <a:pt x="466" y="76"/>
                  <a:pt x="466" y="76"/>
                  <a:pt x="466" y="76"/>
                </a:cubicBezTo>
                <a:cubicBezTo>
                  <a:pt x="458" y="43"/>
                  <a:pt x="458" y="43"/>
                  <a:pt x="458" y="43"/>
                </a:cubicBezTo>
                <a:cubicBezTo>
                  <a:pt x="458" y="41"/>
                  <a:pt x="457" y="39"/>
                  <a:pt x="455" y="38"/>
                </a:cubicBezTo>
                <a:cubicBezTo>
                  <a:pt x="453" y="37"/>
                  <a:pt x="451" y="37"/>
                  <a:pt x="449" y="38"/>
                </a:cubicBezTo>
                <a:cubicBezTo>
                  <a:pt x="417" y="48"/>
                  <a:pt x="417" y="48"/>
                  <a:pt x="417" y="48"/>
                </a:cubicBezTo>
                <a:cubicBezTo>
                  <a:pt x="403" y="17"/>
                  <a:pt x="403" y="17"/>
                  <a:pt x="403" y="17"/>
                </a:cubicBezTo>
                <a:cubicBezTo>
                  <a:pt x="402" y="15"/>
                  <a:pt x="400" y="14"/>
                  <a:pt x="398" y="13"/>
                </a:cubicBezTo>
                <a:cubicBezTo>
                  <a:pt x="397" y="13"/>
                  <a:pt x="395" y="13"/>
                  <a:pt x="393" y="14"/>
                </a:cubicBezTo>
                <a:cubicBezTo>
                  <a:pt x="363" y="30"/>
                  <a:pt x="363" y="30"/>
                  <a:pt x="363" y="30"/>
                </a:cubicBezTo>
                <a:cubicBezTo>
                  <a:pt x="343" y="3"/>
                  <a:pt x="343" y="3"/>
                  <a:pt x="343" y="3"/>
                </a:cubicBezTo>
                <a:cubicBezTo>
                  <a:pt x="342" y="2"/>
                  <a:pt x="340" y="0"/>
                  <a:pt x="338" y="0"/>
                </a:cubicBezTo>
                <a:cubicBezTo>
                  <a:pt x="336" y="0"/>
                  <a:pt x="334" y="1"/>
                  <a:pt x="332" y="2"/>
                </a:cubicBezTo>
                <a:cubicBezTo>
                  <a:pt x="307" y="24"/>
                  <a:pt x="307" y="24"/>
                  <a:pt x="307" y="24"/>
                </a:cubicBezTo>
                <a:cubicBezTo>
                  <a:pt x="281" y="2"/>
                  <a:pt x="281" y="2"/>
                  <a:pt x="281" y="2"/>
                </a:cubicBezTo>
                <a:cubicBezTo>
                  <a:pt x="280" y="1"/>
                  <a:pt x="278" y="0"/>
                  <a:pt x="276" y="0"/>
                </a:cubicBezTo>
                <a:cubicBezTo>
                  <a:pt x="274" y="0"/>
                  <a:pt x="272" y="2"/>
                  <a:pt x="271" y="3"/>
                </a:cubicBezTo>
                <a:cubicBezTo>
                  <a:pt x="251" y="30"/>
                  <a:pt x="251" y="30"/>
                  <a:pt x="251" y="30"/>
                </a:cubicBezTo>
                <a:cubicBezTo>
                  <a:pt x="221" y="14"/>
                  <a:pt x="221" y="14"/>
                  <a:pt x="221" y="14"/>
                </a:cubicBezTo>
                <a:cubicBezTo>
                  <a:pt x="219" y="13"/>
                  <a:pt x="217" y="13"/>
                  <a:pt x="215" y="13"/>
                </a:cubicBezTo>
                <a:cubicBezTo>
                  <a:pt x="213" y="14"/>
                  <a:pt x="212" y="15"/>
                  <a:pt x="211" y="17"/>
                </a:cubicBezTo>
                <a:cubicBezTo>
                  <a:pt x="197" y="48"/>
                  <a:pt x="197" y="48"/>
                  <a:pt x="197" y="48"/>
                </a:cubicBezTo>
                <a:cubicBezTo>
                  <a:pt x="164" y="38"/>
                  <a:pt x="164" y="38"/>
                  <a:pt x="164" y="38"/>
                </a:cubicBezTo>
                <a:cubicBezTo>
                  <a:pt x="162" y="37"/>
                  <a:pt x="160" y="37"/>
                  <a:pt x="159" y="38"/>
                </a:cubicBezTo>
                <a:cubicBezTo>
                  <a:pt x="157" y="39"/>
                  <a:pt x="156" y="41"/>
                  <a:pt x="155" y="43"/>
                </a:cubicBezTo>
                <a:cubicBezTo>
                  <a:pt x="148" y="76"/>
                  <a:pt x="148" y="76"/>
                  <a:pt x="148" y="76"/>
                </a:cubicBezTo>
                <a:cubicBezTo>
                  <a:pt x="114" y="73"/>
                  <a:pt x="114" y="73"/>
                  <a:pt x="114" y="73"/>
                </a:cubicBezTo>
                <a:cubicBezTo>
                  <a:pt x="112" y="73"/>
                  <a:pt x="110" y="73"/>
                  <a:pt x="109" y="75"/>
                </a:cubicBezTo>
                <a:cubicBezTo>
                  <a:pt x="107" y="76"/>
                  <a:pt x="106" y="78"/>
                  <a:pt x="106" y="80"/>
                </a:cubicBezTo>
                <a:cubicBezTo>
                  <a:pt x="106" y="114"/>
                  <a:pt x="106" y="114"/>
                  <a:pt x="106" y="114"/>
                </a:cubicBezTo>
                <a:cubicBezTo>
                  <a:pt x="72" y="118"/>
                  <a:pt x="72" y="118"/>
                  <a:pt x="72" y="118"/>
                </a:cubicBezTo>
                <a:cubicBezTo>
                  <a:pt x="70" y="118"/>
                  <a:pt x="68" y="119"/>
                  <a:pt x="67" y="121"/>
                </a:cubicBezTo>
                <a:cubicBezTo>
                  <a:pt x="66" y="122"/>
                  <a:pt x="65" y="124"/>
                  <a:pt x="66" y="126"/>
                </a:cubicBezTo>
                <a:cubicBezTo>
                  <a:pt x="73" y="160"/>
                  <a:pt x="73" y="160"/>
                  <a:pt x="73" y="160"/>
                </a:cubicBezTo>
                <a:cubicBezTo>
                  <a:pt x="40" y="171"/>
                  <a:pt x="40" y="171"/>
                  <a:pt x="40" y="171"/>
                </a:cubicBezTo>
                <a:cubicBezTo>
                  <a:pt x="38" y="171"/>
                  <a:pt x="37" y="173"/>
                  <a:pt x="36" y="175"/>
                </a:cubicBezTo>
                <a:cubicBezTo>
                  <a:pt x="35" y="176"/>
                  <a:pt x="35" y="178"/>
                  <a:pt x="36" y="180"/>
                </a:cubicBezTo>
                <a:cubicBezTo>
                  <a:pt x="50" y="211"/>
                  <a:pt x="50" y="211"/>
                  <a:pt x="50" y="211"/>
                </a:cubicBezTo>
                <a:cubicBezTo>
                  <a:pt x="20" y="229"/>
                  <a:pt x="20" y="229"/>
                  <a:pt x="20" y="229"/>
                </a:cubicBezTo>
                <a:cubicBezTo>
                  <a:pt x="19" y="230"/>
                  <a:pt x="17" y="232"/>
                  <a:pt x="17" y="233"/>
                </a:cubicBezTo>
                <a:cubicBezTo>
                  <a:pt x="17" y="235"/>
                  <a:pt x="17" y="237"/>
                  <a:pt x="18" y="239"/>
                </a:cubicBezTo>
                <a:cubicBezTo>
                  <a:pt x="38" y="267"/>
                  <a:pt x="38" y="267"/>
                  <a:pt x="38" y="267"/>
                </a:cubicBezTo>
                <a:cubicBezTo>
                  <a:pt x="13" y="290"/>
                  <a:pt x="13" y="290"/>
                  <a:pt x="13" y="290"/>
                </a:cubicBezTo>
                <a:cubicBezTo>
                  <a:pt x="11" y="291"/>
                  <a:pt x="10" y="293"/>
                  <a:pt x="10" y="295"/>
                </a:cubicBezTo>
                <a:cubicBezTo>
                  <a:pt x="10" y="297"/>
                  <a:pt x="11" y="299"/>
                  <a:pt x="13" y="300"/>
                </a:cubicBezTo>
                <a:cubicBezTo>
                  <a:pt x="38" y="323"/>
                  <a:pt x="38" y="323"/>
                  <a:pt x="38" y="323"/>
                </a:cubicBezTo>
                <a:cubicBezTo>
                  <a:pt x="18" y="351"/>
                  <a:pt x="18" y="351"/>
                  <a:pt x="18" y="351"/>
                </a:cubicBezTo>
                <a:cubicBezTo>
                  <a:pt x="17" y="353"/>
                  <a:pt x="17" y="355"/>
                  <a:pt x="17" y="357"/>
                </a:cubicBezTo>
                <a:cubicBezTo>
                  <a:pt x="17" y="359"/>
                  <a:pt x="19" y="360"/>
                  <a:pt x="20" y="361"/>
                </a:cubicBezTo>
                <a:cubicBezTo>
                  <a:pt x="50" y="379"/>
                  <a:pt x="50" y="379"/>
                  <a:pt x="50" y="379"/>
                </a:cubicBezTo>
                <a:cubicBezTo>
                  <a:pt x="36" y="410"/>
                  <a:pt x="36" y="410"/>
                  <a:pt x="36" y="410"/>
                </a:cubicBezTo>
                <a:cubicBezTo>
                  <a:pt x="35" y="412"/>
                  <a:pt x="35" y="414"/>
                  <a:pt x="36" y="416"/>
                </a:cubicBezTo>
                <a:cubicBezTo>
                  <a:pt x="37" y="417"/>
                  <a:pt x="38" y="419"/>
                  <a:pt x="40" y="419"/>
                </a:cubicBezTo>
                <a:cubicBezTo>
                  <a:pt x="73" y="430"/>
                  <a:pt x="73" y="430"/>
                  <a:pt x="73" y="430"/>
                </a:cubicBezTo>
                <a:cubicBezTo>
                  <a:pt x="66" y="464"/>
                  <a:pt x="66" y="464"/>
                  <a:pt x="66" y="464"/>
                </a:cubicBezTo>
                <a:cubicBezTo>
                  <a:pt x="65" y="466"/>
                  <a:pt x="66" y="468"/>
                  <a:pt x="67" y="469"/>
                </a:cubicBezTo>
                <a:cubicBezTo>
                  <a:pt x="68" y="471"/>
                  <a:pt x="70" y="472"/>
                  <a:pt x="72" y="472"/>
                </a:cubicBezTo>
                <a:cubicBezTo>
                  <a:pt x="87" y="474"/>
                  <a:pt x="87" y="474"/>
                  <a:pt x="87" y="474"/>
                </a:cubicBezTo>
                <a:cubicBezTo>
                  <a:pt x="1" y="650"/>
                  <a:pt x="1" y="650"/>
                  <a:pt x="1" y="650"/>
                </a:cubicBezTo>
                <a:cubicBezTo>
                  <a:pt x="0" y="652"/>
                  <a:pt x="0" y="654"/>
                  <a:pt x="1" y="656"/>
                </a:cubicBezTo>
                <a:cubicBezTo>
                  <a:pt x="3" y="658"/>
                  <a:pt x="5" y="660"/>
                  <a:pt x="7" y="660"/>
                </a:cubicBezTo>
                <a:cubicBezTo>
                  <a:pt x="124" y="665"/>
                  <a:pt x="124" y="665"/>
                  <a:pt x="124" y="665"/>
                </a:cubicBezTo>
                <a:cubicBezTo>
                  <a:pt x="202" y="755"/>
                  <a:pt x="202" y="755"/>
                  <a:pt x="202" y="755"/>
                </a:cubicBezTo>
                <a:cubicBezTo>
                  <a:pt x="203" y="756"/>
                  <a:pt x="205" y="757"/>
                  <a:pt x="207" y="757"/>
                </a:cubicBezTo>
                <a:cubicBezTo>
                  <a:pt x="208" y="757"/>
                  <a:pt x="208" y="757"/>
                  <a:pt x="208" y="757"/>
                </a:cubicBezTo>
                <a:cubicBezTo>
                  <a:pt x="211" y="757"/>
                  <a:pt x="213" y="755"/>
                  <a:pt x="214" y="753"/>
                </a:cubicBezTo>
                <a:cubicBezTo>
                  <a:pt x="303" y="569"/>
                  <a:pt x="303" y="569"/>
                  <a:pt x="303" y="569"/>
                </a:cubicBezTo>
                <a:cubicBezTo>
                  <a:pt x="307" y="566"/>
                  <a:pt x="307" y="566"/>
                  <a:pt x="307" y="566"/>
                </a:cubicBezTo>
                <a:cubicBezTo>
                  <a:pt x="314" y="572"/>
                  <a:pt x="314" y="572"/>
                  <a:pt x="314" y="572"/>
                </a:cubicBezTo>
                <a:cubicBezTo>
                  <a:pt x="375" y="707"/>
                  <a:pt x="375" y="707"/>
                  <a:pt x="375" y="707"/>
                </a:cubicBezTo>
                <a:cubicBezTo>
                  <a:pt x="376" y="709"/>
                  <a:pt x="378" y="711"/>
                  <a:pt x="381" y="711"/>
                </a:cubicBezTo>
                <a:cubicBezTo>
                  <a:pt x="383" y="712"/>
                  <a:pt x="385" y="711"/>
                  <a:pt x="387" y="709"/>
                </a:cubicBezTo>
                <a:cubicBezTo>
                  <a:pt x="459" y="626"/>
                  <a:pt x="459" y="626"/>
                  <a:pt x="459" y="626"/>
                </a:cubicBezTo>
                <a:cubicBezTo>
                  <a:pt x="572" y="625"/>
                  <a:pt x="572" y="625"/>
                  <a:pt x="572" y="625"/>
                </a:cubicBezTo>
                <a:cubicBezTo>
                  <a:pt x="574" y="625"/>
                  <a:pt x="576" y="624"/>
                  <a:pt x="578" y="622"/>
                </a:cubicBezTo>
                <a:cubicBezTo>
                  <a:pt x="579" y="620"/>
                  <a:pt x="579" y="617"/>
                  <a:pt x="578" y="615"/>
                </a:cubicBezTo>
                <a:cubicBezTo>
                  <a:pt x="515" y="475"/>
                  <a:pt x="515" y="475"/>
                  <a:pt x="515" y="475"/>
                </a:cubicBezTo>
                <a:cubicBezTo>
                  <a:pt x="542" y="472"/>
                  <a:pt x="542" y="472"/>
                  <a:pt x="542" y="472"/>
                </a:cubicBezTo>
                <a:cubicBezTo>
                  <a:pt x="544" y="472"/>
                  <a:pt x="545" y="471"/>
                  <a:pt x="547" y="469"/>
                </a:cubicBezTo>
                <a:cubicBezTo>
                  <a:pt x="548" y="468"/>
                  <a:pt x="548" y="466"/>
                  <a:pt x="548" y="464"/>
                </a:cubicBezTo>
                <a:cubicBezTo>
                  <a:pt x="541" y="430"/>
                  <a:pt x="541" y="430"/>
                  <a:pt x="541" y="430"/>
                </a:cubicBezTo>
                <a:cubicBezTo>
                  <a:pt x="573" y="419"/>
                  <a:pt x="573" y="419"/>
                  <a:pt x="573" y="419"/>
                </a:cubicBezTo>
                <a:cubicBezTo>
                  <a:pt x="575" y="419"/>
                  <a:pt x="577" y="417"/>
                  <a:pt x="578" y="416"/>
                </a:cubicBezTo>
                <a:cubicBezTo>
                  <a:pt x="578" y="414"/>
                  <a:pt x="578" y="412"/>
                  <a:pt x="578" y="410"/>
                </a:cubicBezTo>
                <a:cubicBezTo>
                  <a:pt x="564" y="379"/>
                  <a:pt x="564" y="379"/>
                  <a:pt x="564" y="379"/>
                </a:cubicBezTo>
                <a:cubicBezTo>
                  <a:pt x="593" y="361"/>
                  <a:pt x="593" y="361"/>
                  <a:pt x="593" y="361"/>
                </a:cubicBezTo>
                <a:cubicBezTo>
                  <a:pt x="595" y="360"/>
                  <a:pt x="596" y="359"/>
                  <a:pt x="597" y="357"/>
                </a:cubicBezTo>
                <a:cubicBezTo>
                  <a:pt x="597" y="355"/>
                  <a:pt x="597" y="353"/>
                  <a:pt x="596" y="351"/>
                </a:cubicBezTo>
                <a:cubicBezTo>
                  <a:pt x="576" y="323"/>
                  <a:pt x="576" y="323"/>
                  <a:pt x="576" y="323"/>
                </a:cubicBezTo>
                <a:cubicBezTo>
                  <a:pt x="601" y="300"/>
                  <a:pt x="601" y="300"/>
                  <a:pt x="601" y="300"/>
                </a:cubicBezTo>
                <a:cubicBezTo>
                  <a:pt x="602" y="299"/>
                  <a:pt x="603" y="297"/>
                  <a:pt x="603" y="295"/>
                </a:cubicBezTo>
                <a:close/>
                <a:moveTo>
                  <a:pt x="562" y="317"/>
                </a:moveTo>
                <a:cubicBezTo>
                  <a:pt x="559" y="320"/>
                  <a:pt x="559" y="324"/>
                  <a:pt x="561" y="326"/>
                </a:cubicBezTo>
                <a:cubicBezTo>
                  <a:pt x="580" y="353"/>
                  <a:pt x="580" y="353"/>
                  <a:pt x="580" y="353"/>
                </a:cubicBezTo>
                <a:cubicBezTo>
                  <a:pt x="552" y="370"/>
                  <a:pt x="552" y="370"/>
                  <a:pt x="552" y="370"/>
                </a:cubicBezTo>
                <a:cubicBezTo>
                  <a:pt x="549" y="372"/>
                  <a:pt x="547" y="375"/>
                  <a:pt x="549" y="379"/>
                </a:cubicBezTo>
                <a:cubicBezTo>
                  <a:pt x="562" y="409"/>
                  <a:pt x="562" y="409"/>
                  <a:pt x="562" y="409"/>
                </a:cubicBezTo>
                <a:cubicBezTo>
                  <a:pt x="531" y="419"/>
                  <a:pt x="531" y="419"/>
                  <a:pt x="531" y="419"/>
                </a:cubicBezTo>
                <a:cubicBezTo>
                  <a:pt x="527" y="420"/>
                  <a:pt x="526" y="424"/>
                  <a:pt x="526" y="427"/>
                </a:cubicBezTo>
                <a:cubicBezTo>
                  <a:pt x="533" y="459"/>
                  <a:pt x="533" y="459"/>
                  <a:pt x="533" y="459"/>
                </a:cubicBezTo>
                <a:cubicBezTo>
                  <a:pt x="504" y="462"/>
                  <a:pt x="504" y="462"/>
                  <a:pt x="504" y="462"/>
                </a:cubicBezTo>
                <a:cubicBezTo>
                  <a:pt x="501" y="463"/>
                  <a:pt x="499" y="464"/>
                  <a:pt x="498" y="466"/>
                </a:cubicBezTo>
                <a:cubicBezTo>
                  <a:pt x="497" y="468"/>
                  <a:pt x="497" y="470"/>
                  <a:pt x="498" y="472"/>
                </a:cubicBezTo>
                <a:cubicBezTo>
                  <a:pt x="561" y="611"/>
                  <a:pt x="561" y="611"/>
                  <a:pt x="561" y="611"/>
                </a:cubicBezTo>
                <a:cubicBezTo>
                  <a:pt x="456" y="612"/>
                  <a:pt x="456" y="612"/>
                  <a:pt x="456" y="612"/>
                </a:cubicBezTo>
                <a:cubicBezTo>
                  <a:pt x="454" y="612"/>
                  <a:pt x="452" y="612"/>
                  <a:pt x="451" y="614"/>
                </a:cubicBezTo>
                <a:cubicBezTo>
                  <a:pt x="383" y="692"/>
                  <a:pt x="383" y="692"/>
                  <a:pt x="383" y="692"/>
                </a:cubicBezTo>
                <a:cubicBezTo>
                  <a:pt x="326" y="564"/>
                  <a:pt x="326" y="564"/>
                  <a:pt x="326" y="564"/>
                </a:cubicBezTo>
                <a:cubicBezTo>
                  <a:pt x="325" y="563"/>
                  <a:pt x="325" y="563"/>
                  <a:pt x="324" y="562"/>
                </a:cubicBezTo>
                <a:cubicBezTo>
                  <a:pt x="311" y="551"/>
                  <a:pt x="311" y="551"/>
                  <a:pt x="311" y="551"/>
                </a:cubicBezTo>
                <a:cubicBezTo>
                  <a:pt x="309" y="549"/>
                  <a:pt x="305" y="549"/>
                  <a:pt x="302" y="551"/>
                </a:cubicBezTo>
                <a:cubicBezTo>
                  <a:pt x="293" y="559"/>
                  <a:pt x="293" y="559"/>
                  <a:pt x="293" y="559"/>
                </a:cubicBezTo>
                <a:cubicBezTo>
                  <a:pt x="292" y="560"/>
                  <a:pt x="292" y="561"/>
                  <a:pt x="291" y="561"/>
                </a:cubicBezTo>
                <a:cubicBezTo>
                  <a:pt x="206" y="737"/>
                  <a:pt x="206" y="737"/>
                  <a:pt x="206" y="737"/>
                </a:cubicBezTo>
                <a:cubicBezTo>
                  <a:pt x="132" y="654"/>
                  <a:pt x="132" y="654"/>
                  <a:pt x="132" y="654"/>
                </a:cubicBezTo>
                <a:cubicBezTo>
                  <a:pt x="131" y="652"/>
                  <a:pt x="129" y="651"/>
                  <a:pt x="127" y="651"/>
                </a:cubicBezTo>
                <a:cubicBezTo>
                  <a:pt x="18" y="646"/>
                  <a:pt x="18" y="646"/>
                  <a:pt x="18" y="646"/>
                </a:cubicBezTo>
                <a:cubicBezTo>
                  <a:pt x="104" y="471"/>
                  <a:pt x="104" y="471"/>
                  <a:pt x="104" y="471"/>
                </a:cubicBezTo>
                <a:cubicBezTo>
                  <a:pt x="105" y="469"/>
                  <a:pt x="105" y="467"/>
                  <a:pt x="103" y="465"/>
                </a:cubicBezTo>
                <a:cubicBezTo>
                  <a:pt x="102" y="463"/>
                  <a:pt x="100" y="461"/>
                  <a:pt x="98" y="461"/>
                </a:cubicBezTo>
                <a:cubicBezTo>
                  <a:pt x="81" y="459"/>
                  <a:pt x="81" y="459"/>
                  <a:pt x="81" y="459"/>
                </a:cubicBezTo>
                <a:cubicBezTo>
                  <a:pt x="87" y="427"/>
                  <a:pt x="87" y="427"/>
                  <a:pt x="87" y="427"/>
                </a:cubicBezTo>
                <a:cubicBezTo>
                  <a:pt x="88" y="424"/>
                  <a:pt x="86" y="420"/>
                  <a:pt x="83" y="419"/>
                </a:cubicBezTo>
                <a:cubicBezTo>
                  <a:pt x="52" y="409"/>
                  <a:pt x="52" y="409"/>
                  <a:pt x="52" y="409"/>
                </a:cubicBezTo>
                <a:cubicBezTo>
                  <a:pt x="65" y="379"/>
                  <a:pt x="65" y="379"/>
                  <a:pt x="65" y="379"/>
                </a:cubicBezTo>
                <a:cubicBezTo>
                  <a:pt x="66" y="375"/>
                  <a:pt x="65" y="372"/>
                  <a:pt x="62" y="370"/>
                </a:cubicBezTo>
                <a:cubicBezTo>
                  <a:pt x="34" y="353"/>
                  <a:pt x="34" y="353"/>
                  <a:pt x="34" y="353"/>
                </a:cubicBezTo>
                <a:cubicBezTo>
                  <a:pt x="53" y="326"/>
                  <a:pt x="53" y="326"/>
                  <a:pt x="53" y="326"/>
                </a:cubicBezTo>
                <a:cubicBezTo>
                  <a:pt x="55" y="324"/>
                  <a:pt x="54" y="320"/>
                  <a:pt x="52" y="317"/>
                </a:cubicBezTo>
                <a:cubicBezTo>
                  <a:pt x="28" y="295"/>
                  <a:pt x="28" y="295"/>
                  <a:pt x="28" y="295"/>
                </a:cubicBezTo>
                <a:cubicBezTo>
                  <a:pt x="52" y="273"/>
                  <a:pt x="52" y="273"/>
                  <a:pt x="52" y="273"/>
                </a:cubicBezTo>
                <a:cubicBezTo>
                  <a:pt x="54" y="270"/>
                  <a:pt x="55" y="267"/>
                  <a:pt x="53" y="264"/>
                </a:cubicBezTo>
                <a:cubicBezTo>
                  <a:pt x="34" y="237"/>
                  <a:pt x="34" y="237"/>
                  <a:pt x="34" y="237"/>
                </a:cubicBezTo>
                <a:cubicBezTo>
                  <a:pt x="62" y="220"/>
                  <a:pt x="62" y="220"/>
                  <a:pt x="62" y="220"/>
                </a:cubicBezTo>
                <a:cubicBezTo>
                  <a:pt x="65" y="219"/>
                  <a:pt x="66" y="215"/>
                  <a:pt x="65" y="212"/>
                </a:cubicBezTo>
                <a:cubicBezTo>
                  <a:pt x="52" y="182"/>
                  <a:pt x="52" y="182"/>
                  <a:pt x="52" y="182"/>
                </a:cubicBezTo>
                <a:cubicBezTo>
                  <a:pt x="83" y="171"/>
                  <a:pt x="83" y="171"/>
                  <a:pt x="83" y="171"/>
                </a:cubicBezTo>
                <a:cubicBezTo>
                  <a:pt x="86" y="170"/>
                  <a:pt x="88" y="167"/>
                  <a:pt x="87" y="163"/>
                </a:cubicBezTo>
                <a:cubicBezTo>
                  <a:pt x="81" y="131"/>
                  <a:pt x="81" y="131"/>
                  <a:pt x="81" y="131"/>
                </a:cubicBezTo>
                <a:cubicBezTo>
                  <a:pt x="114" y="127"/>
                  <a:pt x="114" y="127"/>
                  <a:pt x="114" y="127"/>
                </a:cubicBezTo>
                <a:cubicBezTo>
                  <a:pt x="117" y="127"/>
                  <a:pt x="120" y="124"/>
                  <a:pt x="120" y="120"/>
                </a:cubicBezTo>
                <a:cubicBezTo>
                  <a:pt x="120" y="88"/>
                  <a:pt x="120" y="88"/>
                  <a:pt x="120" y="88"/>
                </a:cubicBezTo>
                <a:cubicBezTo>
                  <a:pt x="153" y="91"/>
                  <a:pt x="153" y="91"/>
                  <a:pt x="153" y="91"/>
                </a:cubicBezTo>
                <a:cubicBezTo>
                  <a:pt x="156" y="91"/>
                  <a:pt x="159" y="89"/>
                  <a:pt x="160" y="85"/>
                </a:cubicBezTo>
                <a:cubicBezTo>
                  <a:pt x="167" y="53"/>
                  <a:pt x="167" y="53"/>
                  <a:pt x="167" y="53"/>
                </a:cubicBezTo>
                <a:cubicBezTo>
                  <a:pt x="198" y="63"/>
                  <a:pt x="198" y="63"/>
                  <a:pt x="198" y="63"/>
                </a:cubicBezTo>
                <a:cubicBezTo>
                  <a:pt x="202" y="64"/>
                  <a:pt x="205" y="63"/>
                  <a:pt x="207" y="59"/>
                </a:cubicBezTo>
                <a:cubicBezTo>
                  <a:pt x="221" y="30"/>
                  <a:pt x="221" y="30"/>
                  <a:pt x="221" y="30"/>
                </a:cubicBezTo>
                <a:cubicBezTo>
                  <a:pt x="249" y="46"/>
                  <a:pt x="249" y="46"/>
                  <a:pt x="249" y="46"/>
                </a:cubicBezTo>
                <a:cubicBezTo>
                  <a:pt x="252" y="47"/>
                  <a:pt x="256" y="47"/>
                  <a:pt x="258" y="44"/>
                </a:cubicBezTo>
                <a:cubicBezTo>
                  <a:pt x="278" y="18"/>
                  <a:pt x="278" y="18"/>
                  <a:pt x="278" y="18"/>
                </a:cubicBezTo>
                <a:cubicBezTo>
                  <a:pt x="302" y="39"/>
                  <a:pt x="302" y="39"/>
                  <a:pt x="302" y="39"/>
                </a:cubicBezTo>
                <a:cubicBezTo>
                  <a:pt x="305" y="41"/>
                  <a:pt x="309" y="41"/>
                  <a:pt x="311" y="39"/>
                </a:cubicBezTo>
                <a:cubicBezTo>
                  <a:pt x="336" y="18"/>
                  <a:pt x="336" y="18"/>
                  <a:pt x="336" y="18"/>
                </a:cubicBezTo>
                <a:cubicBezTo>
                  <a:pt x="356" y="44"/>
                  <a:pt x="356" y="44"/>
                  <a:pt x="356" y="44"/>
                </a:cubicBezTo>
                <a:cubicBezTo>
                  <a:pt x="358" y="47"/>
                  <a:pt x="361" y="47"/>
                  <a:pt x="365" y="46"/>
                </a:cubicBezTo>
                <a:cubicBezTo>
                  <a:pt x="393" y="30"/>
                  <a:pt x="393" y="30"/>
                  <a:pt x="393" y="30"/>
                </a:cubicBezTo>
                <a:cubicBezTo>
                  <a:pt x="407" y="59"/>
                  <a:pt x="407" y="59"/>
                  <a:pt x="407" y="59"/>
                </a:cubicBezTo>
                <a:cubicBezTo>
                  <a:pt x="408" y="63"/>
                  <a:pt x="412" y="64"/>
                  <a:pt x="415" y="63"/>
                </a:cubicBezTo>
                <a:cubicBezTo>
                  <a:pt x="446" y="53"/>
                  <a:pt x="446" y="53"/>
                  <a:pt x="446" y="53"/>
                </a:cubicBezTo>
                <a:cubicBezTo>
                  <a:pt x="454" y="85"/>
                  <a:pt x="454" y="85"/>
                  <a:pt x="454" y="85"/>
                </a:cubicBezTo>
                <a:cubicBezTo>
                  <a:pt x="454" y="89"/>
                  <a:pt x="457" y="91"/>
                  <a:pt x="461" y="91"/>
                </a:cubicBezTo>
                <a:cubicBezTo>
                  <a:pt x="494" y="88"/>
                  <a:pt x="494" y="88"/>
                  <a:pt x="494" y="88"/>
                </a:cubicBezTo>
                <a:cubicBezTo>
                  <a:pt x="494" y="120"/>
                  <a:pt x="494" y="120"/>
                  <a:pt x="494" y="120"/>
                </a:cubicBezTo>
                <a:cubicBezTo>
                  <a:pt x="494" y="124"/>
                  <a:pt x="497" y="127"/>
                  <a:pt x="500" y="127"/>
                </a:cubicBezTo>
                <a:cubicBezTo>
                  <a:pt x="533" y="131"/>
                  <a:pt x="533" y="131"/>
                  <a:pt x="533" y="131"/>
                </a:cubicBezTo>
                <a:cubicBezTo>
                  <a:pt x="526" y="163"/>
                  <a:pt x="526" y="163"/>
                  <a:pt x="526" y="163"/>
                </a:cubicBezTo>
                <a:cubicBezTo>
                  <a:pt x="526" y="167"/>
                  <a:pt x="527" y="170"/>
                  <a:pt x="531" y="171"/>
                </a:cubicBezTo>
                <a:cubicBezTo>
                  <a:pt x="562" y="182"/>
                  <a:pt x="562" y="182"/>
                  <a:pt x="562" y="182"/>
                </a:cubicBezTo>
                <a:cubicBezTo>
                  <a:pt x="549" y="212"/>
                  <a:pt x="549" y="212"/>
                  <a:pt x="549" y="212"/>
                </a:cubicBezTo>
                <a:cubicBezTo>
                  <a:pt x="547" y="215"/>
                  <a:pt x="549" y="219"/>
                  <a:pt x="552" y="220"/>
                </a:cubicBezTo>
                <a:cubicBezTo>
                  <a:pt x="580" y="237"/>
                  <a:pt x="580" y="237"/>
                  <a:pt x="580" y="237"/>
                </a:cubicBezTo>
                <a:cubicBezTo>
                  <a:pt x="561" y="264"/>
                  <a:pt x="561" y="264"/>
                  <a:pt x="561" y="264"/>
                </a:cubicBezTo>
                <a:cubicBezTo>
                  <a:pt x="559" y="267"/>
                  <a:pt x="559" y="270"/>
                  <a:pt x="562" y="273"/>
                </a:cubicBezTo>
                <a:cubicBezTo>
                  <a:pt x="586" y="295"/>
                  <a:pt x="586" y="295"/>
                  <a:pt x="586" y="295"/>
                </a:cubicBezTo>
                <a:lnTo>
                  <a:pt x="562" y="317"/>
                </a:lnTo>
                <a:close/>
                <a:moveTo>
                  <a:pt x="307" y="116"/>
                </a:moveTo>
                <a:cubicBezTo>
                  <a:pt x="211" y="116"/>
                  <a:pt x="133" y="193"/>
                  <a:pt x="133" y="289"/>
                </a:cubicBezTo>
                <a:cubicBezTo>
                  <a:pt x="133" y="385"/>
                  <a:pt x="211" y="463"/>
                  <a:pt x="307" y="463"/>
                </a:cubicBezTo>
                <a:cubicBezTo>
                  <a:pt x="403" y="463"/>
                  <a:pt x="480" y="385"/>
                  <a:pt x="480" y="289"/>
                </a:cubicBezTo>
                <a:cubicBezTo>
                  <a:pt x="480" y="193"/>
                  <a:pt x="403" y="116"/>
                  <a:pt x="307" y="116"/>
                </a:cubicBezTo>
                <a:close/>
                <a:moveTo>
                  <a:pt x="307" y="449"/>
                </a:moveTo>
                <a:cubicBezTo>
                  <a:pt x="219" y="449"/>
                  <a:pt x="147" y="377"/>
                  <a:pt x="147" y="289"/>
                </a:cubicBezTo>
                <a:cubicBezTo>
                  <a:pt x="147" y="201"/>
                  <a:pt x="219" y="130"/>
                  <a:pt x="307" y="130"/>
                </a:cubicBezTo>
                <a:cubicBezTo>
                  <a:pt x="395" y="130"/>
                  <a:pt x="466" y="201"/>
                  <a:pt x="466" y="289"/>
                </a:cubicBezTo>
                <a:cubicBezTo>
                  <a:pt x="466" y="377"/>
                  <a:pt x="395" y="449"/>
                  <a:pt x="307" y="449"/>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dirty="0">
              <a:latin typeface="EYInterstate Light" panose="02000506000000020004" pitchFamily="2" charset="0"/>
            </a:endParaRPr>
          </a:p>
        </p:txBody>
      </p:sp>
    </p:spTree>
    <p:extLst>
      <p:ext uri="{BB962C8B-B14F-4D97-AF65-F5344CB8AC3E}">
        <p14:creationId xmlns:p14="http://schemas.microsoft.com/office/powerpoint/2010/main" val="36282116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670180" y="2151415"/>
            <a:ext cx="8472196" cy="2941831"/>
          </a:xfrm>
          <a:prstGeom prst="rect">
            <a:avLst/>
          </a:prstGeom>
        </p:spPr>
        <p:txBody>
          <a:bodyPr wrap="square">
            <a:spAutoFit/>
          </a:bodyPr>
          <a:lstStyle/>
          <a:p>
            <a:pPr algn="ctr">
              <a:lnSpc>
                <a:spcPct val="175000"/>
              </a:lnSpc>
            </a:pPr>
            <a:r>
              <a:rPr lang="fr-CA" sz="3000" b="1" spc="-60" dirty="0">
                <a:solidFill>
                  <a:schemeClr val="bg1"/>
                </a:solidFill>
                <a:latin typeface="EYInterstate Light" panose="02000506000000020004" pitchFamily="2" charset="0"/>
              </a:rPr>
              <a:t>« Les clients n’aimeront jamais une entreprise tant que ses employés ne l’aimeront pas en premier lieu. » </a:t>
            </a:r>
          </a:p>
          <a:p>
            <a:pPr algn="ctr">
              <a:lnSpc>
                <a:spcPct val="120000"/>
              </a:lnSpc>
              <a:spcBef>
                <a:spcPts val="800"/>
              </a:spcBef>
            </a:pPr>
            <a:r>
              <a:rPr lang="en-CA" i="1" cap="all" dirty="0">
                <a:solidFill>
                  <a:srgbClr val="C00000"/>
                </a:solidFill>
                <a:latin typeface="EYInterstate Light" panose="02000506000000020004" pitchFamily="2" charset="0"/>
              </a:rPr>
              <a:t>Simon Sinek </a:t>
            </a:r>
          </a:p>
        </p:txBody>
      </p:sp>
    </p:spTree>
    <p:extLst>
      <p:ext uri="{BB962C8B-B14F-4D97-AF65-F5344CB8AC3E}">
        <p14:creationId xmlns:p14="http://schemas.microsoft.com/office/powerpoint/2010/main" val="33217882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p:cNvPicPr>
            <a:picLocks noChangeAspect="1"/>
          </p:cNvPicPr>
          <p:nvPr/>
        </p:nvPicPr>
        <p:blipFill rotWithShape="1">
          <a:blip r:embed="rId3" cstate="print">
            <a:extLst>
              <a:ext uri="{28A0092B-C50C-407E-A947-70E740481C1C}">
                <a14:useLocalDpi xmlns:a14="http://schemas.microsoft.com/office/drawing/2010/main" val="0"/>
              </a:ext>
            </a:extLst>
          </a:blip>
          <a:srcRect l="4411" t="9340" r="51" b="10111"/>
          <a:stretch/>
        </p:blipFill>
        <p:spPr>
          <a:xfrm>
            <a:off x="-43543" y="0"/>
            <a:ext cx="12260943" cy="6886020"/>
          </a:xfrm>
          <a:prstGeom prst="rect">
            <a:avLst/>
          </a:prstGeom>
        </p:spPr>
      </p:pic>
      <p:sp>
        <p:nvSpPr>
          <p:cNvPr id="42" name="Freeform 41"/>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3" name="Oval 42"/>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4" name="Freeform 43"/>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5" name="Oval 44"/>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6" name="Freeform 45"/>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7" name="Oval 46"/>
          <p:cNvSpPr/>
          <p:nvPr/>
        </p:nvSpPr>
        <p:spPr>
          <a:xfrm flipH="1">
            <a:off x="5635434" y="274019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8" name="Oval 47"/>
          <p:cNvSpPr/>
          <p:nvPr/>
        </p:nvSpPr>
        <p:spPr>
          <a:xfrm>
            <a:off x="4490201"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9" name="Freeform 48"/>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0" name="Freeform 49"/>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1" name="Oval 50"/>
          <p:cNvSpPr/>
          <p:nvPr/>
        </p:nvSpPr>
        <p:spPr>
          <a:xfrm>
            <a:off x="3239417"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2" name="Oval 51"/>
          <p:cNvSpPr/>
          <p:nvPr/>
        </p:nvSpPr>
        <p:spPr>
          <a:xfrm>
            <a:off x="6845197"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3" name="Freeform 52"/>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4" name="Freeform 53"/>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chemeClr val="tx1"/>
              </a:solidFill>
            </a:endParaRPr>
          </a:p>
        </p:txBody>
      </p:sp>
      <p:sp>
        <p:nvSpPr>
          <p:cNvPr id="55" name="TextBox 54"/>
          <p:cNvSpPr txBox="1"/>
          <p:nvPr/>
        </p:nvSpPr>
        <p:spPr>
          <a:xfrm>
            <a:off x="0" y="352216"/>
            <a:ext cx="12198350" cy="400110"/>
          </a:xfrm>
          <a:prstGeom prst="rect">
            <a:avLst/>
          </a:prstGeom>
          <a:noFill/>
        </p:spPr>
        <p:txBody>
          <a:bodyPr wrap="square" lIns="0" tIns="0" rIns="0" bIns="0" rtlCol="0" anchor="t" anchorCtr="0">
            <a:spAutoFit/>
          </a:bodyPr>
          <a:lstStyle/>
          <a:p>
            <a:pPr algn="ctr"/>
            <a:r>
              <a:rPr lang="fr-CA" sz="2600" dirty="0">
                <a:solidFill>
                  <a:schemeClr val="tx2"/>
                </a:solidFill>
                <a:latin typeface="EYInterstate" panose="02000503020000020004" pitchFamily="2" charset="0"/>
              </a:rPr>
              <a:t>Présentations des fonctionnaires du gouvernement du Canada </a:t>
            </a:r>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32" name="Group 31"/>
          <p:cNvGrpSpPr/>
          <p:nvPr/>
        </p:nvGrpSpPr>
        <p:grpSpPr>
          <a:xfrm>
            <a:off x="1046614" y="3636737"/>
            <a:ext cx="585235" cy="585235"/>
            <a:chOff x="3057925" y="3581400"/>
            <a:chExt cx="690010" cy="690010"/>
          </a:xfrm>
        </p:grpSpPr>
        <p:sp>
          <p:nvSpPr>
            <p:cNvPr id="34" name="Oval 33"/>
            <p:cNvSpPr/>
            <p:nvPr/>
          </p:nvSpPr>
          <p:spPr>
            <a:xfrm>
              <a:off x="3057925" y="3581400"/>
              <a:ext cx="690010" cy="69001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chemeClr val="tx1"/>
                </a:solidFill>
              </a:endParaRPr>
            </a:p>
          </p:txBody>
        </p:sp>
        <p:sp>
          <p:nvSpPr>
            <p:cNvPr id="35" name="Text Placeholder 5"/>
            <p:cNvSpPr txBox="1">
              <a:spLocks/>
            </p:cNvSpPr>
            <p:nvPr/>
          </p:nvSpPr>
          <p:spPr>
            <a:xfrm>
              <a:off x="3181612" y="3654246"/>
              <a:ext cx="442635" cy="544317"/>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rgbClr val="4B4B4B"/>
                  </a:solidFill>
                  <a:latin typeface="EYInterstate Light" panose="02000506000000020004" pitchFamily="2" charset="0"/>
                </a:rPr>
                <a:t>1</a:t>
              </a:r>
            </a:p>
          </p:txBody>
        </p:sp>
      </p:grpSp>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Tree>
    <p:extLst>
      <p:ext uri="{BB962C8B-B14F-4D97-AF65-F5344CB8AC3E}">
        <p14:creationId xmlns:p14="http://schemas.microsoft.com/office/powerpoint/2010/main" val="39686802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9392226" cy="400110"/>
          </a:xfrm>
          <a:prstGeom prst="rect">
            <a:avLst/>
          </a:prstGeom>
          <a:noFill/>
        </p:spPr>
        <p:txBody>
          <a:bodyPr wrap="square" lIns="0" tIns="0" rIns="0" bIns="0" rtlCol="0" anchor="t" anchorCtr="0">
            <a:spAutoFit/>
          </a:bodyPr>
          <a:lstStyle/>
          <a:p>
            <a:r>
              <a:rPr lang="fr-CA" sz="2600" spc="-20" dirty="0">
                <a:solidFill>
                  <a:srgbClr val="4B4B4B"/>
                </a:solidFill>
                <a:latin typeface="EYInterstate Light" panose="02000506000000020004" pitchFamily="2" charset="0"/>
              </a:rPr>
              <a:t>Favoriser une expérience employé exceptionnelle</a:t>
            </a:r>
          </a:p>
        </p:txBody>
      </p:sp>
      <p:sp>
        <p:nvSpPr>
          <p:cNvPr id="102" name="TextBox 101"/>
          <p:cNvSpPr txBox="1"/>
          <p:nvPr/>
        </p:nvSpPr>
        <p:spPr>
          <a:xfrm>
            <a:off x="614566" y="1140060"/>
            <a:ext cx="10861573" cy="492443"/>
          </a:xfrm>
          <a:prstGeom prst="rect">
            <a:avLst/>
          </a:prstGeom>
          <a:noFill/>
        </p:spPr>
        <p:txBody>
          <a:bodyPr wrap="square" lIns="0" tIns="0" rIns="0" bIns="0" rtlCol="0" anchor="t" anchorCtr="0">
            <a:spAutoFit/>
          </a:bodyPr>
          <a:lstStyle/>
          <a:p>
            <a:r>
              <a:rPr lang="fr-CA" sz="1600" dirty="0">
                <a:solidFill>
                  <a:srgbClr val="969696"/>
                </a:solidFill>
                <a:latin typeface="EYInterstate Light" panose="02000506000000020004" pitchFamily="2" charset="0"/>
              </a:rPr>
              <a:t>Une expérience employé (Ex) supérieure associe aisément les employés à la stratégie organisationnelle, ce qui, en dernier ressort, contribue à améliorer l’expérience citoyen.</a:t>
            </a:r>
          </a:p>
        </p:txBody>
      </p:sp>
      <p:sp>
        <p:nvSpPr>
          <p:cNvPr id="8" name="TextBox 7"/>
          <p:cNvSpPr txBox="1"/>
          <p:nvPr/>
        </p:nvSpPr>
        <p:spPr>
          <a:xfrm>
            <a:off x="9742148" y="1832702"/>
            <a:ext cx="500282" cy="510861"/>
          </a:xfrm>
          <a:prstGeom prst="rect">
            <a:avLst/>
          </a:prstGeom>
          <a:noFill/>
        </p:spPr>
        <p:txBody>
          <a:bodyPr wrap="square" tIns="324000" bIns="0" rtlCol="0" anchor="ctr">
            <a:noAutofit/>
          </a:bodyPr>
          <a:lstStyle/>
          <a:p>
            <a:r>
              <a:rPr lang="en-CA" sz="6000" dirty="0">
                <a:solidFill>
                  <a:srgbClr val="E60F2D"/>
                </a:solidFill>
                <a:latin typeface="EYInterstate Light" panose="02000506000000020004" pitchFamily="2" charset="0"/>
              </a:rPr>
              <a:t>«</a:t>
            </a:r>
          </a:p>
        </p:txBody>
      </p:sp>
      <p:sp>
        <p:nvSpPr>
          <p:cNvPr id="9" name="TextBox 8"/>
          <p:cNvSpPr txBox="1"/>
          <p:nvPr/>
        </p:nvSpPr>
        <p:spPr>
          <a:xfrm>
            <a:off x="10006792" y="2153883"/>
            <a:ext cx="1763828" cy="1491434"/>
          </a:xfrm>
          <a:prstGeom prst="rect">
            <a:avLst/>
          </a:prstGeom>
          <a:noFill/>
        </p:spPr>
        <p:txBody>
          <a:bodyPr wrap="square" lIns="108000" rIns="108000" rtlCol="0" anchor="ctr">
            <a:spAutoFit/>
          </a:bodyPr>
          <a:lstStyle/>
          <a:p>
            <a:pPr>
              <a:lnSpc>
                <a:spcPct val="120000"/>
              </a:lnSpc>
            </a:pPr>
            <a:r>
              <a:rPr lang="fr-CA" sz="1200" i="1" dirty="0">
                <a:latin typeface="EYInterstate Light" panose="02000506000000020004" pitchFamily="2" charset="0"/>
              </a:rPr>
              <a:t>  L’expérience, ce n’est pas ce qui vous arrive, </a:t>
            </a:r>
            <a:r>
              <a:rPr lang="fr-CA" sz="1200" b="1" i="1" dirty="0">
                <a:latin typeface="EYInterstate Light" panose="02000506000000020004" pitchFamily="2" charset="0"/>
              </a:rPr>
              <a:t>c’est ce que vous faites de ce qui vous arrive</a:t>
            </a:r>
            <a:r>
              <a:rPr lang="fr-CA" sz="1200" i="1" dirty="0">
                <a:latin typeface="EYInterstate Light" panose="02000506000000020004" pitchFamily="2" charset="0"/>
              </a:rPr>
              <a:t>.</a:t>
            </a:r>
          </a:p>
          <a:p>
            <a:pPr>
              <a:lnSpc>
                <a:spcPct val="120000"/>
              </a:lnSpc>
              <a:spcBef>
                <a:spcPts val="800"/>
              </a:spcBef>
            </a:pPr>
            <a:r>
              <a:rPr lang="fr-CA" sz="1050" i="1" cap="all" dirty="0">
                <a:solidFill>
                  <a:srgbClr val="969696"/>
                </a:solidFill>
                <a:latin typeface="EYInterstate Light" panose="02000506000000020004" pitchFamily="2" charset="0"/>
              </a:rPr>
              <a:t>Aldous Huxley </a:t>
            </a:r>
          </a:p>
        </p:txBody>
      </p:sp>
      <p:cxnSp>
        <p:nvCxnSpPr>
          <p:cNvPr id="10" name="Straight Connector 9"/>
          <p:cNvCxnSpPr/>
          <p:nvPr/>
        </p:nvCxnSpPr>
        <p:spPr>
          <a:xfrm>
            <a:off x="10239035" y="2081782"/>
            <a:ext cx="115966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0" y="1985675"/>
            <a:ext cx="3063091" cy="4189518"/>
          </a:xfrm>
          <a:prstGeom prst="rect">
            <a:avLst/>
          </a:prstGeom>
          <a:solidFill>
            <a:schemeClr val="accent4"/>
          </a:solidFill>
        </p:spPr>
        <p:txBody>
          <a:bodyPr wrap="square" lIns="612000" tIns="360000" rIns="360000" bIns="360000" rtlCol="0" anchor="t" anchorCtr="0">
            <a:spAutoFit/>
          </a:bodyPr>
          <a:lstStyle/>
          <a:p>
            <a:pPr>
              <a:spcBef>
                <a:spcPts val="1800"/>
              </a:spcBef>
              <a:buClr>
                <a:srgbClr val="E60F2D"/>
              </a:buClr>
              <a:buSzPct val="60000"/>
              <a:defRPr/>
            </a:pPr>
            <a:r>
              <a:rPr lang="fr-CA" sz="1400" i="1" dirty="0">
                <a:latin typeface="EYInterstate Light" panose="02000506000000020004" pitchFamily="2" charset="0"/>
                <a:cs typeface="Arial" pitchFamily="34" charset="0"/>
              </a:rPr>
              <a:t>Créer le milieu  qui permettra à un effectif diversifié de se mobiliser et de prospérer demande une réflexion.</a:t>
            </a:r>
          </a:p>
          <a:p>
            <a:pPr>
              <a:spcBef>
                <a:spcPts val="1800"/>
              </a:spcBef>
              <a:buClr>
                <a:srgbClr val="E60F2D"/>
              </a:buClr>
              <a:buSzPct val="60000"/>
              <a:defRPr/>
            </a:pPr>
            <a:r>
              <a:rPr lang="fr-CA" sz="1400" i="1" dirty="0">
                <a:latin typeface="EYInterstate Light" panose="02000506000000020004" pitchFamily="2" charset="0"/>
                <a:cs typeface="Arial" pitchFamily="34" charset="0"/>
              </a:rPr>
              <a:t>À mesure que les capacités analytiques et numériques évoluent, les organisations peuvent personnaliser les expériences afin d’aider leurs ressources humaines à offrir plus rapidement une valeur ajoutée.</a:t>
            </a:r>
          </a:p>
        </p:txBody>
      </p:sp>
      <p:cxnSp>
        <p:nvCxnSpPr>
          <p:cNvPr id="19" name="Straight Connector 18"/>
          <p:cNvCxnSpPr>
            <a:stCxn id="23" idx="1"/>
          </p:cNvCxnSpPr>
          <p:nvPr/>
        </p:nvCxnSpPr>
        <p:spPr>
          <a:xfrm>
            <a:off x="5855086" y="3645558"/>
            <a:ext cx="2713600" cy="1717367"/>
          </a:xfrm>
          <a:prstGeom prst="line">
            <a:avLst/>
          </a:prstGeom>
          <a:noFill/>
          <a:ln w="28575" cap="flat" cmpd="sng" algn="ctr">
            <a:solidFill>
              <a:srgbClr val="969696"/>
            </a:solidFill>
            <a:prstDash val="solid"/>
          </a:ln>
          <a:effectLst/>
        </p:spPr>
      </p:cxnSp>
      <p:cxnSp>
        <p:nvCxnSpPr>
          <p:cNvPr id="20" name="Straight Connector 19"/>
          <p:cNvCxnSpPr/>
          <p:nvPr/>
        </p:nvCxnSpPr>
        <p:spPr>
          <a:xfrm flipH="1">
            <a:off x="6406080" y="2067188"/>
            <a:ext cx="17183" cy="2475540"/>
          </a:xfrm>
          <a:prstGeom prst="line">
            <a:avLst/>
          </a:prstGeom>
          <a:noFill/>
          <a:ln w="28575" cap="flat" cmpd="sng" algn="ctr">
            <a:solidFill>
              <a:srgbClr val="969696"/>
            </a:solidFill>
            <a:prstDash val="solid"/>
          </a:ln>
          <a:effectLst/>
        </p:spPr>
      </p:cxnSp>
      <p:cxnSp>
        <p:nvCxnSpPr>
          <p:cNvPr id="21" name="Straight Connector 20"/>
          <p:cNvCxnSpPr>
            <a:stCxn id="23" idx="7"/>
          </p:cNvCxnSpPr>
          <p:nvPr/>
        </p:nvCxnSpPr>
        <p:spPr>
          <a:xfrm flipH="1">
            <a:off x="4283046" y="3645558"/>
            <a:ext cx="2704225" cy="1717367"/>
          </a:xfrm>
          <a:prstGeom prst="line">
            <a:avLst/>
          </a:prstGeom>
          <a:noFill/>
          <a:ln w="28575" cap="flat" cmpd="sng" algn="ctr">
            <a:solidFill>
              <a:srgbClr val="969696"/>
            </a:solidFill>
            <a:prstDash val="solid"/>
          </a:ln>
          <a:effectLst/>
        </p:spPr>
      </p:cxnSp>
      <p:sp>
        <p:nvSpPr>
          <p:cNvPr id="22" name="Oval 21"/>
          <p:cNvSpPr/>
          <p:nvPr/>
        </p:nvSpPr>
        <p:spPr>
          <a:xfrm>
            <a:off x="5231052" y="3035698"/>
            <a:ext cx="2380258" cy="2321124"/>
          </a:xfrm>
          <a:prstGeom prst="ellipse">
            <a:avLst/>
          </a:prstGeom>
          <a:noFill/>
          <a:ln w="28575" cap="flat" cmpd="sng" algn="ctr">
            <a:solidFill>
              <a:srgbClr val="969696"/>
            </a:solidFill>
            <a:prstDash val="solid"/>
          </a:ln>
          <a:effectLst/>
        </p:spPr>
        <p:txBody>
          <a:bodyPr lIns="54000" tIns="54000" rIns="54000" bIns="54000" rtlCol="0" anchor="ctr"/>
          <a:lstStyle/>
          <a:p>
            <a:pPr algn="ctr" defTabSz="781326">
              <a:defRPr/>
            </a:pPr>
            <a:endParaRPr lang="en-IN" sz="1200" b="1" kern="0" dirty="0">
              <a:solidFill>
                <a:schemeClr val="bg1">
                  <a:lumMod val="50000"/>
                </a:schemeClr>
              </a:solidFill>
              <a:latin typeface="EYInterstate Light" panose="02000506000000020004" pitchFamily="2" charset="0"/>
            </a:endParaRPr>
          </a:p>
        </p:txBody>
      </p:sp>
      <p:sp>
        <p:nvSpPr>
          <p:cNvPr id="23" name="Oval 22"/>
          <p:cNvSpPr/>
          <p:nvPr/>
        </p:nvSpPr>
        <p:spPr>
          <a:xfrm>
            <a:off x="5620606" y="3417452"/>
            <a:ext cx="1601150" cy="1557616"/>
          </a:xfrm>
          <a:prstGeom prst="ellipse">
            <a:avLst/>
          </a:prstGeom>
          <a:solidFill>
            <a:srgbClr val="4B4B4B"/>
          </a:solidFill>
          <a:ln w="9525" cap="flat" cmpd="sng" algn="ctr">
            <a:noFill/>
            <a:prstDash val="solid"/>
          </a:ln>
          <a:effectLst/>
        </p:spPr>
        <p:txBody>
          <a:bodyPr lIns="54000" tIns="54000" rIns="54000" bIns="54000" rtlCol="0" anchor="ctr"/>
          <a:lstStyle/>
          <a:p>
            <a:pPr algn="ctr"/>
            <a:r>
              <a:rPr lang="fr-CA" sz="1200" dirty="0">
                <a:solidFill>
                  <a:schemeClr val="tx2"/>
                </a:solidFill>
                <a:latin typeface="EYInterstate Light" panose="02000506000000020004" pitchFamily="2" charset="0"/>
                <a:cs typeface="EYInterstate Light"/>
              </a:rPr>
              <a:t>Propre à l’employé, l’Ex comprend trois dimensions principales</a:t>
            </a:r>
          </a:p>
        </p:txBody>
      </p:sp>
      <p:sp>
        <p:nvSpPr>
          <p:cNvPr id="24" name="Rectangle 23"/>
          <p:cNvSpPr/>
          <p:nvPr/>
        </p:nvSpPr>
        <p:spPr>
          <a:xfrm>
            <a:off x="5704100" y="4458232"/>
            <a:ext cx="1434155" cy="711980"/>
          </a:xfrm>
          <a:prstGeom prst="rect">
            <a:avLst/>
          </a:prstGeom>
        </p:spPr>
        <p:txBody>
          <a:bodyPr spcFirstLastPara="1" wrap="none" lIns="0" tIns="0" rIns="0" bIns="0" numCol="1">
            <a:prstTxWarp prst="textArchDown">
              <a:avLst>
                <a:gd name="adj" fmla="val 19253062"/>
              </a:avLst>
            </a:prstTxWarp>
            <a:spAutoFit/>
          </a:bodyPr>
          <a:lstStyle/>
          <a:p>
            <a:pPr algn="ctr" defTabSz="781326"/>
            <a:r>
              <a:rPr lang="fr-CA" sz="1200" b="1" dirty="0">
                <a:solidFill>
                  <a:schemeClr val="bg1">
                    <a:lumMod val="50000"/>
                  </a:schemeClr>
                </a:solidFill>
                <a:latin typeface="EYInterstate Light" panose="02000506000000020004" pitchFamily="2" charset="0"/>
                <a:cs typeface="Arial" panose="020B0604020202020204" pitchFamily="34" charset="0"/>
              </a:rPr>
              <a:t>Milieu</a:t>
            </a:r>
          </a:p>
        </p:txBody>
      </p:sp>
      <p:sp>
        <p:nvSpPr>
          <p:cNvPr id="25" name="Rectangle 24"/>
          <p:cNvSpPr/>
          <p:nvPr/>
        </p:nvSpPr>
        <p:spPr>
          <a:xfrm rot="3554297">
            <a:off x="6190285" y="3497821"/>
            <a:ext cx="1272128" cy="969561"/>
          </a:xfrm>
          <a:prstGeom prst="rect">
            <a:avLst/>
          </a:prstGeom>
        </p:spPr>
        <p:txBody>
          <a:bodyPr spcFirstLastPara="1" wrap="none" lIns="0" tIns="0" rIns="0" bIns="0" numCol="1">
            <a:prstTxWarp prst="textArchUp">
              <a:avLst/>
            </a:prstTxWarp>
            <a:spAutoFit/>
          </a:bodyPr>
          <a:lstStyle/>
          <a:p>
            <a:pPr algn="ctr" defTabSz="781326"/>
            <a:r>
              <a:rPr lang="fr-CA" sz="1200" b="1" dirty="0">
                <a:solidFill>
                  <a:schemeClr val="bg1">
                    <a:lumMod val="50000"/>
                  </a:schemeClr>
                </a:solidFill>
                <a:latin typeface="EYInterstate Light" panose="02000506000000020004" pitchFamily="2" charset="0"/>
                <a:cs typeface="Arial" panose="020B0604020202020204" pitchFamily="34" charset="0"/>
              </a:rPr>
              <a:t>Relationnel</a:t>
            </a:r>
          </a:p>
        </p:txBody>
      </p:sp>
      <p:sp>
        <p:nvSpPr>
          <p:cNvPr id="26" name="Rectangle 25"/>
          <p:cNvSpPr/>
          <p:nvPr/>
        </p:nvSpPr>
        <p:spPr>
          <a:xfrm rot="17810492">
            <a:off x="5386446" y="3427980"/>
            <a:ext cx="1491404" cy="1257939"/>
          </a:xfrm>
          <a:prstGeom prst="rect">
            <a:avLst/>
          </a:prstGeom>
        </p:spPr>
        <p:txBody>
          <a:bodyPr spcFirstLastPara="1" wrap="none" lIns="0" tIns="0" rIns="0" bIns="0" numCol="1">
            <a:prstTxWarp prst="textArchUp">
              <a:avLst>
                <a:gd name="adj" fmla="val 7607723"/>
              </a:avLst>
            </a:prstTxWarp>
            <a:spAutoFit/>
          </a:bodyPr>
          <a:lstStyle/>
          <a:p>
            <a:pPr algn="ctr" defTabSz="781326"/>
            <a:r>
              <a:rPr lang="fr-CA" sz="1200" b="1" dirty="0">
                <a:solidFill>
                  <a:schemeClr val="bg1">
                    <a:lumMod val="50000"/>
                  </a:schemeClr>
                </a:solidFill>
                <a:latin typeface="EYInterstate Light" panose="02000506000000020004" pitchFamily="2" charset="0"/>
                <a:cs typeface="Arial" panose="020B0604020202020204" pitchFamily="34" charset="0"/>
              </a:rPr>
              <a:t>Individuel</a:t>
            </a:r>
          </a:p>
        </p:txBody>
      </p:sp>
      <p:sp>
        <p:nvSpPr>
          <p:cNvPr id="27" name="Rectangle 26"/>
          <p:cNvSpPr/>
          <p:nvPr/>
        </p:nvSpPr>
        <p:spPr>
          <a:xfrm>
            <a:off x="3809583" y="1994755"/>
            <a:ext cx="2429509" cy="1126462"/>
          </a:xfrm>
          <a:prstGeom prst="rect">
            <a:avLst/>
          </a:prstGeom>
        </p:spPr>
        <p:txBody>
          <a:bodyPr wrap="square">
            <a:spAutoFit/>
          </a:bodyPr>
          <a:lstStyle/>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Objectif et valeurs</a:t>
            </a:r>
          </a:p>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Besoins</a:t>
            </a:r>
          </a:p>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Sentiment et comportements</a:t>
            </a:r>
          </a:p>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Leadership et perfectionnement</a:t>
            </a:r>
          </a:p>
        </p:txBody>
      </p:sp>
      <p:sp>
        <p:nvSpPr>
          <p:cNvPr id="28" name="Rectangle 27"/>
          <p:cNvSpPr/>
          <p:nvPr/>
        </p:nvSpPr>
        <p:spPr>
          <a:xfrm>
            <a:off x="6632411" y="1994755"/>
            <a:ext cx="2391601" cy="941796"/>
          </a:xfrm>
          <a:prstGeom prst="rect">
            <a:avLst/>
          </a:prstGeom>
        </p:spPr>
        <p:txBody>
          <a:bodyPr wrap="square">
            <a:spAutoFit/>
          </a:bodyPr>
          <a:lstStyle/>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Rôles et responsabilités</a:t>
            </a:r>
          </a:p>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Façons de travailler</a:t>
            </a:r>
          </a:p>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Interaction et mobilisation</a:t>
            </a:r>
          </a:p>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Inclusion et reconnaissance</a:t>
            </a:r>
          </a:p>
        </p:txBody>
      </p:sp>
      <p:sp>
        <p:nvSpPr>
          <p:cNvPr id="29" name="Rectangle 28"/>
          <p:cNvSpPr/>
          <p:nvPr/>
        </p:nvSpPr>
        <p:spPr>
          <a:xfrm>
            <a:off x="5335263" y="5440658"/>
            <a:ext cx="3735079" cy="941796"/>
          </a:xfrm>
          <a:prstGeom prst="rect">
            <a:avLst/>
          </a:prstGeom>
        </p:spPr>
        <p:txBody>
          <a:bodyPr wrap="square">
            <a:spAutoFit/>
          </a:bodyPr>
          <a:lstStyle/>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Lieu et espace</a:t>
            </a:r>
          </a:p>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Systèmes et outils</a:t>
            </a:r>
          </a:p>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Rémunération et mesures incitatives</a:t>
            </a:r>
          </a:p>
          <a:p>
            <a:pPr marL="236538" indent="-236538">
              <a:spcBef>
                <a:spcPct val="200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Avantages directs et indirects</a:t>
            </a:r>
          </a:p>
        </p:txBody>
      </p:sp>
    </p:spTree>
    <p:extLst>
      <p:ext uri="{BB962C8B-B14F-4D97-AF65-F5344CB8AC3E}">
        <p14:creationId xmlns:p14="http://schemas.microsoft.com/office/powerpoint/2010/main" val="1812181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5367154" y="3217213"/>
            <a:ext cx="2274894" cy="221463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7" name="Rectangle 36"/>
          <p:cNvSpPr/>
          <p:nvPr/>
        </p:nvSpPr>
        <p:spPr>
          <a:xfrm>
            <a:off x="5346097" y="2026703"/>
            <a:ext cx="2295949" cy="936018"/>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pic>
        <p:nvPicPr>
          <p:cNvPr id="45" name="Picture 44"/>
          <p:cNvPicPr>
            <a:picLocks noChangeAspect="1"/>
          </p:cNvPicPr>
          <p:nvPr/>
        </p:nvPicPr>
        <p:blipFill rotWithShape="1">
          <a:blip r:embed="rId2" cstate="print">
            <a:extLst>
              <a:ext uri="{28A0092B-C50C-407E-A947-70E740481C1C}">
                <a14:useLocalDpi xmlns:a14="http://schemas.microsoft.com/office/drawing/2010/main" val="0"/>
              </a:ext>
            </a:extLst>
          </a:blip>
          <a:srcRect r="11154"/>
          <a:stretch/>
        </p:blipFill>
        <p:spPr>
          <a:xfrm>
            <a:off x="1862972" y="3418237"/>
            <a:ext cx="1420159" cy="1200399"/>
          </a:xfrm>
          <a:prstGeom prst="rect">
            <a:avLst/>
          </a:prstGeom>
        </p:spPr>
      </p:pic>
      <p:graphicFrame>
        <p:nvGraphicFramePr>
          <p:cNvPr id="44" name="Chart 43"/>
          <p:cNvGraphicFramePr/>
          <p:nvPr>
            <p:extLst/>
          </p:nvPr>
        </p:nvGraphicFramePr>
        <p:xfrm>
          <a:off x="-1042316" y="2431058"/>
          <a:ext cx="4903536" cy="3166855"/>
        </p:xfrm>
        <a:graphic>
          <a:graphicData uri="http://schemas.openxmlformats.org/drawingml/2006/chart">
            <c:chart xmlns:c="http://schemas.openxmlformats.org/drawingml/2006/chart" xmlns:r="http://schemas.openxmlformats.org/officeDocument/2006/relationships" r:id="rId3"/>
          </a:graphicData>
        </a:graphic>
      </p:graphicFrame>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11072361" y="256904"/>
            <a:ext cx="405532" cy="415873"/>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sp>
        <p:nvSpPr>
          <p:cNvPr id="11" name="TextBox 10"/>
          <p:cNvSpPr txBox="1"/>
          <p:nvPr/>
        </p:nvSpPr>
        <p:spPr>
          <a:xfrm>
            <a:off x="614566" y="659554"/>
            <a:ext cx="6980034"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Gestion du cycle de vie des employés</a:t>
            </a:r>
          </a:p>
        </p:txBody>
      </p:sp>
      <p:cxnSp>
        <p:nvCxnSpPr>
          <p:cNvPr id="12" name="Straight Connector 11"/>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9" name="Block Arc 28"/>
          <p:cNvSpPr/>
          <p:nvPr/>
        </p:nvSpPr>
        <p:spPr>
          <a:xfrm rot="4320000">
            <a:off x="650560" y="2064109"/>
            <a:ext cx="3680274" cy="3900753"/>
          </a:xfrm>
          <a:prstGeom prst="blockArc">
            <a:avLst>
              <a:gd name="adj1" fmla="val 11904102"/>
              <a:gd name="adj2" fmla="val 16205373"/>
              <a:gd name="adj3" fmla="val 8463"/>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8" name="Isosceles Triangle 7"/>
          <p:cNvSpPr/>
          <p:nvPr/>
        </p:nvSpPr>
        <p:spPr>
          <a:xfrm rot="5400000">
            <a:off x="2213054" y="2159606"/>
            <a:ext cx="704688" cy="298939"/>
          </a:xfrm>
          <a:prstGeom prst="triangle">
            <a:avLst/>
          </a:prstGeom>
          <a:solidFill>
            <a:srgbClr val="E60F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4" name="TextBox 13"/>
          <p:cNvSpPr txBox="1"/>
          <p:nvPr/>
        </p:nvSpPr>
        <p:spPr>
          <a:xfrm rot="2160000">
            <a:off x="2635195" y="2609863"/>
            <a:ext cx="1554080" cy="542386"/>
          </a:xfrm>
          <a:prstGeom prst="rect">
            <a:avLst/>
          </a:prstGeom>
          <a:noFill/>
          <a:ln>
            <a:noFill/>
          </a:ln>
        </p:spPr>
        <p:txBody>
          <a:bodyPr wrap="none" lIns="0" tIns="0" rIns="0" bIns="0" rtlCol="0" anchor="ctr">
            <a:prstTxWarp prst="textArchUp">
              <a:avLst/>
            </a:prstTxWarp>
            <a:noAutofit/>
          </a:bodyPr>
          <a:lstStyle/>
          <a:p>
            <a:pPr algn="ctr">
              <a:buClr>
                <a:schemeClr val="accent2"/>
              </a:buClr>
              <a:buSzPct val="70000"/>
            </a:pPr>
            <a:r>
              <a:rPr lang="fr-CA" sz="1000" b="1" dirty="0">
                <a:latin typeface="EYInterstate Light" panose="02000506000000020004" pitchFamily="2" charset="0"/>
              </a:rPr>
              <a:t>Gérer les données  des employés et de l’organisation </a:t>
            </a:r>
          </a:p>
        </p:txBody>
      </p:sp>
      <p:sp>
        <p:nvSpPr>
          <p:cNvPr id="31" name="Block Arc 30"/>
          <p:cNvSpPr/>
          <p:nvPr/>
        </p:nvSpPr>
        <p:spPr>
          <a:xfrm rot="8640000">
            <a:off x="752024" y="2073457"/>
            <a:ext cx="3680274" cy="3900753"/>
          </a:xfrm>
          <a:prstGeom prst="blockArc">
            <a:avLst>
              <a:gd name="adj1" fmla="val 11904102"/>
              <a:gd name="adj2" fmla="val 16205373"/>
              <a:gd name="adj3" fmla="val 8463"/>
            </a:avLst>
          </a:prstGeom>
          <a:solidFill>
            <a:srgbClr val="DCDC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4" name="Block Arc 33"/>
          <p:cNvSpPr/>
          <p:nvPr/>
        </p:nvSpPr>
        <p:spPr>
          <a:xfrm>
            <a:off x="620022" y="2149657"/>
            <a:ext cx="3680274" cy="3900753"/>
          </a:xfrm>
          <a:prstGeom prst="blockArc">
            <a:avLst>
              <a:gd name="adj1" fmla="val 11904102"/>
              <a:gd name="adj2" fmla="val 16205373"/>
              <a:gd name="adj3" fmla="val 8463"/>
            </a:avLst>
          </a:prstGeom>
          <a:solidFill>
            <a:srgbClr val="E60F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0" name="Rectangle 29"/>
          <p:cNvSpPr/>
          <p:nvPr/>
        </p:nvSpPr>
        <p:spPr>
          <a:xfrm>
            <a:off x="620022" y="2149657"/>
            <a:ext cx="1795906" cy="318837"/>
          </a:xfrm>
          <a:prstGeom prst="rect">
            <a:avLst/>
          </a:prstGeom>
          <a:solidFill>
            <a:srgbClr val="E60F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2" name="Block Arc 31"/>
          <p:cNvSpPr/>
          <p:nvPr/>
        </p:nvSpPr>
        <p:spPr>
          <a:xfrm rot="12960000">
            <a:off x="813448" y="2156007"/>
            <a:ext cx="3680274" cy="3900753"/>
          </a:xfrm>
          <a:prstGeom prst="blockArc">
            <a:avLst>
              <a:gd name="adj1" fmla="val 11904102"/>
              <a:gd name="adj2" fmla="val 16205373"/>
              <a:gd name="adj3" fmla="val 8463"/>
            </a:avLst>
          </a:prstGeom>
          <a:solidFill>
            <a:srgbClr val="CDCD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6" name="Isosceles Triangle 25"/>
          <p:cNvSpPr/>
          <p:nvPr/>
        </p:nvSpPr>
        <p:spPr>
          <a:xfrm rot="11880000" flipV="1">
            <a:off x="509079" y="3353103"/>
            <a:ext cx="704688" cy="298939"/>
          </a:xfrm>
          <a:prstGeom prst="triangle">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3" name="Block Arc 32"/>
          <p:cNvSpPr/>
          <p:nvPr/>
        </p:nvSpPr>
        <p:spPr>
          <a:xfrm rot="17280000">
            <a:off x="711984" y="2232207"/>
            <a:ext cx="3680274" cy="3900753"/>
          </a:xfrm>
          <a:prstGeom prst="blockArc">
            <a:avLst>
              <a:gd name="adj1" fmla="val 11904102"/>
              <a:gd name="adj2" fmla="val 16205373"/>
              <a:gd name="adj3" fmla="val 8463"/>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5" name="Isosceles Triangle 24"/>
          <p:cNvSpPr/>
          <p:nvPr/>
        </p:nvSpPr>
        <p:spPr>
          <a:xfrm rot="7560000" flipV="1">
            <a:off x="1139606" y="5332550"/>
            <a:ext cx="704688" cy="298939"/>
          </a:xfrm>
          <a:prstGeom prst="triangle">
            <a:avLst/>
          </a:prstGeom>
          <a:solidFill>
            <a:srgbClr val="CDCD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2" name="Isosceles Triangle 21"/>
          <p:cNvSpPr/>
          <p:nvPr/>
        </p:nvSpPr>
        <p:spPr>
          <a:xfrm rot="14040000">
            <a:off x="3246518" y="5352441"/>
            <a:ext cx="704688" cy="298939"/>
          </a:xfrm>
          <a:prstGeom prst="triangle">
            <a:avLst/>
          </a:prstGeom>
          <a:solidFill>
            <a:srgbClr val="DCDC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1" name="Isosceles Triangle 20"/>
          <p:cNvSpPr/>
          <p:nvPr/>
        </p:nvSpPr>
        <p:spPr>
          <a:xfrm rot="9720000">
            <a:off x="3850831" y="3387343"/>
            <a:ext cx="704688" cy="298939"/>
          </a:xfrm>
          <a:prstGeom prst="triangle">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6" name="TextBox 35"/>
          <p:cNvSpPr txBox="1"/>
          <p:nvPr/>
        </p:nvSpPr>
        <p:spPr>
          <a:xfrm rot="6186456">
            <a:off x="3030855" y="3996605"/>
            <a:ext cx="1554080" cy="901270"/>
          </a:xfrm>
          <a:prstGeom prst="rect">
            <a:avLst/>
          </a:prstGeom>
          <a:noFill/>
          <a:ln>
            <a:noFill/>
          </a:ln>
        </p:spPr>
        <p:txBody>
          <a:bodyPr wrap="none" lIns="0" tIns="0" rIns="0" bIns="0" rtlCol="0" anchor="ctr">
            <a:prstTxWarp prst="textArchUp">
              <a:avLst>
                <a:gd name="adj" fmla="val 13367495"/>
              </a:avLst>
            </a:prstTxWarp>
            <a:noAutofit/>
          </a:bodyPr>
          <a:lstStyle/>
          <a:p>
            <a:pPr algn="ctr">
              <a:buClr>
                <a:schemeClr val="accent2"/>
              </a:buClr>
              <a:buSzPct val="70000"/>
            </a:pPr>
            <a:r>
              <a:rPr lang="fr-CA" sz="1000" b="1" dirty="0">
                <a:latin typeface="EYInterstate Light" panose="02000506000000020004" pitchFamily="2" charset="0"/>
              </a:rPr>
              <a:t>Rémunération des employés</a:t>
            </a:r>
          </a:p>
        </p:txBody>
      </p:sp>
      <p:sp>
        <p:nvSpPr>
          <p:cNvPr id="38" name="TextBox 37"/>
          <p:cNvSpPr txBox="1"/>
          <p:nvPr/>
        </p:nvSpPr>
        <p:spPr>
          <a:xfrm>
            <a:off x="1804382" y="5431845"/>
            <a:ext cx="1554080" cy="449362"/>
          </a:xfrm>
          <a:prstGeom prst="rect">
            <a:avLst/>
          </a:prstGeom>
          <a:noFill/>
          <a:ln>
            <a:noFill/>
          </a:ln>
        </p:spPr>
        <p:txBody>
          <a:bodyPr wrap="none" lIns="0" tIns="0" rIns="0" bIns="0" rtlCol="0" anchor="ctr">
            <a:prstTxWarp prst="textArchDown">
              <a:avLst/>
            </a:prstTxWarp>
            <a:noAutofit/>
          </a:bodyPr>
          <a:lstStyle/>
          <a:p>
            <a:pPr algn="ctr">
              <a:buClr>
                <a:schemeClr val="accent2"/>
              </a:buClr>
              <a:buSzPct val="70000"/>
            </a:pPr>
            <a:r>
              <a:rPr lang="fr-CA" sz="1000" b="1" dirty="0">
                <a:latin typeface="EYInterstate Light" panose="02000506000000020004" pitchFamily="2" charset="0"/>
              </a:rPr>
              <a:t>Rendement et perfectionnement</a:t>
            </a:r>
          </a:p>
        </p:txBody>
      </p:sp>
      <p:sp>
        <p:nvSpPr>
          <p:cNvPr id="39" name="TextBox 38"/>
          <p:cNvSpPr txBox="1"/>
          <p:nvPr/>
        </p:nvSpPr>
        <p:spPr>
          <a:xfrm rot="15314765">
            <a:off x="491676" y="3950380"/>
            <a:ext cx="1554080" cy="901270"/>
          </a:xfrm>
          <a:prstGeom prst="rect">
            <a:avLst/>
          </a:prstGeom>
          <a:noFill/>
          <a:ln>
            <a:noFill/>
          </a:ln>
        </p:spPr>
        <p:txBody>
          <a:bodyPr wrap="none" lIns="0" tIns="0" rIns="0" bIns="0" rtlCol="0" anchor="ctr">
            <a:prstTxWarp prst="textArchUp">
              <a:avLst>
                <a:gd name="adj" fmla="val 13367495"/>
              </a:avLst>
            </a:prstTxWarp>
            <a:noAutofit/>
          </a:bodyPr>
          <a:lstStyle/>
          <a:p>
            <a:pPr algn="ctr">
              <a:buClr>
                <a:schemeClr val="accent2"/>
              </a:buClr>
              <a:buSzPct val="70000"/>
            </a:pPr>
            <a:r>
              <a:rPr lang="fr-CA" sz="1000" b="1" dirty="0">
                <a:latin typeface="EYInterstate Light" panose="02000506000000020004" pitchFamily="2" charset="0"/>
              </a:rPr>
              <a:t>Départ</a:t>
            </a:r>
          </a:p>
        </p:txBody>
      </p:sp>
      <p:sp>
        <p:nvSpPr>
          <p:cNvPr id="41" name="TextBox 40"/>
          <p:cNvSpPr txBox="1"/>
          <p:nvPr/>
        </p:nvSpPr>
        <p:spPr>
          <a:xfrm>
            <a:off x="443725" y="2026703"/>
            <a:ext cx="2099999" cy="542386"/>
          </a:xfrm>
          <a:prstGeom prst="rect">
            <a:avLst/>
          </a:prstGeom>
          <a:noFill/>
          <a:ln>
            <a:noFill/>
          </a:ln>
        </p:spPr>
        <p:txBody>
          <a:bodyPr wrap="none" lIns="0" tIns="0" rIns="0" bIns="0" rtlCol="0" anchor="ctr">
            <a:noAutofit/>
          </a:bodyPr>
          <a:lstStyle/>
          <a:p>
            <a:pPr algn="ctr">
              <a:buClr>
                <a:schemeClr val="accent2"/>
              </a:buClr>
              <a:buSzPct val="70000"/>
            </a:pPr>
            <a:r>
              <a:rPr lang="fr-CA" sz="1000" b="1" dirty="0">
                <a:solidFill>
                  <a:schemeClr val="tx2"/>
                </a:solidFill>
                <a:latin typeface="EYInterstate Light" panose="02000506000000020004" pitchFamily="2" charset="0"/>
              </a:rPr>
              <a:t>Recrutement et embauche</a:t>
            </a:r>
          </a:p>
        </p:txBody>
      </p:sp>
      <p:sp>
        <p:nvSpPr>
          <p:cNvPr id="35" name="Rectangle 34"/>
          <p:cNvSpPr/>
          <p:nvPr/>
        </p:nvSpPr>
        <p:spPr>
          <a:xfrm>
            <a:off x="5346097" y="2062474"/>
            <a:ext cx="2295949" cy="1069523"/>
          </a:xfrm>
          <a:prstGeom prst="rect">
            <a:avLst/>
          </a:prstGeom>
        </p:spPr>
        <p:txBody>
          <a:bodyPr wrap="square">
            <a:spAutoFit/>
          </a:bodyPr>
          <a:lstStyle/>
          <a:p>
            <a:pPr algn="ctr">
              <a:lnSpc>
                <a:spcPct val="90000"/>
              </a:lnSpc>
              <a:spcBef>
                <a:spcPts val="300"/>
              </a:spcBef>
              <a:buClr>
                <a:srgbClr val="E60F2D"/>
              </a:buClr>
              <a:buSzPct val="60000"/>
              <a:defRPr/>
            </a:pPr>
            <a:r>
              <a:rPr lang="fr-CA" sz="1200" b="1" dirty="0">
                <a:latin typeface="EYInterstate Light" panose="02000506000000020004" pitchFamily="2" charset="0"/>
              </a:rPr>
              <a:t>RECRUTEMENT ET EMBAUCHE</a:t>
            </a:r>
          </a:p>
          <a:p>
            <a:pPr>
              <a:lnSpc>
                <a:spcPct val="90000"/>
              </a:lnSpc>
              <a:spcBef>
                <a:spcPts val="300"/>
              </a:spcBef>
              <a:buClr>
                <a:srgbClr val="E60F2D"/>
              </a:buClr>
              <a:buSzPct val="60000"/>
              <a:defRPr/>
            </a:pPr>
            <a:endParaRPr lang="fr-CA"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e recrutement</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embauche, l’arrivée et l’intégration </a:t>
            </a:r>
          </a:p>
        </p:txBody>
      </p:sp>
      <p:sp>
        <p:nvSpPr>
          <p:cNvPr id="51" name="Rectangle 50"/>
          <p:cNvSpPr/>
          <p:nvPr/>
        </p:nvSpPr>
        <p:spPr>
          <a:xfrm>
            <a:off x="5407523" y="3217213"/>
            <a:ext cx="2234524" cy="2348335"/>
          </a:xfrm>
          <a:prstGeom prst="rect">
            <a:avLst/>
          </a:prstGeom>
        </p:spPr>
        <p:txBody>
          <a:bodyPr wrap="square">
            <a:spAutoFit/>
          </a:bodyPr>
          <a:lstStyle/>
          <a:p>
            <a:pPr>
              <a:lnSpc>
                <a:spcPct val="90000"/>
              </a:lnSpc>
              <a:spcBef>
                <a:spcPts val="300"/>
              </a:spcBef>
              <a:buClr>
                <a:srgbClr val="E60F2D"/>
              </a:buClr>
              <a:buSzPct val="60000"/>
              <a:defRPr/>
            </a:pPr>
            <a:r>
              <a:rPr lang="fr-CA" sz="1200" b="1" dirty="0">
                <a:latin typeface="EYInterstate Light" panose="02000506000000020004" pitchFamily="2" charset="0"/>
              </a:rPr>
              <a:t>GÉRER LES DONÉES DES EMPLOYÉS ET DE L’ORGANISATION</a:t>
            </a:r>
          </a:p>
          <a:p>
            <a:pPr>
              <a:lnSpc>
                <a:spcPct val="90000"/>
              </a:lnSpc>
              <a:spcBef>
                <a:spcPts val="300"/>
              </a:spcBef>
              <a:buClr>
                <a:srgbClr val="E60F2D"/>
              </a:buClr>
              <a:buSzPct val="60000"/>
              <a:defRPr/>
            </a:pPr>
            <a:endParaRPr lang="fr-CA"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Administrer les données des employés </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organisation</a:t>
            </a:r>
            <a:br>
              <a:rPr lang="fr-CA" sz="1200" dirty="0">
                <a:latin typeface="EYInterstate Light" panose="02000506000000020004" pitchFamily="2" charset="0"/>
                <a:cs typeface="Arial" pitchFamily="34" charset="0"/>
              </a:rPr>
            </a:br>
            <a:r>
              <a:rPr lang="fr-CA" sz="1200" dirty="0">
                <a:latin typeface="EYInterstate Light" panose="02000506000000020004" pitchFamily="2" charset="0"/>
                <a:cs typeface="Arial" pitchFamily="34" charset="0"/>
              </a:rPr>
              <a:t>et les postes </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a planification de l’effectif</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Rémunération et récompenses</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Classification </a:t>
            </a:r>
          </a:p>
        </p:txBody>
      </p:sp>
      <p:sp>
        <p:nvSpPr>
          <p:cNvPr id="52" name="Rectangle 51"/>
          <p:cNvSpPr/>
          <p:nvPr/>
        </p:nvSpPr>
        <p:spPr>
          <a:xfrm>
            <a:off x="5346097" y="5597913"/>
            <a:ext cx="2295949" cy="1107996"/>
          </a:xfrm>
          <a:prstGeom prst="rect">
            <a:avLst/>
          </a:prstGeom>
          <a:solidFill>
            <a:srgbClr val="F0F0F0"/>
          </a:solidFill>
        </p:spPr>
        <p:txBody>
          <a:bodyPr wrap="square">
            <a:spAutoFit/>
          </a:bodyPr>
          <a:lstStyle/>
          <a:p>
            <a:pPr algn="ctr">
              <a:lnSpc>
                <a:spcPct val="90000"/>
              </a:lnSpc>
              <a:spcBef>
                <a:spcPts val="300"/>
              </a:spcBef>
              <a:buClr>
                <a:srgbClr val="E60F2D"/>
              </a:buClr>
              <a:buSzPct val="60000"/>
              <a:defRPr/>
            </a:pPr>
            <a:r>
              <a:rPr lang="fr-CA" sz="1200" b="1" dirty="0">
                <a:latin typeface="EYInterstate Light" panose="02000506000000020004" pitchFamily="2" charset="0"/>
              </a:rPr>
              <a:t>RÉMUNÉRATION DES EMPLOYÉS</a:t>
            </a:r>
          </a:p>
          <a:p>
            <a:pPr>
              <a:lnSpc>
                <a:spcPct val="90000"/>
              </a:lnSpc>
              <a:spcBef>
                <a:spcPts val="300"/>
              </a:spcBef>
              <a:buClr>
                <a:srgbClr val="E60F2D"/>
              </a:buClr>
              <a:buSzPct val="60000"/>
              <a:defRPr/>
            </a:pPr>
            <a:endParaRPr lang="fr-CA"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a rémunération </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a paie</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e temps</a:t>
            </a:r>
          </a:p>
        </p:txBody>
      </p:sp>
      <p:sp>
        <p:nvSpPr>
          <p:cNvPr id="53" name="Rectangle 52"/>
          <p:cNvSpPr/>
          <p:nvPr/>
        </p:nvSpPr>
        <p:spPr>
          <a:xfrm>
            <a:off x="8630441" y="2027780"/>
            <a:ext cx="2334739" cy="1811265"/>
          </a:xfrm>
          <a:prstGeom prst="rect">
            <a:avLst/>
          </a:prstGeom>
          <a:solidFill>
            <a:srgbClr val="F0F0F0"/>
          </a:solidFill>
        </p:spPr>
        <p:txBody>
          <a:bodyPr wrap="square">
            <a:spAutoFit/>
          </a:bodyPr>
          <a:lstStyle/>
          <a:p>
            <a:pPr algn="ctr">
              <a:lnSpc>
                <a:spcPct val="90000"/>
              </a:lnSpc>
              <a:spcBef>
                <a:spcPts val="300"/>
              </a:spcBef>
              <a:buClr>
                <a:srgbClr val="E60F2D"/>
              </a:buClr>
              <a:buSzPct val="60000"/>
              <a:defRPr/>
            </a:pPr>
            <a:r>
              <a:rPr lang="fr-CA" sz="1200" b="1" dirty="0">
                <a:latin typeface="EYInterstate Light" panose="02000506000000020004" pitchFamily="2" charset="0"/>
              </a:rPr>
              <a:t>RENDEMENT ET PERFECTIONNEMENT</a:t>
            </a:r>
          </a:p>
          <a:p>
            <a:pPr algn="ctr">
              <a:lnSpc>
                <a:spcPct val="90000"/>
              </a:lnSpc>
              <a:spcBef>
                <a:spcPts val="300"/>
              </a:spcBef>
              <a:buClr>
                <a:srgbClr val="E60F2D"/>
              </a:buClr>
              <a:buSzPct val="60000"/>
              <a:defRPr/>
            </a:pPr>
            <a:endParaRPr lang="fr-CA"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a formation et le perfectionnement des employés</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e rendement</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es compétences</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es carrières et la planification de la relève</a:t>
            </a:r>
          </a:p>
        </p:txBody>
      </p:sp>
      <p:sp>
        <p:nvSpPr>
          <p:cNvPr id="59" name="Rectangle 58"/>
          <p:cNvSpPr/>
          <p:nvPr/>
        </p:nvSpPr>
        <p:spPr>
          <a:xfrm>
            <a:off x="8630441" y="3939443"/>
            <a:ext cx="2334739" cy="903324"/>
          </a:xfrm>
          <a:prstGeom prst="rect">
            <a:avLst/>
          </a:prstGeom>
          <a:solidFill>
            <a:srgbClr val="F0F0F0"/>
          </a:solidFill>
        </p:spPr>
        <p:txBody>
          <a:bodyPr wrap="square">
            <a:spAutoFit/>
          </a:bodyPr>
          <a:lstStyle/>
          <a:p>
            <a:pPr algn="ctr">
              <a:lnSpc>
                <a:spcPct val="90000"/>
              </a:lnSpc>
              <a:spcBef>
                <a:spcPts val="300"/>
              </a:spcBef>
              <a:buClr>
                <a:srgbClr val="E60F2D"/>
              </a:buClr>
              <a:buSzPct val="60000"/>
              <a:defRPr/>
            </a:pPr>
            <a:r>
              <a:rPr lang="fr-CA" sz="1200" b="1" dirty="0">
                <a:latin typeface="EYInterstate Light" panose="02000506000000020004" pitchFamily="2" charset="0"/>
              </a:rPr>
              <a:t>DÉPART</a:t>
            </a:r>
          </a:p>
          <a:p>
            <a:pPr>
              <a:lnSpc>
                <a:spcPct val="90000"/>
              </a:lnSpc>
              <a:spcBef>
                <a:spcPts val="300"/>
              </a:spcBef>
              <a:buClr>
                <a:srgbClr val="E60F2D"/>
              </a:buClr>
              <a:buSzPct val="60000"/>
              <a:defRPr/>
            </a:pPr>
            <a:endParaRPr lang="fr-CA"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Gérer le départ des employés </a:t>
            </a:r>
          </a:p>
          <a:p>
            <a:pPr marL="236538" indent="-236538">
              <a:lnSpc>
                <a:spcPct val="90000"/>
              </a:lnSpc>
              <a:spcBef>
                <a:spcPts val="300"/>
              </a:spcBef>
              <a:buClr>
                <a:srgbClr val="E60F2D"/>
              </a:buClr>
              <a:buSzPct val="60000"/>
              <a:buFont typeface="Arial" pitchFamily="34" charset="0"/>
              <a:buChar char="►"/>
              <a:defRPr/>
            </a:pPr>
            <a:r>
              <a:rPr lang="fr-CA" sz="1200" dirty="0">
                <a:latin typeface="EYInterstate Light" panose="02000506000000020004" pitchFamily="2" charset="0"/>
                <a:cs typeface="Arial" pitchFamily="34" charset="0"/>
              </a:rPr>
              <a:t>Rajuster l’effectif</a:t>
            </a:r>
          </a:p>
        </p:txBody>
      </p:sp>
      <p:cxnSp>
        <p:nvCxnSpPr>
          <p:cNvPr id="28" name="Straight Connector 27"/>
          <p:cNvCxnSpPr/>
          <p:nvPr/>
        </p:nvCxnSpPr>
        <p:spPr>
          <a:xfrm>
            <a:off x="5407522" y="2317412"/>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407523" y="3669768"/>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407522" y="5859166"/>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752702" y="2451724"/>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752702" y="4189084"/>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8" name="Oval 47"/>
          <p:cNvSpPr/>
          <p:nvPr/>
        </p:nvSpPr>
        <p:spPr>
          <a:xfrm>
            <a:off x="2001103" y="3534832"/>
            <a:ext cx="1058760" cy="105876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9" name="TextBox 48"/>
          <p:cNvSpPr txBox="1"/>
          <p:nvPr/>
        </p:nvSpPr>
        <p:spPr>
          <a:xfrm>
            <a:off x="2053283" y="3829917"/>
            <a:ext cx="954400" cy="616707"/>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fr-CA" sz="1100" b="1" dirty="0">
                <a:solidFill>
                  <a:srgbClr val="C00000"/>
                </a:solidFill>
                <a:latin typeface="EYInterstate Light" panose="02000506000000020004" pitchFamily="2" charset="0"/>
              </a:rPr>
              <a:t>COMMISSION DE LA FONCTION PUBLIQUE </a:t>
            </a:r>
          </a:p>
        </p:txBody>
      </p:sp>
    </p:spTree>
    <p:extLst>
      <p:ext uri="{BB962C8B-B14F-4D97-AF65-F5344CB8AC3E}">
        <p14:creationId xmlns:p14="http://schemas.microsoft.com/office/powerpoint/2010/main" val="27669206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6980034" cy="400110"/>
          </a:xfrm>
          <a:prstGeom prst="rect">
            <a:avLst/>
          </a:prstGeom>
          <a:noFill/>
        </p:spPr>
        <p:txBody>
          <a:bodyPr wrap="square" lIns="0" tIns="0" rIns="0" bIns="0" rtlCol="0" anchor="t" anchorCtr="0">
            <a:spAutoFit/>
          </a:bodyPr>
          <a:lstStyle/>
          <a:p>
            <a:r>
              <a:rPr lang="fr-CA" sz="2600" spc="-20" dirty="0">
                <a:solidFill>
                  <a:srgbClr val="4B4B4B"/>
                </a:solidFill>
                <a:latin typeface="EYInterstate Light" panose="02000506000000020004" pitchFamily="2" charset="0"/>
              </a:rPr>
              <a:t>Schéma de l’expérience </a:t>
            </a:r>
          </a:p>
        </p:txBody>
      </p:sp>
      <p:grpSp>
        <p:nvGrpSpPr>
          <p:cNvPr id="261" name="Group 260"/>
          <p:cNvGrpSpPr/>
          <p:nvPr/>
        </p:nvGrpSpPr>
        <p:grpSpPr>
          <a:xfrm>
            <a:off x="-132603" y="1428456"/>
            <a:ext cx="12736134" cy="4594064"/>
            <a:chOff x="-132603" y="1428456"/>
            <a:chExt cx="12736134" cy="4594064"/>
          </a:xfrm>
        </p:grpSpPr>
        <p:sp>
          <p:nvSpPr>
            <p:cNvPr id="262" name="TextBox 261"/>
            <p:cNvSpPr txBox="1"/>
            <p:nvPr/>
          </p:nvSpPr>
          <p:spPr>
            <a:xfrm>
              <a:off x="10186956" y="1543154"/>
              <a:ext cx="1817915" cy="4320000"/>
            </a:xfrm>
            <a:prstGeom prst="rect">
              <a:avLst/>
            </a:prstGeom>
            <a:solidFill>
              <a:srgbClr val="F0F0F0"/>
            </a:solidFill>
            <a:ln>
              <a:noFill/>
            </a:ln>
          </p:spPr>
          <p:txBody>
            <a:bodyPr wrap="square" lIns="612000" tIns="360000" rIns="360000" bIns="360000" rtlCol="0" anchor="t" anchorCtr="0">
              <a:spAutoFit/>
            </a:bodyPr>
            <a:lstStyle/>
            <a:p>
              <a:pPr marL="0" marR="0" lvl="0" indent="0" defTabSz="914400" eaLnBrk="1" fontAlgn="auto" latinLnBrk="0" hangingPunct="1">
                <a:lnSpc>
                  <a:spcPct val="150000"/>
                </a:lnSpc>
                <a:spcBef>
                  <a:spcPts val="200"/>
                </a:spcBef>
                <a:spcAft>
                  <a:spcPct val="0"/>
                </a:spcAft>
                <a:buClr>
                  <a:srgbClr val="C00000"/>
                </a:buClr>
                <a:buSzTx/>
                <a:buFontTx/>
                <a:buNone/>
                <a:tabLst/>
                <a:defRPr/>
              </a:pPr>
              <a:endParaRPr kumimoji="0" lang="en-US" sz="1400" b="0" i="0" u="none" strike="noStrike" kern="0" cap="none" spc="0" normalizeH="0" baseline="0" noProof="0" dirty="0">
                <a:ln>
                  <a:noFill/>
                </a:ln>
                <a:solidFill>
                  <a:srgbClr val="DA291C"/>
                </a:solidFill>
                <a:effectLst/>
                <a:uLnTx/>
                <a:uFillTx/>
                <a:latin typeface="EYInterstate Light" panose="02000506000000020004" pitchFamily="2" charset="0"/>
                <a:ea typeface="Verdana" panose="020B0604030504040204" pitchFamily="34" charset="0"/>
                <a:cs typeface="Verdana" panose="020B0604030504040204" pitchFamily="34" charset="0"/>
              </a:endParaRPr>
            </a:p>
          </p:txBody>
        </p:sp>
        <p:sp>
          <p:nvSpPr>
            <p:cNvPr id="263" name="TextBox 262"/>
            <p:cNvSpPr txBox="1"/>
            <p:nvPr/>
          </p:nvSpPr>
          <p:spPr>
            <a:xfrm>
              <a:off x="7212445" y="1535827"/>
              <a:ext cx="2890762" cy="4320000"/>
            </a:xfrm>
            <a:prstGeom prst="rect">
              <a:avLst/>
            </a:prstGeom>
            <a:solidFill>
              <a:srgbClr val="F0F0F0"/>
            </a:solidFill>
            <a:ln>
              <a:noFill/>
            </a:ln>
          </p:spPr>
          <p:txBody>
            <a:bodyPr wrap="square" lIns="612000" tIns="360000" rIns="360000" bIns="360000" rtlCol="0" anchor="t" anchorCtr="0">
              <a:spAutoFit/>
            </a:bodyPr>
            <a:lstStyle/>
            <a:p>
              <a:pPr marL="0" marR="0" lvl="0" indent="0" defTabSz="914400" eaLnBrk="1" fontAlgn="auto" latinLnBrk="0" hangingPunct="1">
                <a:lnSpc>
                  <a:spcPct val="150000"/>
                </a:lnSpc>
                <a:spcBef>
                  <a:spcPts val="200"/>
                </a:spcBef>
                <a:spcAft>
                  <a:spcPct val="0"/>
                </a:spcAft>
                <a:buClr>
                  <a:srgbClr val="C00000"/>
                </a:buClr>
                <a:buSzTx/>
                <a:buFontTx/>
                <a:buNone/>
                <a:tabLst/>
                <a:defRPr/>
              </a:pPr>
              <a:endParaRPr kumimoji="0" lang="en-US" sz="1400" b="0" i="0" u="none" strike="noStrike" kern="0" cap="none" spc="0" normalizeH="0" baseline="0" noProof="0" dirty="0">
                <a:ln>
                  <a:noFill/>
                </a:ln>
                <a:solidFill>
                  <a:srgbClr val="DA291C"/>
                </a:solidFill>
                <a:effectLst/>
                <a:uLnTx/>
                <a:uFillTx/>
                <a:latin typeface="EYInterstate Light" panose="02000506000000020004" pitchFamily="2" charset="0"/>
                <a:ea typeface="Verdana" panose="020B0604030504040204" pitchFamily="34" charset="0"/>
                <a:cs typeface="Verdana" panose="020B0604030504040204" pitchFamily="34" charset="0"/>
              </a:endParaRPr>
            </a:p>
          </p:txBody>
        </p:sp>
        <p:sp>
          <p:nvSpPr>
            <p:cNvPr id="264" name="TextBox 263"/>
            <p:cNvSpPr txBox="1"/>
            <p:nvPr/>
          </p:nvSpPr>
          <p:spPr>
            <a:xfrm>
              <a:off x="5237106" y="1543154"/>
              <a:ext cx="1886490" cy="4320000"/>
            </a:xfrm>
            <a:prstGeom prst="rect">
              <a:avLst/>
            </a:prstGeom>
            <a:solidFill>
              <a:srgbClr val="F0F0F0"/>
            </a:solidFill>
            <a:ln>
              <a:noFill/>
            </a:ln>
          </p:spPr>
          <p:txBody>
            <a:bodyPr wrap="square" lIns="612000" tIns="360000" rIns="360000" bIns="360000" rtlCol="0" anchor="t" anchorCtr="0">
              <a:spAutoFit/>
            </a:bodyPr>
            <a:lstStyle/>
            <a:p>
              <a:pPr marL="0" marR="0" lvl="0" indent="0" defTabSz="914400" eaLnBrk="1" fontAlgn="auto" latinLnBrk="0" hangingPunct="1">
                <a:lnSpc>
                  <a:spcPct val="150000"/>
                </a:lnSpc>
                <a:spcBef>
                  <a:spcPts val="200"/>
                </a:spcBef>
                <a:spcAft>
                  <a:spcPct val="0"/>
                </a:spcAft>
                <a:buClr>
                  <a:srgbClr val="C00000"/>
                </a:buClr>
                <a:buSzTx/>
                <a:buFontTx/>
                <a:buNone/>
                <a:tabLst/>
                <a:defRPr/>
              </a:pPr>
              <a:endParaRPr kumimoji="0" lang="en-US" sz="1400" b="0" i="0" u="none" strike="noStrike" kern="0" cap="none" spc="0" normalizeH="0" baseline="0" noProof="0" dirty="0">
                <a:ln>
                  <a:noFill/>
                </a:ln>
                <a:solidFill>
                  <a:srgbClr val="DA291C"/>
                </a:solidFill>
                <a:effectLst/>
                <a:uLnTx/>
                <a:uFillTx/>
                <a:latin typeface="EYInterstate Light" panose="02000506000000020004" pitchFamily="2" charset="0"/>
                <a:ea typeface="Verdana" panose="020B0604030504040204" pitchFamily="34" charset="0"/>
                <a:cs typeface="Verdana" panose="020B0604030504040204" pitchFamily="34" charset="0"/>
              </a:endParaRPr>
            </a:p>
          </p:txBody>
        </p:sp>
        <p:sp>
          <p:nvSpPr>
            <p:cNvPr id="265" name="TextBox 264"/>
            <p:cNvSpPr txBox="1"/>
            <p:nvPr/>
          </p:nvSpPr>
          <p:spPr>
            <a:xfrm>
              <a:off x="2426040" y="1545435"/>
              <a:ext cx="2696773" cy="4320000"/>
            </a:xfrm>
            <a:prstGeom prst="rect">
              <a:avLst/>
            </a:prstGeom>
            <a:solidFill>
              <a:srgbClr val="F0F0F0"/>
            </a:solidFill>
            <a:ln>
              <a:noFill/>
            </a:ln>
          </p:spPr>
          <p:txBody>
            <a:bodyPr wrap="square" lIns="612000" tIns="360000" rIns="360000" bIns="360000" rtlCol="0" anchor="t" anchorCtr="0">
              <a:spAutoFit/>
            </a:bodyPr>
            <a:lstStyle/>
            <a:p>
              <a:pPr marL="0" marR="0" lvl="0" indent="0" defTabSz="914400" eaLnBrk="1" fontAlgn="auto" latinLnBrk="0" hangingPunct="1">
                <a:lnSpc>
                  <a:spcPct val="150000"/>
                </a:lnSpc>
                <a:spcBef>
                  <a:spcPts val="200"/>
                </a:spcBef>
                <a:spcAft>
                  <a:spcPct val="0"/>
                </a:spcAft>
                <a:buClr>
                  <a:srgbClr val="C00000"/>
                </a:buClr>
                <a:buSzTx/>
                <a:buFontTx/>
                <a:buNone/>
                <a:tabLst/>
                <a:defRPr/>
              </a:pPr>
              <a:endParaRPr kumimoji="0" lang="en-US" sz="1400" b="0" i="0" u="none" strike="noStrike" kern="0" cap="none" spc="0" normalizeH="0" baseline="0" noProof="0" dirty="0">
                <a:ln>
                  <a:noFill/>
                </a:ln>
                <a:solidFill>
                  <a:srgbClr val="DA291C"/>
                </a:solidFill>
                <a:effectLst/>
                <a:uLnTx/>
                <a:uFillTx/>
                <a:latin typeface="EYInterstate Light" panose="02000506000000020004" pitchFamily="2" charset="0"/>
                <a:ea typeface="Verdana" panose="020B0604030504040204" pitchFamily="34" charset="0"/>
                <a:cs typeface="Verdana" panose="020B0604030504040204" pitchFamily="34" charset="0"/>
              </a:endParaRPr>
            </a:p>
          </p:txBody>
        </p:sp>
        <p:sp>
          <p:nvSpPr>
            <p:cNvPr id="266" name="TextBox 265"/>
            <p:cNvSpPr txBox="1"/>
            <p:nvPr/>
          </p:nvSpPr>
          <p:spPr>
            <a:xfrm>
              <a:off x="205894" y="1535747"/>
              <a:ext cx="2097547" cy="4320000"/>
            </a:xfrm>
            <a:prstGeom prst="rect">
              <a:avLst/>
            </a:prstGeom>
            <a:solidFill>
              <a:srgbClr val="F0F0F0"/>
            </a:solidFill>
            <a:ln>
              <a:noFill/>
            </a:ln>
          </p:spPr>
          <p:txBody>
            <a:bodyPr wrap="square" lIns="612000" tIns="360000" rIns="360000" bIns="360000" rtlCol="0" anchor="t" anchorCtr="0">
              <a:spAutoFit/>
            </a:bodyPr>
            <a:lstStyle/>
            <a:p>
              <a:pPr marL="0" marR="0" lvl="0" indent="0" defTabSz="914400" eaLnBrk="1" fontAlgn="auto" latinLnBrk="0" hangingPunct="1">
                <a:lnSpc>
                  <a:spcPct val="150000"/>
                </a:lnSpc>
                <a:spcBef>
                  <a:spcPts val="200"/>
                </a:spcBef>
                <a:spcAft>
                  <a:spcPct val="0"/>
                </a:spcAft>
                <a:buClr>
                  <a:srgbClr val="C00000"/>
                </a:buClr>
                <a:buSzTx/>
                <a:buFontTx/>
                <a:buNone/>
                <a:tabLst/>
                <a:defRPr/>
              </a:pPr>
              <a:endParaRPr kumimoji="0" lang="en-US" sz="1400" b="0" i="0" u="none" strike="noStrike" kern="0" cap="none" spc="0" normalizeH="0" baseline="0" noProof="0" dirty="0">
                <a:ln>
                  <a:noFill/>
                </a:ln>
                <a:solidFill>
                  <a:srgbClr val="DA291C"/>
                </a:solidFill>
                <a:effectLst/>
                <a:uLnTx/>
                <a:uFillTx/>
                <a:latin typeface="EYInterstate Light" panose="02000506000000020004" pitchFamily="2" charset="0"/>
                <a:ea typeface="Verdana" panose="020B0604030504040204" pitchFamily="34" charset="0"/>
                <a:cs typeface="Verdana" panose="020B0604030504040204" pitchFamily="34" charset="0"/>
              </a:endParaRPr>
            </a:p>
          </p:txBody>
        </p:sp>
        <p:grpSp>
          <p:nvGrpSpPr>
            <p:cNvPr id="267" name="Group 266"/>
            <p:cNvGrpSpPr/>
            <p:nvPr/>
          </p:nvGrpSpPr>
          <p:grpSpPr>
            <a:xfrm rot="60000">
              <a:off x="-132603" y="1428456"/>
              <a:ext cx="12452718" cy="4594064"/>
              <a:chOff x="-148698" y="1140048"/>
              <a:chExt cx="11807397" cy="4594064"/>
            </a:xfrm>
            <a:solidFill>
              <a:srgbClr val="999999"/>
            </a:solidFill>
          </p:grpSpPr>
          <p:sp>
            <p:nvSpPr>
              <p:cNvPr id="381" name="Circular Arrow 380"/>
              <p:cNvSpPr/>
              <p:nvPr/>
            </p:nvSpPr>
            <p:spPr>
              <a:xfrm rot="19198213" flipV="1">
                <a:off x="5140804" y="1258596"/>
                <a:ext cx="2993648" cy="2636981"/>
              </a:xfrm>
              <a:prstGeom prst="circularArrow">
                <a:avLst>
                  <a:gd name="adj1" fmla="val 25156"/>
                  <a:gd name="adj2" fmla="val 17697"/>
                  <a:gd name="adj3" fmla="val 17388682"/>
                  <a:gd name="adj4" fmla="val 10710798"/>
                  <a:gd name="adj5" fmla="val 12371"/>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382" name="Group 381"/>
              <p:cNvGrpSpPr/>
              <p:nvPr/>
            </p:nvGrpSpPr>
            <p:grpSpPr>
              <a:xfrm>
                <a:off x="-148698" y="1140048"/>
                <a:ext cx="11807397" cy="4594064"/>
                <a:chOff x="-148698" y="1140048"/>
                <a:chExt cx="11807397" cy="4594064"/>
              </a:xfrm>
              <a:grpFill/>
            </p:grpSpPr>
            <p:sp>
              <p:nvSpPr>
                <p:cNvPr id="383" name="Circular Arrow 382"/>
                <p:cNvSpPr/>
                <p:nvPr/>
              </p:nvSpPr>
              <p:spPr>
                <a:xfrm rot="2271508">
                  <a:off x="-148698" y="2863211"/>
                  <a:ext cx="3323251" cy="2870901"/>
                </a:xfrm>
                <a:prstGeom prst="circularArrow">
                  <a:avLst>
                    <a:gd name="adj1" fmla="val 20814"/>
                    <a:gd name="adj2" fmla="val 17697"/>
                    <a:gd name="adj3" fmla="val 16970879"/>
                    <a:gd name="adj4" fmla="val 11038755"/>
                    <a:gd name="adj5" fmla="val 12500"/>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384" name="Circular Arrow 383"/>
                <p:cNvSpPr/>
                <p:nvPr/>
              </p:nvSpPr>
              <p:spPr>
                <a:xfrm rot="19198213" flipV="1">
                  <a:off x="1633787" y="1373134"/>
                  <a:ext cx="2993648" cy="2636981"/>
                </a:xfrm>
                <a:prstGeom prst="circularArrow">
                  <a:avLst>
                    <a:gd name="adj1" fmla="val 25156"/>
                    <a:gd name="adj2" fmla="val 17697"/>
                    <a:gd name="adj3" fmla="val 17388682"/>
                    <a:gd name="adj4" fmla="val 10800000"/>
                    <a:gd name="adj5" fmla="val 11735"/>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385" name="Circular Arrow 384"/>
                <p:cNvSpPr/>
                <p:nvPr/>
              </p:nvSpPr>
              <p:spPr>
                <a:xfrm rot="1440676">
                  <a:off x="3383548" y="2765745"/>
                  <a:ext cx="3246732" cy="2540222"/>
                </a:xfrm>
                <a:prstGeom prst="circularArrow">
                  <a:avLst>
                    <a:gd name="adj1" fmla="val 25000"/>
                    <a:gd name="adj2" fmla="val 17697"/>
                    <a:gd name="adj3" fmla="val 17735101"/>
                    <a:gd name="adj4" fmla="val 11177275"/>
                    <a:gd name="adj5" fmla="val 12153"/>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386" name="Circular Arrow 385"/>
                <p:cNvSpPr/>
                <p:nvPr/>
              </p:nvSpPr>
              <p:spPr>
                <a:xfrm rot="1440676">
                  <a:off x="6831685" y="2667031"/>
                  <a:ext cx="3246732" cy="2540222"/>
                </a:xfrm>
                <a:prstGeom prst="circularArrow">
                  <a:avLst>
                    <a:gd name="adj1" fmla="val 25000"/>
                    <a:gd name="adj2" fmla="val 17697"/>
                    <a:gd name="adj3" fmla="val 17735101"/>
                    <a:gd name="adj4" fmla="val 10800000"/>
                    <a:gd name="adj5" fmla="val 12500"/>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387" name="Circular Arrow 386"/>
                <p:cNvSpPr/>
                <p:nvPr/>
              </p:nvSpPr>
              <p:spPr>
                <a:xfrm rot="19198213" flipV="1">
                  <a:off x="8564827" y="1140048"/>
                  <a:ext cx="3093872" cy="2612214"/>
                </a:xfrm>
                <a:prstGeom prst="circularArrow">
                  <a:avLst>
                    <a:gd name="adj1" fmla="val 25156"/>
                    <a:gd name="adj2" fmla="val 17697"/>
                    <a:gd name="adj3" fmla="val 17388682"/>
                    <a:gd name="adj4" fmla="val 10800000"/>
                    <a:gd name="adj5" fmla="val 12578"/>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grpSp>
        <p:cxnSp>
          <p:nvCxnSpPr>
            <p:cNvPr id="268" name="Straight Connector 267"/>
            <p:cNvCxnSpPr/>
            <p:nvPr/>
          </p:nvCxnSpPr>
          <p:spPr>
            <a:xfrm>
              <a:off x="10249373" y="2088390"/>
              <a:ext cx="1620000" cy="0"/>
            </a:xfrm>
            <a:prstGeom prst="line">
              <a:avLst/>
            </a:prstGeom>
            <a:noFill/>
            <a:ln w="12700" cap="flat" cmpd="sng" algn="ctr">
              <a:solidFill>
                <a:srgbClr val="E60F2D"/>
              </a:solidFill>
              <a:prstDash val="solid"/>
              <a:tailEnd type="none"/>
            </a:ln>
            <a:effectLst/>
          </p:spPr>
        </p:cxnSp>
        <p:sp>
          <p:nvSpPr>
            <p:cNvPr id="269" name="TextBox 268"/>
            <p:cNvSpPr txBox="1"/>
            <p:nvPr/>
          </p:nvSpPr>
          <p:spPr>
            <a:xfrm>
              <a:off x="-88707" y="1657030"/>
              <a:ext cx="2554218" cy="323165"/>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500" b="1" i="0" u="none" strike="noStrike" kern="0" cap="none" spc="0" normalizeH="0" baseline="0" dirty="0">
                  <a:ln>
                    <a:noFill/>
                  </a:ln>
                  <a:solidFill>
                    <a:srgbClr val="000000"/>
                  </a:solidFill>
                  <a:effectLst/>
                  <a:uLnTx/>
                  <a:uFillTx/>
                  <a:latin typeface="EYInterstate" panose="02000503020000020004" pitchFamily="2" charset="0"/>
                </a:rPr>
                <a:t>Recruter et embaucher</a:t>
              </a:r>
            </a:p>
          </p:txBody>
        </p:sp>
        <p:sp>
          <p:nvSpPr>
            <p:cNvPr id="270" name="TextBox 269"/>
            <p:cNvSpPr txBox="1"/>
            <p:nvPr/>
          </p:nvSpPr>
          <p:spPr>
            <a:xfrm>
              <a:off x="2182436" y="1559795"/>
              <a:ext cx="3184743" cy="553998"/>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500" b="1" i="0" u="none" strike="noStrike" kern="0" cap="none" spc="0" normalizeH="0" baseline="0" noProof="0" dirty="0">
                  <a:ln>
                    <a:noFill/>
                  </a:ln>
                  <a:solidFill>
                    <a:srgbClr val="000000"/>
                  </a:solidFill>
                  <a:effectLst/>
                  <a:uLnTx/>
                  <a:uFillTx/>
                  <a:latin typeface="EYInterstate" panose="02000503020000020004" pitchFamily="2" charset="0"/>
                </a:rPr>
                <a:t>Gérer les données des employés</a:t>
              </a:r>
              <a:r>
                <a:rPr kumimoji="0" lang="fr-CA" sz="1500" b="1" i="0" u="none" strike="noStrike" kern="0" cap="none" spc="0" normalizeH="0" noProof="0" dirty="0">
                  <a:ln>
                    <a:noFill/>
                  </a:ln>
                  <a:solidFill>
                    <a:srgbClr val="000000"/>
                  </a:solidFill>
                  <a:effectLst/>
                  <a:uLnTx/>
                  <a:uFillTx/>
                  <a:latin typeface="EYInterstate" panose="02000503020000020004" pitchFamily="2" charset="0"/>
                </a:rPr>
                <a:t> et de</a:t>
              </a:r>
              <a:r>
                <a:rPr kumimoji="0" lang="fr-CA" sz="1500" b="1" i="0" u="none" strike="noStrike" kern="0" cap="none" spc="0" normalizeH="0" baseline="0" noProof="0" dirty="0">
                  <a:ln>
                    <a:noFill/>
                  </a:ln>
                  <a:solidFill>
                    <a:srgbClr val="000000"/>
                  </a:solidFill>
                  <a:effectLst/>
                  <a:uLnTx/>
                  <a:uFillTx/>
                  <a:latin typeface="EYInterstate" panose="02000503020000020004" pitchFamily="2" charset="0"/>
                </a:rPr>
                <a:t> </a:t>
              </a:r>
              <a:r>
                <a:rPr lang="fr-CA" sz="1500" b="1" kern="0" dirty="0">
                  <a:solidFill>
                    <a:srgbClr val="000000"/>
                  </a:solidFill>
                  <a:latin typeface="EYInterstate" panose="02000503020000020004" pitchFamily="2" charset="0"/>
                </a:rPr>
                <a:t>l’organisation</a:t>
              </a:r>
              <a:r>
                <a:rPr kumimoji="0" lang="fr-CA" sz="1500" b="1" i="0" u="none" strike="noStrike" kern="0" cap="none" spc="0" normalizeH="0" baseline="0" noProof="0" dirty="0">
                  <a:ln>
                    <a:noFill/>
                  </a:ln>
                  <a:solidFill>
                    <a:srgbClr val="000000"/>
                  </a:solidFill>
                  <a:effectLst/>
                  <a:uLnTx/>
                  <a:uFillTx/>
                  <a:latin typeface="EYInterstate" panose="02000503020000020004" pitchFamily="2" charset="0"/>
                </a:rPr>
                <a:t> </a:t>
              </a:r>
            </a:p>
          </p:txBody>
        </p:sp>
        <p:sp>
          <p:nvSpPr>
            <p:cNvPr id="271" name="TextBox 270"/>
            <p:cNvSpPr txBox="1"/>
            <p:nvPr/>
          </p:nvSpPr>
          <p:spPr>
            <a:xfrm>
              <a:off x="5049537" y="1640421"/>
              <a:ext cx="2185960" cy="553998"/>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500" b="1" i="0" u="none" strike="noStrike" kern="0" cap="none" spc="0" normalizeH="0" baseline="0" dirty="0">
                  <a:ln>
                    <a:noFill/>
                  </a:ln>
                  <a:solidFill>
                    <a:srgbClr val="000000"/>
                  </a:solidFill>
                  <a:effectLst/>
                  <a:uLnTx/>
                  <a:uFillTx/>
                  <a:latin typeface="EYInterstate" panose="02000503020000020004" pitchFamily="2" charset="0"/>
                </a:rPr>
                <a:t>Rémunérer les employés</a:t>
              </a:r>
            </a:p>
          </p:txBody>
        </p:sp>
        <p:sp>
          <p:nvSpPr>
            <p:cNvPr id="272" name="TextBox 271"/>
            <p:cNvSpPr txBox="1"/>
            <p:nvPr/>
          </p:nvSpPr>
          <p:spPr>
            <a:xfrm>
              <a:off x="6989927" y="1535828"/>
              <a:ext cx="3219010" cy="553998"/>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500" b="1" i="0" u="none" strike="noStrike" kern="0" cap="none" spc="0" normalizeH="0" baseline="0" dirty="0">
                  <a:ln>
                    <a:noFill/>
                  </a:ln>
                  <a:solidFill>
                    <a:srgbClr val="000000"/>
                  </a:solidFill>
                  <a:effectLst/>
                  <a:uLnTx/>
                  <a:uFillTx/>
                  <a:latin typeface="EYInterstate" panose="02000503020000020004" pitchFamily="2" charset="0"/>
                </a:rPr>
                <a:t>Gérer le rendement et le perfectionnement </a:t>
              </a:r>
            </a:p>
          </p:txBody>
        </p:sp>
        <p:sp>
          <p:nvSpPr>
            <p:cNvPr id="273" name="Flowchart: Connector 272"/>
            <p:cNvSpPr>
              <a:spLocks noChangeAspect="1"/>
            </p:cNvSpPr>
            <p:nvPr/>
          </p:nvSpPr>
          <p:spPr>
            <a:xfrm>
              <a:off x="725201" y="3122254"/>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74" name="TextBox 273"/>
            <p:cNvSpPr txBox="1"/>
            <p:nvPr/>
          </p:nvSpPr>
          <p:spPr>
            <a:xfrm>
              <a:off x="169879" y="2135948"/>
              <a:ext cx="1605548" cy="430887"/>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000000"/>
                  </a:solidFill>
                  <a:effectLst/>
                  <a:uLnTx/>
                  <a:uFillTx/>
                  <a:latin typeface="EYInterstate" panose="02000503020000020004" pitchFamily="2" charset="0"/>
                </a:rPr>
                <a:t>1.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000000"/>
                  </a:solidFill>
                  <a:effectLst/>
                  <a:uLnTx/>
                  <a:uFillTx/>
                  <a:latin typeface="EYInterstate" panose="02000503020000020004" pitchFamily="2" charset="0"/>
                </a:rPr>
                <a:t>Gérer le recrutement</a:t>
              </a:r>
            </a:p>
          </p:txBody>
        </p:sp>
        <p:sp>
          <p:nvSpPr>
            <p:cNvPr id="275" name="TextBox 274"/>
            <p:cNvSpPr txBox="1"/>
            <p:nvPr/>
          </p:nvSpPr>
          <p:spPr>
            <a:xfrm>
              <a:off x="6114267" y="4950172"/>
              <a:ext cx="1142095" cy="430887"/>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9. </a:t>
              </a:r>
            </a:p>
            <a:p>
              <a:pPr marL="0" marR="0" lvl="0" indent="0" algn="ctr" defTabSz="906240" eaLnBrk="1" fontAlgn="auto" latinLnBrk="0" hangingPunct="1">
                <a:lnSpc>
                  <a:spcPct val="100000"/>
                </a:lnSpc>
                <a:spcBef>
                  <a:spcPts val="0"/>
                </a:spcBef>
                <a:spcAft>
                  <a:spcPts val="0"/>
                </a:spcAft>
                <a:buClrTx/>
                <a:buSzTx/>
                <a:buFontTx/>
                <a:buNone/>
                <a:tabLst/>
                <a:defRPr/>
              </a:pPr>
              <a:r>
                <a:rPr lang="fr-CA" sz="1100" b="1" kern="0" dirty="0">
                  <a:solidFill>
                    <a:srgbClr val="D0DCDF">
                      <a:lumMod val="10000"/>
                    </a:srgbClr>
                  </a:solidFill>
                  <a:latin typeface="EYInterstate" panose="02000503020000020004" pitchFamily="2" charset="0"/>
                </a:rPr>
                <a:t>Gérer la paie</a:t>
              </a:r>
              <a:endParaRPr kumimoji="0" lang="fr-CA"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endParaRPr>
            </a:p>
          </p:txBody>
        </p:sp>
        <p:sp>
          <p:nvSpPr>
            <p:cNvPr id="276" name="TextBox 275"/>
            <p:cNvSpPr txBox="1"/>
            <p:nvPr/>
          </p:nvSpPr>
          <p:spPr>
            <a:xfrm>
              <a:off x="949713" y="4600751"/>
              <a:ext cx="1605548" cy="769441"/>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fr-CA" sz="1100" b="1" i="0" u="none" strike="noStrike" kern="0" cap="none" spc="0" normalizeH="0" baseline="0" noProof="1">
                  <a:ln>
                    <a:noFill/>
                  </a:ln>
                  <a:solidFill>
                    <a:srgbClr val="000000"/>
                  </a:solidFill>
                  <a:effectLst/>
                  <a:uLnTx/>
                  <a:uFillTx/>
                  <a:latin typeface="EYInterstate" panose="02000503020000020004" pitchFamily="2" charset="0"/>
                </a:rPr>
                <a:t>2. </a:t>
              </a:r>
            </a:p>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fr-CA" sz="1100" b="1" i="0" u="none" strike="noStrike" kern="0" cap="none" spc="0" normalizeH="0" baseline="0" noProof="1">
                  <a:ln>
                    <a:noFill/>
                  </a:ln>
                  <a:solidFill>
                    <a:srgbClr val="000000"/>
                  </a:solidFill>
                  <a:effectLst/>
                  <a:uLnTx/>
                  <a:uFillTx/>
                  <a:latin typeface="EYInterstate" panose="02000503020000020004" pitchFamily="2" charset="0"/>
                </a:rPr>
                <a:t>Gérer l’embauche, l’arrivée et l’intégration </a:t>
              </a:r>
            </a:p>
          </p:txBody>
        </p:sp>
        <p:sp>
          <p:nvSpPr>
            <p:cNvPr id="277" name="TextBox 276"/>
            <p:cNvSpPr txBox="1"/>
            <p:nvPr/>
          </p:nvSpPr>
          <p:spPr>
            <a:xfrm>
              <a:off x="2339712" y="5031347"/>
              <a:ext cx="1265003" cy="769441"/>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fr-CA" sz="1100" b="1" i="0" u="none" strike="noStrike" kern="0" cap="none" spc="0" normalizeH="0" baseline="0" noProof="1">
                  <a:ln>
                    <a:noFill/>
                  </a:ln>
                  <a:solidFill>
                    <a:srgbClr val="000000"/>
                  </a:solidFill>
                  <a:effectLst/>
                  <a:uLnTx/>
                  <a:uFillTx/>
                  <a:latin typeface="EYInterstate" panose="02000503020000020004" pitchFamily="2" charset="0"/>
                </a:rPr>
                <a:t>3. </a:t>
              </a:r>
            </a:p>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fr-CA" sz="1100" b="1" i="0" u="none" strike="noStrike" kern="0" cap="none" spc="0" normalizeH="0" baseline="0" noProof="1">
                  <a:ln>
                    <a:noFill/>
                  </a:ln>
                  <a:solidFill>
                    <a:srgbClr val="000000"/>
                  </a:solidFill>
                  <a:effectLst/>
                  <a:uLnTx/>
                  <a:uFillTx/>
                  <a:latin typeface="EYInterstate" panose="02000503020000020004" pitchFamily="2" charset="0"/>
                </a:rPr>
                <a:t>Administrer les données des employés</a:t>
              </a:r>
            </a:p>
          </p:txBody>
        </p:sp>
        <p:sp>
          <p:nvSpPr>
            <p:cNvPr id="278" name="TextBox 277"/>
            <p:cNvSpPr txBox="1"/>
            <p:nvPr/>
          </p:nvSpPr>
          <p:spPr>
            <a:xfrm>
              <a:off x="2753700" y="2275296"/>
              <a:ext cx="1351773" cy="769441"/>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fr-CA" sz="1100" b="1" i="0" u="none" strike="noStrike" kern="0" cap="none" spc="0" normalizeH="0" baseline="0" noProof="1">
                  <a:ln>
                    <a:noFill/>
                  </a:ln>
                  <a:solidFill>
                    <a:srgbClr val="000000"/>
                  </a:solidFill>
                  <a:effectLst/>
                  <a:uLnTx/>
                  <a:uFillTx/>
                  <a:latin typeface="EYInterstate" panose="02000503020000020004" pitchFamily="2" charset="0"/>
                </a:rPr>
                <a:t>4. </a:t>
              </a:r>
            </a:p>
            <a:p>
              <a:pPr lvl="0" algn="ctr" fontAlgn="base">
                <a:spcBef>
                  <a:spcPct val="0"/>
                </a:spcBef>
                <a:spcAft>
                  <a:spcPct val="0"/>
                </a:spcAft>
                <a:buClr>
                  <a:srgbClr val="FFD200"/>
                </a:buClr>
                <a:buSzPct val="150000"/>
                <a:tabLst>
                  <a:tab pos="656650" algn="l"/>
                  <a:tab pos="1313299" algn="l"/>
                  <a:tab pos="1969949" algn="l"/>
                </a:tabLst>
                <a:defRPr/>
              </a:pPr>
              <a:r>
                <a:rPr lang="fr-CA" sz="1100" b="1" kern="0" dirty="0">
                  <a:solidFill>
                    <a:srgbClr val="000000"/>
                  </a:solidFill>
                  <a:latin typeface="EYInterstate" panose="02000503020000020004" pitchFamily="2" charset="0"/>
                </a:rPr>
                <a:t>Gérer l</a:t>
              </a:r>
              <a:r>
                <a:rPr lang="fr-CA" sz="1100" b="1" kern="0" noProof="1">
                  <a:solidFill>
                    <a:srgbClr val="000000"/>
                  </a:solidFill>
                  <a:latin typeface="EYInterstate" panose="02000503020000020004" pitchFamily="2" charset="0"/>
                </a:rPr>
                <a:t>’</a:t>
              </a:r>
              <a:r>
                <a:rPr kumimoji="0" lang="fr-CA" sz="1100" b="1" i="0" u="none" strike="noStrike" kern="0" cap="none" spc="0" normalizeH="0" baseline="0" noProof="1">
                  <a:ln>
                    <a:noFill/>
                  </a:ln>
                  <a:solidFill>
                    <a:srgbClr val="000000"/>
                  </a:solidFill>
                  <a:effectLst/>
                  <a:uLnTx/>
                  <a:uFillTx/>
                  <a:latin typeface="EYInterstate" panose="02000503020000020004" pitchFamily="2" charset="0"/>
                </a:rPr>
                <a:t>organisation </a:t>
              </a:r>
            </a:p>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lang="fr-CA" sz="1100" b="1" kern="0" noProof="1">
                  <a:solidFill>
                    <a:srgbClr val="000000"/>
                  </a:solidFill>
                  <a:latin typeface="EYInterstate" panose="02000503020000020004" pitchFamily="2" charset="0"/>
                </a:rPr>
                <a:t>e</a:t>
              </a:r>
              <a:r>
                <a:rPr kumimoji="0" lang="fr-CA" sz="1100" b="1" i="0" u="none" strike="noStrike" kern="0" cap="none" spc="0" normalizeH="0" baseline="0" noProof="1">
                  <a:ln>
                    <a:noFill/>
                  </a:ln>
                  <a:solidFill>
                    <a:srgbClr val="000000"/>
                  </a:solidFill>
                  <a:effectLst/>
                  <a:uLnTx/>
                  <a:uFillTx/>
                  <a:latin typeface="EYInterstate" panose="02000503020000020004" pitchFamily="2" charset="0"/>
                </a:rPr>
                <a:t>t les postes </a:t>
              </a:r>
            </a:p>
          </p:txBody>
        </p:sp>
        <p:sp>
          <p:nvSpPr>
            <p:cNvPr id="279" name="TextBox 278"/>
            <p:cNvSpPr txBox="1"/>
            <p:nvPr/>
          </p:nvSpPr>
          <p:spPr>
            <a:xfrm>
              <a:off x="5367179" y="2203358"/>
              <a:ext cx="1605548" cy="430887"/>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8.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Gérer le temps</a:t>
              </a:r>
            </a:p>
          </p:txBody>
        </p:sp>
        <p:sp>
          <p:nvSpPr>
            <p:cNvPr id="280" name="TextBox 279"/>
            <p:cNvSpPr txBox="1"/>
            <p:nvPr/>
          </p:nvSpPr>
          <p:spPr>
            <a:xfrm>
              <a:off x="7631249" y="3979119"/>
              <a:ext cx="1568705" cy="430887"/>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11.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Gérer le rendement</a:t>
              </a:r>
            </a:p>
          </p:txBody>
        </p:sp>
        <p:sp>
          <p:nvSpPr>
            <p:cNvPr id="281" name="TextBox 280"/>
            <p:cNvSpPr txBox="1"/>
            <p:nvPr/>
          </p:nvSpPr>
          <p:spPr>
            <a:xfrm>
              <a:off x="4922378" y="4735301"/>
              <a:ext cx="160554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7. </a:t>
              </a:r>
            </a:p>
            <a:p>
              <a:pPr marL="0" marR="0" lvl="0" indent="0" algn="ctr" defTabSz="906240" eaLnBrk="1" fontAlgn="auto" latinLnBrk="0" hangingPunct="1">
                <a:lnSpc>
                  <a:spcPct val="100000"/>
                </a:lnSpc>
                <a:spcBef>
                  <a:spcPts val="0"/>
                </a:spcBef>
                <a:spcAft>
                  <a:spcPts val="0"/>
                </a:spcAft>
                <a:buClrTx/>
                <a:buSzTx/>
                <a:buFontTx/>
                <a:buNone/>
                <a:tabLst/>
                <a:defRPr/>
              </a:pPr>
              <a:r>
                <a:rPr lang="fr-CA" sz="1100" b="1" kern="0" dirty="0">
                  <a:solidFill>
                    <a:srgbClr val="D0DCDF">
                      <a:lumMod val="10000"/>
                    </a:srgbClr>
                  </a:solidFill>
                  <a:latin typeface="EYInterstate" panose="02000503020000020004" pitchFamily="2" charset="0"/>
                </a:rPr>
                <a:t>Gérer la rémunér</a:t>
              </a: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ation </a:t>
              </a:r>
            </a:p>
          </p:txBody>
        </p:sp>
        <p:sp>
          <p:nvSpPr>
            <p:cNvPr id="282" name="TextBox 281"/>
            <p:cNvSpPr txBox="1"/>
            <p:nvPr/>
          </p:nvSpPr>
          <p:spPr>
            <a:xfrm>
              <a:off x="6529590" y="4572952"/>
              <a:ext cx="2430232"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10.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Gérer la formation et le perfectionnement des employés</a:t>
              </a:r>
            </a:p>
          </p:txBody>
        </p:sp>
        <p:cxnSp>
          <p:nvCxnSpPr>
            <p:cNvPr id="283" name="Straight Connector 282"/>
            <p:cNvCxnSpPr/>
            <p:nvPr/>
          </p:nvCxnSpPr>
          <p:spPr>
            <a:xfrm flipV="1">
              <a:off x="942348" y="2756165"/>
              <a:ext cx="1936" cy="324000"/>
            </a:xfrm>
            <a:prstGeom prst="line">
              <a:avLst/>
            </a:prstGeom>
            <a:noFill/>
            <a:ln w="12700" cap="flat" cmpd="sng" algn="ctr">
              <a:solidFill>
                <a:srgbClr val="002040"/>
              </a:solidFill>
              <a:prstDash val="solid"/>
              <a:headEnd type="oval" w="med" len="med"/>
              <a:tailEnd type="oval" w="med" len="med"/>
            </a:ln>
            <a:effectLst/>
          </p:spPr>
        </p:cxnSp>
        <p:grpSp>
          <p:nvGrpSpPr>
            <p:cNvPr id="284" name="Group 902"/>
            <p:cNvGrpSpPr>
              <a:grpSpLocks noChangeAspect="1"/>
            </p:cNvGrpSpPr>
            <p:nvPr/>
          </p:nvGrpSpPr>
          <p:grpSpPr bwMode="auto">
            <a:xfrm>
              <a:off x="757016" y="3156536"/>
              <a:ext cx="366803" cy="365728"/>
              <a:chOff x="3456" y="3471"/>
              <a:chExt cx="341" cy="340"/>
            </a:xfrm>
            <a:solidFill>
              <a:srgbClr val="002040"/>
            </a:solidFill>
          </p:grpSpPr>
          <p:sp>
            <p:nvSpPr>
              <p:cNvPr id="379" name="Freeform 903"/>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80" name="Freeform 904"/>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sp>
          <p:nvSpPr>
            <p:cNvPr id="285" name="Flowchart: Connector 284"/>
            <p:cNvSpPr>
              <a:spLocks noChangeAspect="1"/>
            </p:cNvSpPr>
            <p:nvPr/>
          </p:nvSpPr>
          <p:spPr>
            <a:xfrm>
              <a:off x="8928165" y="3141933"/>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286" name="Group 763"/>
            <p:cNvGrpSpPr>
              <a:grpSpLocks noChangeAspect="1"/>
            </p:cNvGrpSpPr>
            <p:nvPr/>
          </p:nvGrpSpPr>
          <p:grpSpPr bwMode="auto">
            <a:xfrm>
              <a:off x="8959821" y="3176730"/>
              <a:ext cx="365770" cy="364698"/>
              <a:chOff x="3203" y="3365"/>
              <a:chExt cx="341" cy="340"/>
            </a:xfrm>
            <a:solidFill>
              <a:srgbClr val="002040"/>
            </a:solidFill>
            <a:effectLst/>
          </p:grpSpPr>
          <p:sp>
            <p:nvSpPr>
              <p:cNvPr id="377" name="Freeform 764"/>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78" name="Freeform 765"/>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sp>
          <p:nvSpPr>
            <p:cNvPr id="287" name="Flowchart: Connector 286"/>
            <p:cNvSpPr>
              <a:spLocks noChangeAspect="1"/>
            </p:cNvSpPr>
            <p:nvPr/>
          </p:nvSpPr>
          <p:spPr>
            <a:xfrm>
              <a:off x="1580475" y="3165577"/>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88" name="Flowchart: Connector 287"/>
            <p:cNvSpPr>
              <a:spLocks noChangeAspect="1"/>
            </p:cNvSpPr>
            <p:nvPr/>
          </p:nvSpPr>
          <p:spPr>
            <a:xfrm>
              <a:off x="2664129" y="3809761"/>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89" name="Flowchart: Connector 288"/>
            <p:cNvSpPr>
              <a:spLocks noChangeAspect="1"/>
            </p:cNvSpPr>
            <p:nvPr/>
          </p:nvSpPr>
          <p:spPr>
            <a:xfrm>
              <a:off x="3254734" y="3756298"/>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90" name="Flowchart: Connector 289"/>
            <p:cNvSpPr>
              <a:spLocks noChangeAspect="1"/>
            </p:cNvSpPr>
            <p:nvPr/>
          </p:nvSpPr>
          <p:spPr>
            <a:xfrm>
              <a:off x="6495650" y="3764679"/>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91" name="Flowchart: Connector 290"/>
            <p:cNvSpPr>
              <a:spLocks noChangeAspect="1"/>
            </p:cNvSpPr>
            <p:nvPr/>
          </p:nvSpPr>
          <p:spPr>
            <a:xfrm>
              <a:off x="5345669" y="3177033"/>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92" name="Flowchart: Connector 291"/>
            <p:cNvSpPr>
              <a:spLocks noChangeAspect="1"/>
            </p:cNvSpPr>
            <p:nvPr/>
          </p:nvSpPr>
          <p:spPr>
            <a:xfrm>
              <a:off x="10806568" y="3578338"/>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cxnSp>
          <p:nvCxnSpPr>
            <p:cNvPr id="293" name="Straight Arrow Connector 292"/>
            <p:cNvCxnSpPr>
              <a:stCxn id="287" idx="4"/>
            </p:cNvCxnSpPr>
            <p:nvPr/>
          </p:nvCxnSpPr>
          <p:spPr>
            <a:xfrm flipH="1">
              <a:off x="1772615" y="3599871"/>
              <a:ext cx="25007" cy="939566"/>
            </a:xfrm>
            <a:prstGeom prst="straightConnector1">
              <a:avLst/>
            </a:prstGeom>
            <a:noFill/>
            <a:ln w="12700" cap="flat" cmpd="sng" algn="ctr">
              <a:solidFill>
                <a:srgbClr val="002040"/>
              </a:solidFill>
              <a:prstDash val="solid"/>
              <a:headEnd type="oval" w="med" len="med"/>
              <a:tailEnd type="oval" w="med" len="med"/>
            </a:ln>
            <a:effectLst/>
          </p:spPr>
        </p:cxnSp>
        <p:cxnSp>
          <p:nvCxnSpPr>
            <p:cNvPr id="294" name="Straight Arrow Connector 293"/>
            <p:cNvCxnSpPr>
              <a:stCxn id="288" idx="4"/>
            </p:cNvCxnSpPr>
            <p:nvPr/>
          </p:nvCxnSpPr>
          <p:spPr>
            <a:xfrm flipH="1">
              <a:off x="2879894" y="4244055"/>
              <a:ext cx="1382" cy="725287"/>
            </a:xfrm>
            <a:prstGeom prst="straightConnector1">
              <a:avLst/>
            </a:prstGeom>
            <a:noFill/>
            <a:ln w="12700" cap="flat" cmpd="sng" algn="ctr">
              <a:solidFill>
                <a:srgbClr val="002040"/>
              </a:solidFill>
              <a:prstDash val="solid"/>
              <a:headEnd type="oval" w="med" len="med"/>
              <a:tailEnd type="oval" w="med" len="med"/>
            </a:ln>
            <a:effectLst/>
          </p:spPr>
        </p:cxnSp>
        <p:cxnSp>
          <p:nvCxnSpPr>
            <p:cNvPr id="295" name="Straight Arrow Connector 294"/>
            <p:cNvCxnSpPr>
              <a:stCxn id="289" idx="0"/>
            </p:cNvCxnSpPr>
            <p:nvPr/>
          </p:nvCxnSpPr>
          <p:spPr>
            <a:xfrm flipH="1" flipV="1">
              <a:off x="3470543" y="3129601"/>
              <a:ext cx="1338" cy="626697"/>
            </a:xfrm>
            <a:prstGeom prst="straightConnector1">
              <a:avLst/>
            </a:prstGeom>
            <a:noFill/>
            <a:ln w="12700" cap="flat" cmpd="sng" algn="ctr">
              <a:solidFill>
                <a:srgbClr val="002040"/>
              </a:solidFill>
              <a:prstDash val="solid"/>
              <a:headEnd type="oval" w="med" len="med"/>
              <a:tailEnd type="oval" w="med" len="med"/>
            </a:ln>
            <a:effectLst/>
          </p:spPr>
        </p:cxnSp>
        <p:cxnSp>
          <p:nvCxnSpPr>
            <p:cNvPr id="296" name="Straight Arrow Connector 295"/>
            <p:cNvCxnSpPr/>
            <p:nvPr/>
          </p:nvCxnSpPr>
          <p:spPr>
            <a:xfrm rot="-60000" flipH="1">
              <a:off x="7713253" y="3947545"/>
              <a:ext cx="6550" cy="544217"/>
            </a:xfrm>
            <a:prstGeom prst="straightConnector1">
              <a:avLst/>
            </a:prstGeom>
            <a:noFill/>
            <a:ln w="12700" cap="flat" cmpd="sng" algn="ctr">
              <a:solidFill>
                <a:srgbClr val="002040"/>
              </a:solidFill>
              <a:prstDash val="solid"/>
              <a:headEnd type="oval" w="med" len="med"/>
              <a:tailEnd type="oval" w="med" len="med"/>
            </a:ln>
            <a:effectLst/>
          </p:spPr>
        </p:cxnSp>
        <p:grpSp>
          <p:nvGrpSpPr>
            <p:cNvPr id="297" name="Group 144"/>
            <p:cNvGrpSpPr>
              <a:grpSpLocks noChangeAspect="1"/>
            </p:cNvGrpSpPr>
            <p:nvPr/>
          </p:nvGrpSpPr>
          <p:grpSpPr bwMode="auto">
            <a:xfrm>
              <a:off x="5377405" y="3210977"/>
              <a:ext cx="364350" cy="364350"/>
              <a:chOff x="2963" y="1300"/>
              <a:chExt cx="340" cy="340"/>
            </a:xfrm>
            <a:solidFill>
              <a:srgbClr val="002040"/>
            </a:solidFill>
          </p:grpSpPr>
          <p:sp>
            <p:nvSpPr>
              <p:cNvPr id="375" name="Freeform 145"/>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76"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grpSp>
          <p:nvGrpSpPr>
            <p:cNvPr id="298" name="Group 526"/>
            <p:cNvGrpSpPr>
              <a:grpSpLocks noChangeAspect="1"/>
            </p:cNvGrpSpPr>
            <p:nvPr/>
          </p:nvGrpSpPr>
          <p:grpSpPr bwMode="auto">
            <a:xfrm>
              <a:off x="2701079" y="3848563"/>
              <a:ext cx="365728" cy="365728"/>
              <a:chOff x="3464" y="1974"/>
              <a:chExt cx="340" cy="340"/>
            </a:xfrm>
            <a:solidFill>
              <a:srgbClr val="002040"/>
            </a:solidFill>
            <a:effectLst/>
          </p:grpSpPr>
          <p:sp>
            <p:nvSpPr>
              <p:cNvPr id="373"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74"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grpSp>
          <p:nvGrpSpPr>
            <p:cNvPr id="299" name="Group 112"/>
            <p:cNvGrpSpPr>
              <a:grpSpLocks noChangeAspect="1"/>
            </p:cNvGrpSpPr>
            <p:nvPr/>
          </p:nvGrpSpPr>
          <p:grpSpPr bwMode="auto">
            <a:xfrm>
              <a:off x="3288576" y="3789875"/>
              <a:ext cx="365728" cy="365728"/>
              <a:chOff x="1157" y="393"/>
              <a:chExt cx="340" cy="340"/>
            </a:xfrm>
            <a:solidFill>
              <a:srgbClr val="002040"/>
            </a:solidFill>
          </p:grpSpPr>
          <p:sp>
            <p:nvSpPr>
              <p:cNvPr id="371"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72"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grpSp>
          <p:nvGrpSpPr>
            <p:cNvPr id="300" name="Group 816"/>
            <p:cNvGrpSpPr>
              <a:grpSpLocks noChangeAspect="1"/>
            </p:cNvGrpSpPr>
            <p:nvPr/>
          </p:nvGrpSpPr>
          <p:grpSpPr bwMode="auto">
            <a:xfrm>
              <a:off x="10840386" y="3615354"/>
              <a:ext cx="363765" cy="363765"/>
              <a:chOff x="4518" y="3391"/>
              <a:chExt cx="340" cy="340"/>
            </a:xfrm>
            <a:solidFill>
              <a:srgbClr val="002040"/>
            </a:solidFill>
          </p:grpSpPr>
          <p:sp>
            <p:nvSpPr>
              <p:cNvPr id="369" name="Freeform 817"/>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70" name="Freeform 818"/>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grpSp>
          <p:nvGrpSpPr>
            <p:cNvPr id="301" name="Group 795"/>
            <p:cNvGrpSpPr>
              <a:grpSpLocks noChangeAspect="1"/>
            </p:cNvGrpSpPr>
            <p:nvPr/>
          </p:nvGrpSpPr>
          <p:grpSpPr bwMode="auto">
            <a:xfrm>
              <a:off x="6529590" y="3801829"/>
              <a:ext cx="366377" cy="366377"/>
              <a:chOff x="7361" y="3009"/>
              <a:chExt cx="340" cy="340"/>
            </a:xfrm>
            <a:solidFill>
              <a:srgbClr val="002040"/>
            </a:solidFill>
          </p:grpSpPr>
          <p:sp>
            <p:nvSpPr>
              <p:cNvPr id="362"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63"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64"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65"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66"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67"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68"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grpSp>
          <p:nvGrpSpPr>
            <p:cNvPr id="302" name="Group 192"/>
            <p:cNvGrpSpPr>
              <a:grpSpLocks noChangeAspect="1"/>
            </p:cNvGrpSpPr>
            <p:nvPr/>
          </p:nvGrpSpPr>
          <p:grpSpPr bwMode="auto">
            <a:xfrm>
              <a:off x="1618037" y="3195581"/>
              <a:ext cx="363765" cy="363765"/>
              <a:chOff x="378" y="713"/>
              <a:chExt cx="340" cy="340"/>
            </a:xfrm>
            <a:solidFill>
              <a:srgbClr val="002040"/>
            </a:solidFill>
          </p:grpSpPr>
          <p:sp>
            <p:nvSpPr>
              <p:cNvPr id="360"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61"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sp>
          <p:nvSpPr>
            <p:cNvPr id="303" name="TextBox 302"/>
            <p:cNvSpPr txBox="1"/>
            <p:nvPr/>
          </p:nvSpPr>
          <p:spPr>
            <a:xfrm>
              <a:off x="3232183" y="4848159"/>
              <a:ext cx="160554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000000"/>
                  </a:solidFill>
                  <a:effectLst/>
                  <a:uLnTx/>
                  <a:uFillTx/>
                  <a:latin typeface="EYInterstate" panose="02000503020000020004" pitchFamily="2" charset="0"/>
                </a:rPr>
                <a:t>5.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000000"/>
                  </a:solidFill>
                  <a:effectLst/>
                  <a:uLnTx/>
                  <a:uFillTx/>
                  <a:latin typeface="EYInterstate" panose="02000503020000020004" pitchFamily="2" charset="0"/>
                </a:rPr>
                <a:t>Gérer la planification</a:t>
              </a:r>
              <a:r>
                <a:rPr kumimoji="0" lang="fr-CA" sz="1100" b="1" i="0" u="none" strike="noStrike" kern="0" cap="none" spc="0" normalizeH="0" dirty="0">
                  <a:ln>
                    <a:noFill/>
                  </a:ln>
                  <a:solidFill>
                    <a:srgbClr val="000000"/>
                  </a:solidFill>
                  <a:effectLst/>
                  <a:uLnTx/>
                  <a:uFillTx/>
                  <a:latin typeface="EYInterstate" panose="02000503020000020004" pitchFamily="2" charset="0"/>
                </a:rPr>
                <a:t> de l’effectif</a:t>
              </a:r>
              <a:r>
                <a:rPr kumimoji="0" lang="fr-CA" sz="1100" b="1" i="0" u="none" strike="noStrike" kern="0" cap="none" spc="0" normalizeH="0" baseline="0" dirty="0">
                  <a:ln>
                    <a:noFill/>
                  </a:ln>
                  <a:solidFill>
                    <a:srgbClr val="000000"/>
                  </a:solidFill>
                  <a:effectLst/>
                  <a:uLnTx/>
                  <a:uFillTx/>
                  <a:latin typeface="EYInterstate" panose="02000503020000020004" pitchFamily="2" charset="0"/>
                </a:rPr>
                <a:t> </a:t>
              </a:r>
            </a:p>
          </p:txBody>
        </p:sp>
        <p:sp>
          <p:nvSpPr>
            <p:cNvPr id="304" name="Flowchart: Connector 303"/>
            <p:cNvSpPr>
              <a:spLocks noChangeAspect="1"/>
            </p:cNvSpPr>
            <p:nvPr/>
          </p:nvSpPr>
          <p:spPr>
            <a:xfrm>
              <a:off x="3795518" y="3516919"/>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305" name="Group 795"/>
            <p:cNvGrpSpPr>
              <a:grpSpLocks noChangeAspect="1"/>
            </p:cNvGrpSpPr>
            <p:nvPr/>
          </p:nvGrpSpPr>
          <p:grpSpPr bwMode="auto">
            <a:xfrm>
              <a:off x="3829458" y="3554069"/>
              <a:ext cx="366377" cy="366377"/>
              <a:chOff x="7361" y="3009"/>
              <a:chExt cx="340" cy="340"/>
            </a:xfrm>
            <a:solidFill>
              <a:srgbClr val="002040"/>
            </a:solidFill>
            <a:effectLst/>
          </p:grpSpPr>
          <p:sp>
            <p:nvSpPr>
              <p:cNvPr id="353"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54"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55"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56"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57"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58"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59"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cxnSp>
          <p:nvCxnSpPr>
            <p:cNvPr id="306" name="Straight Arrow Connector 305"/>
            <p:cNvCxnSpPr/>
            <p:nvPr/>
          </p:nvCxnSpPr>
          <p:spPr>
            <a:xfrm flipH="1" flipV="1">
              <a:off x="4011285" y="4028077"/>
              <a:ext cx="2384" cy="803707"/>
            </a:xfrm>
            <a:prstGeom prst="straightConnector1">
              <a:avLst/>
            </a:prstGeom>
            <a:noFill/>
            <a:ln w="12700" cap="flat" cmpd="sng" algn="ctr">
              <a:solidFill>
                <a:srgbClr val="002040"/>
              </a:solidFill>
              <a:prstDash val="solid"/>
              <a:headEnd type="oval" w="med" len="med"/>
              <a:tailEnd type="oval" w="med" len="med"/>
            </a:ln>
            <a:effectLst/>
          </p:spPr>
        </p:cxnSp>
        <p:sp>
          <p:nvSpPr>
            <p:cNvPr id="307" name="Flowchart: Connector 306"/>
            <p:cNvSpPr>
              <a:spLocks noChangeAspect="1"/>
            </p:cNvSpPr>
            <p:nvPr/>
          </p:nvSpPr>
          <p:spPr>
            <a:xfrm>
              <a:off x="4338237" y="3107263"/>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cxnSp>
          <p:nvCxnSpPr>
            <p:cNvPr id="308" name="Straight Arrow Connector 307"/>
            <p:cNvCxnSpPr/>
            <p:nvPr/>
          </p:nvCxnSpPr>
          <p:spPr>
            <a:xfrm flipH="1">
              <a:off x="4553506" y="2677735"/>
              <a:ext cx="1" cy="409633"/>
            </a:xfrm>
            <a:prstGeom prst="straightConnector1">
              <a:avLst/>
            </a:prstGeom>
            <a:noFill/>
            <a:ln w="12700" cap="flat" cmpd="sng" algn="ctr">
              <a:solidFill>
                <a:srgbClr val="002040"/>
              </a:solidFill>
              <a:prstDash val="solid"/>
              <a:headEnd type="oval" w="med" len="med"/>
              <a:tailEnd type="oval" w="med" len="med"/>
            </a:ln>
            <a:effectLst/>
          </p:spPr>
        </p:cxnSp>
        <p:grpSp>
          <p:nvGrpSpPr>
            <p:cNvPr id="309" name="Group 387"/>
            <p:cNvGrpSpPr>
              <a:grpSpLocks noChangeAspect="1"/>
            </p:cNvGrpSpPr>
            <p:nvPr/>
          </p:nvGrpSpPr>
          <p:grpSpPr bwMode="auto">
            <a:xfrm>
              <a:off x="4369244" y="3139573"/>
              <a:ext cx="365728" cy="365728"/>
              <a:chOff x="7355" y="1558"/>
              <a:chExt cx="340" cy="340"/>
            </a:xfrm>
            <a:solidFill>
              <a:srgbClr val="002040"/>
            </a:solidFill>
            <a:effectLst/>
          </p:grpSpPr>
          <p:sp>
            <p:nvSpPr>
              <p:cNvPr id="351" name="Freeform 388"/>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52" name="Freeform 389"/>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sp>
          <p:nvSpPr>
            <p:cNvPr id="310" name="TextBox 309"/>
            <p:cNvSpPr txBox="1"/>
            <p:nvPr/>
          </p:nvSpPr>
          <p:spPr>
            <a:xfrm>
              <a:off x="3757923" y="2081863"/>
              <a:ext cx="160554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000000"/>
                  </a:solidFill>
                  <a:effectLst/>
                  <a:uLnTx/>
                  <a:uFillTx/>
                  <a:latin typeface="EYInterstate" panose="02000503020000020004" pitchFamily="2" charset="0"/>
                </a:rPr>
                <a:t>6. </a:t>
              </a:r>
            </a:p>
            <a:p>
              <a:pPr lvl="0" algn="ctr" defTabSz="906240">
                <a:defRPr/>
              </a:pPr>
              <a:r>
                <a:rPr lang="fr-CA" sz="1100" b="1" kern="0" dirty="0">
                  <a:solidFill>
                    <a:srgbClr val="000000"/>
                  </a:solidFill>
                  <a:latin typeface="EYInterstate" panose="02000503020000020004" pitchFamily="2" charset="0"/>
                </a:rPr>
                <a:t>Gérer</a:t>
              </a:r>
              <a:r>
                <a:rPr kumimoji="0" lang="fr-CA" sz="1100" b="1" i="0" u="none" strike="noStrike" kern="0" cap="none" spc="0" normalizeH="0" baseline="0" dirty="0">
                  <a:ln>
                    <a:noFill/>
                  </a:ln>
                  <a:solidFill>
                    <a:srgbClr val="000000"/>
                  </a:solidFill>
                  <a:effectLst/>
                  <a:uLnTx/>
                  <a:uFillTx/>
                  <a:latin typeface="EYInterstate" panose="02000503020000020004" pitchFamily="2" charset="0"/>
                </a:rPr>
                <a:t> les avantages sociaux et la pension </a:t>
              </a:r>
            </a:p>
          </p:txBody>
        </p:sp>
        <p:sp>
          <p:nvSpPr>
            <p:cNvPr id="311" name="Flowchart: Connector 310"/>
            <p:cNvSpPr>
              <a:spLocks noChangeAspect="1"/>
            </p:cNvSpPr>
            <p:nvPr/>
          </p:nvSpPr>
          <p:spPr>
            <a:xfrm>
              <a:off x="5983928" y="3512898"/>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cxnSp>
          <p:nvCxnSpPr>
            <p:cNvPr id="312" name="Straight Arrow Connector 311"/>
            <p:cNvCxnSpPr>
              <a:stCxn id="311" idx="0"/>
            </p:cNvCxnSpPr>
            <p:nvPr/>
          </p:nvCxnSpPr>
          <p:spPr>
            <a:xfrm flipH="1" flipV="1">
              <a:off x="6197553" y="2684150"/>
              <a:ext cx="3522" cy="828748"/>
            </a:xfrm>
            <a:prstGeom prst="straightConnector1">
              <a:avLst/>
            </a:prstGeom>
            <a:noFill/>
            <a:ln w="12700" cap="flat" cmpd="sng" algn="ctr">
              <a:solidFill>
                <a:srgbClr val="002040"/>
              </a:solidFill>
              <a:prstDash val="solid"/>
              <a:headEnd type="oval" w="med" len="med"/>
              <a:tailEnd type="oval" w="med" len="med"/>
            </a:ln>
            <a:effectLst/>
          </p:spPr>
        </p:cxnSp>
        <p:grpSp>
          <p:nvGrpSpPr>
            <p:cNvPr id="313" name="Group 763"/>
            <p:cNvGrpSpPr>
              <a:grpSpLocks noChangeAspect="1"/>
            </p:cNvGrpSpPr>
            <p:nvPr/>
          </p:nvGrpSpPr>
          <p:grpSpPr bwMode="auto">
            <a:xfrm>
              <a:off x="6015584" y="3547695"/>
              <a:ext cx="365770" cy="364698"/>
              <a:chOff x="3203" y="3365"/>
              <a:chExt cx="341" cy="340"/>
            </a:xfrm>
            <a:solidFill>
              <a:srgbClr val="002040"/>
            </a:solidFill>
          </p:grpSpPr>
          <p:sp>
            <p:nvSpPr>
              <p:cNvPr id="349" name="Freeform 764"/>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50" name="Freeform 765"/>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cxnSp>
          <p:nvCxnSpPr>
            <p:cNvPr id="314" name="Straight Arrow Connector 313"/>
            <p:cNvCxnSpPr/>
            <p:nvPr/>
          </p:nvCxnSpPr>
          <p:spPr>
            <a:xfrm flipH="1">
              <a:off x="6706246" y="4223872"/>
              <a:ext cx="1" cy="495656"/>
            </a:xfrm>
            <a:prstGeom prst="straightConnector1">
              <a:avLst/>
            </a:prstGeom>
            <a:noFill/>
            <a:ln w="12700" cap="flat" cmpd="sng" algn="ctr">
              <a:solidFill>
                <a:srgbClr val="002040"/>
              </a:solidFill>
              <a:prstDash val="solid"/>
              <a:headEnd type="oval" w="med" len="med"/>
              <a:tailEnd type="oval" w="med" len="med"/>
            </a:ln>
            <a:effectLst/>
          </p:spPr>
        </p:cxnSp>
        <p:cxnSp>
          <p:nvCxnSpPr>
            <p:cNvPr id="315" name="Straight Arrow Connector 314"/>
            <p:cNvCxnSpPr/>
            <p:nvPr/>
          </p:nvCxnSpPr>
          <p:spPr>
            <a:xfrm flipV="1">
              <a:off x="5543664" y="3604717"/>
              <a:ext cx="429" cy="1127094"/>
            </a:xfrm>
            <a:prstGeom prst="straightConnector1">
              <a:avLst/>
            </a:prstGeom>
            <a:noFill/>
            <a:ln w="12700" cap="flat" cmpd="sng" algn="ctr">
              <a:solidFill>
                <a:srgbClr val="002040"/>
              </a:solidFill>
              <a:prstDash val="solid"/>
              <a:headEnd type="oval" w="med" len="med"/>
              <a:tailEnd type="oval" w="med" len="med"/>
            </a:ln>
            <a:effectLst/>
          </p:spPr>
        </p:cxnSp>
        <p:sp>
          <p:nvSpPr>
            <p:cNvPr id="316" name="Flowchart: Connector 315"/>
            <p:cNvSpPr>
              <a:spLocks noChangeAspect="1"/>
            </p:cNvSpPr>
            <p:nvPr/>
          </p:nvSpPr>
          <p:spPr>
            <a:xfrm>
              <a:off x="7480371" y="3432207"/>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317" name="Group 112"/>
            <p:cNvGrpSpPr>
              <a:grpSpLocks noChangeAspect="1"/>
            </p:cNvGrpSpPr>
            <p:nvPr/>
          </p:nvGrpSpPr>
          <p:grpSpPr bwMode="auto">
            <a:xfrm>
              <a:off x="7514213" y="3465784"/>
              <a:ext cx="365728" cy="365728"/>
              <a:chOff x="1157" y="393"/>
              <a:chExt cx="340" cy="340"/>
            </a:xfrm>
            <a:solidFill>
              <a:srgbClr val="002040"/>
            </a:solidFill>
            <a:effectLst/>
          </p:grpSpPr>
          <p:sp>
            <p:nvSpPr>
              <p:cNvPr id="347"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48"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sp>
          <p:nvSpPr>
            <p:cNvPr id="318" name="Flowchart: Connector 317"/>
            <p:cNvSpPr>
              <a:spLocks noChangeAspect="1"/>
            </p:cNvSpPr>
            <p:nvPr/>
          </p:nvSpPr>
          <p:spPr>
            <a:xfrm>
              <a:off x="8151114" y="3031426"/>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319" name="Group 816"/>
            <p:cNvGrpSpPr>
              <a:grpSpLocks noChangeAspect="1"/>
            </p:cNvGrpSpPr>
            <p:nvPr/>
          </p:nvGrpSpPr>
          <p:grpSpPr bwMode="auto">
            <a:xfrm>
              <a:off x="8184932" y="3068442"/>
              <a:ext cx="363765" cy="363765"/>
              <a:chOff x="4518" y="3391"/>
              <a:chExt cx="340" cy="340"/>
            </a:xfrm>
            <a:solidFill>
              <a:srgbClr val="002040"/>
            </a:solidFill>
          </p:grpSpPr>
          <p:sp>
            <p:nvSpPr>
              <p:cNvPr id="345" name="Freeform 817"/>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46" name="Freeform 818"/>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sp>
          <p:nvSpPr>
            <p:cNvPr id="320" name="TextBox 319"/>
            <p:cNvSpPr txBox="1"/>
            <p:nvPr/>
          </p:nvSpPr>
          <p:spPr>
            <a:xfrm>
              <a:off x="8316181" y="2098200"/>
              <a:ext cx="160554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12.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Gérer les</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compétences  </a:t>
              </a:r>
            </a:p>
          </p:txBody>
        </p:sp>
        <p:sp>
          <p:nvSpPr>
            <p:cNvPr id="321" name="Flowchart: Connector 320"/>
            <p:cNvSpPr>
              <a:spLocks noChangeAspect="1"/>
            </p:cNvSpPr>
            <p:nvPr/>
          </p:nvSpPr>
          <p:spPr>
            <a:xfrm>
              <a:off x="9430404" y="3398302"/>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322" name="Group 795"/>
            <p:cNvGrpSpPr>
              <a:grpSpLocks noChangeAspect="1"/>
            </p:cNvGrpSpPr>
            <p:nvPr/>
          </p:nvGrpSpPr>
          <p:grpSpPr bwMode="auto">
            <a:xfrm>
              <a:off x="9464344" y="3435452"/>
              <a:ext cx="366377" cy="366377"/>
              <a:chOff x="7361" y="3009"/>
              <a:chExt cx="340" cy="340"/>
            </a:xfrm>
            <a:solidFill>
              <a:srgbClr val="002040"/>
            </a:solidFill>
            <a:effectLst/>
          </p:grpSpPr>
          <p:sp>
            <p:nvSpPr>
              <p:cNvPr id="338"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39"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40"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41"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42"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43"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sp>
            <p:nvSpPr>
              <p:cNvPr id="344"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dirty="0">
                  <a:ln>
                    <a:noFill/>
                  </a:ln>
                  <a:solidFill>
                    <a:srgbClr val="002040"/>
                  </a:solidFill>
                  <a:effectLst/>
                  <a:uLnTx/>
                  <a:uFillTx/>
                  <a:latin typeface="EYInterstate" panose="02000503020000020004" pitchFamily="2" charset="0"/>
                </a:endParaRPr>
              </a:p>
            </p:txBody>
          </p:sp>
        </p:grpSp>
        <p:cxnSp>
          <p:nvCxnSpPr>
            <p:cNvPr id="323" name="Straight Arrow Connector 322"/>
            <p:cNvCxnSpPr/>
            <p:nvPr/>
          </p:nvCxnSpPr>
          <p:spPr>
            <a:xfrm flipH="1">
              <a:off x="9664491" y="3854080"/>
              <a:ext cx="1382" cy="495381"/>
            </a:xfrm>
            <a:prstGeom prst="straightConnector1">
              <a:avLst/>
            </a:prstGeom>
            <a:noFill/>
            <a:ln w="12700" cap="flat" cmpd="sng" algn="ctr">
              <a:solidFill>
                <a:srgbClr val="002040"/>
              </a:solidFill>
              <a:prstDash val="solid"/>
              <a:headEnd type="oval" w="med" len="med"/>
              <a:tailEnd type="oval" w="med" len="med"/>
            </a:ln>
            <a:effectLst/>
          </p:spPr>
        </p:cxnSp>
        <p:sp>
          <p:nvSpPr>
            <p:cNvPr id="324" name="TextBox 323"/>
            <p:cNvSpPr txBox="1"/>
            <p:nvPr/>
          </p:nvSpPr>
          <p:spPr>
            <a:xfrm>
              <a:off x="8785136" y="4412981"/>
              <a:ext cx="1605548" cy="769441"/>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13.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Gérer les carrières et la planification</a:t>
              </a:r>
              <a:r>
                <a:rPr kumimoji="0" lang="fr-CA" sz="1100" b="1" i="0" u="none" strike="noStrike" kern="0" cap="none" spc="0" normalizeH="0" dirty="0">
                  <a:ln>
                    <a:noFill/>
                  </a:ln>
                  <a:solidFill>
                    <a:srgbClr val="D0DCDF">
                      <a:lumMod val="10000"/>
                    </a:srgbClr>
                  </a:solidFill>
                  <a:effectLst/>
                  <a:uLnTx/>
                  <a:uFillTx/>
                  <a:latin typeface="EYInterstate" panose="02000503020000020004" pitchFamily="2" charset="0"/>
                </a:rPr>
                <a:t> de la relève</a:t>
              </a:r>
              <a:endPar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endParaRPr>
            </a:p>
          </p:txBody>
        </p:sp>
        <p:cxnSp>
          <p:nvCxnSpPr>
            <p:cNvPr id="325" name="Straight Arrow Connector 324"/>
            <p:cNvCxnSpPr/>
            <p:nvPr/>
          </p:nvCxnSpPr>
          <p:spPr>
            <a:xfrm flipH="1">
              <a:off x="11011064" y="4049172"/>
              <a:ext cx="1382" cy="495381"/>
            </a:xfrm>
            <a:prstGeom prst="straightConnector1">
              <a:avLst/>
            </a:prstGeom>
            <a:noFill/>
            <a:ln w="12700" cap="flat" cmpd="sng" algn="ctr">
              <a:solidFill>
                <a:srgbClr val="002040"/>
              </a:solidFill>
              <a:prstDash val="solid"/>
              <a:headEnd type="oval" w="med" len="med"/>
              <a:tailEnd type="oval" w="med" len="med"/>
            </a:ln>
            <a:effectLst/>
          </p:spPr>
        </p:cxnSp>
        <p:sp>
          <p:nvSpPr>
            <p:cNvPr id="326" name="TextBox 325"/>
            <p:cNvSpPr txBox="1"/>
            <p:nvPr/>
          </p:nvSpPr>
          <p:spPr>
            <a:xfrm>
              <a:off x="10256599" y="4643644"/>
              <a:ext cx="160554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14.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100" b="1" i="0" u="none" strike="noStrike" kern="0" cap="none" spc="0" normalizeH="0" baseline="0" dirty="0">
                  <a:ln>
                    <a:noFill/>
                  </a:ln>
                  <a:solidFill>
                    <a:srgbClr val="D0DCDF">
                      <a:lumMod val="10000"/>
                    </a:srgbClr>
                  </a:solidFill>
                  <a:effectLst/>
                  <a:uLnTx/>
                  <a:uFillTx/>
                  <a:latin typeface="EYInterstate" panose="02000503020000020004" pitchFamily="2" charset="0"/>
                </a:rPr>
                <a:t>Gérer le départ des employés </a:t>
              </a:r>
            </a:p>
          </p:txBody>
        </p:sp>
        <p:sp>
          <p:nvSpPr>
            <p:cNvPr id="327" name="TextBox 326"/>
            <p:cNvSpPr txBox="1"/>
            <p:nvPr/>
          </p:nvSpPr>
          <p:spPr>
            <a:xfrm>
              <a:off x="9384521" y="1644532"/>
              <a:ext cx="3219010" cy="323165"/>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fr-CA" sz="1500" b="1" i="0" u="none" strike="noStrike" kern="0" cap="none" spc="0" normalizeH="0" baseline="0" dirty="0">
                  <a:ln>
                    <a:noFill/>
                  </a:ln>
                  <a:solidFill>
                    <a:srgbClr val="000000"/>
                  </a:solidFill>
                  <a:effectLst/>
                  <a:uLnTx/>
                  <a:uFillTx/>
                  <a:latin typeface="EYInterstate" panose="02000503020000020004" pitchFamily="2" charset="0"/>
                </a:rPr>
                <a:t>DÉPART</a:t>
              </a:r>
            </a:p>
          </p:txBody>
        </p:sp>
        <p:cxnSp>
          <p:nvCxnSpPr>
            <p:cNvPr id="328" name="Straight Connector 327"/>
            <p:cNvCxnSpPr/>
            <p:nvPr/>
          </p:nvCxnSpPr>
          <p:spPr>
            <a:xfrm>
              <a:off x="2343175" y="2068604"/>
              <a:ext cx="37759" cy="3780000"/>
            </a:xfrm>
            <a:prstGeom prst="line">
              <a:avLst/>
            </a:prstGeom>
            <a:noFill/>
            <a:ln w="9525" cap="flat" cmpd="sng" algn="ctr">
              <a:solidFill>
                <a:srgbClr val="999999"/>
              </a:solidFill>
              <a:prstDash val="dash"/>
            </a:ln>
            <a:effectLst/>
          </p:spPr>
        </p:cxnSp>
        <p:cxnSp>
          <p:nvCxnSpPr>
            <p:cNvPr id="329" name="Straight Connector 328"/>
            <p:cNvCxnSpPr/>
            <p:nvPr/>
          </p:nvCxnSpPr>
          <p:spPr>
            <a:xfrm>
              <a:off x="5161717" y="2086055"/>
              <a:ext cx="37759" cy="3769692"/>
            </a:xfrm>
            <a:prstGeom prst="line">
              <a:avLst/>
            </a:prstGeom>
            <a:noFill/>
            <a:ln w="9525" cap="flat" cmpd="sng" algn="ctr">
              <a:solidFill>
                <a:srgbClr val="999999"/>
              </a:solidFill>
              <a:prstDash val="dash"/>
            </a:ln>
            <a:effectLst/>
          </p:spPr>
        </p:cxnSp>
        <p:cxnSp>
          <p:nvCxnSpPr>
            <p:cNvPr id="330" name="Straight Connector 329"/>
            <p:cNvCxnSpPr/>
            <p:nvPr/>
          </p:nvCxnSpPr>
          <p:spPr>
            <a:xfrm>
              <a:off x="7123596" y="2116034"/>
              <a:ext cx="37759" cy="3769692"/>
            </a:xfrm>
            <a:prstGeom prst="line">
              <a:avLst/>
            </a:prstGeom>
            <a:noFill/>
            <a:ln w="9525" cap="flat" cmpd="sng" algn="ctr">
              <a:solidFill>
                <a:srgbClr val="999999"/>
              </a:solidFill>
              <a:prstDash val="dash"/>
            </a:ln>
            <a:effectLst/>
          </p:spPr>
        </p:cxnSp>
        <p:cxnSp>
          <p:nvCxnSpPr>
            <p:cNvPr id="331" name="Straight Connector 330"/>
            <p:cNvCxnSpPr/>
            <p:nvPr/>
          </p:nvCxnSpPr>
          <p:spPr>
            <a:xfrm>
              <a:off x="10119322" y="2059430"/>
              <a:ext cx="37759" cy="3769692"/>
            </a:xfrm>
            <a:prstGeom prst="line">
              <a:avLst/>
            </a:prstGeom>
            <a:noFill/>
            <a:ln w="9525" cap="flat" cmpd="sng" algn="ctr">
              <a:solidFill>
                <a:srgbClr val="999999"/>
              </a:solidFill>
              <a:prstDash val="dash"/>
            </a:ln>
            <a:effectLst/>
          </p:spPr>
        </p:cxnSp>
        <p:cxnSp>
          <p:nvCxnSpPr>
            <p:cNvPr id="332" name="Straight Connector 331"/>
            <p:cNvCxnSpPr/>
            <p:nvPr/>
          </p:nvCxnSpPr>
          <p:spPr>
            <a:xfrm>
              <a:off x="313034" y="2088390"/>
              <a:ext cx="1803515" cy="0"/>
            </a:xfrm>
            <a:prstGeom prst="line">
              <a:avLst/>
            </a:prstGeom>
            <a:noFill/>
            <a:ln w="12700" cap="flat" cmpd="sng" algn="ctr">
              <a:solidFill>
                <a:srgbClr val="E60F2D"/>
              </a:solidFill>
              <a:prstDash val="solid"/>
              <a:tailEnd type="none"/>
            </a:ln>
            <a:effectLst/>
          </p:spPr>
        </p:cxnSp>
        <p:cxnSp>
          <p:nvCxnSpPr>
            <p:cNvPr id="333" name="Straight Connector 332"/>
            <p:cNvCxnSpPr/>
            <p:nvPr/>
          </p:nvCxnSpPr>
          <p:spPr>
            <a:xfrm>
              <a:off x="2622426" y="2088390"/>
              <a:ext cx="2304000" cy="0"/>
            </a:xfrm>
            <a:prstGeom prst="line">
              <a:avLst/>
            </a:prstGeom>
            <a:noFill/>
            <a:ln w="12700" cap="flat" cmpd="sng" algn="ctr">
              <a:solidFill>
                <a:srgbClr val="E60F2D"/>
              </a:solidFill>
              <a:prstDash val="solid"/>
              <a:tailEnd type="none"/>
            </a:ln>
            <a:effectLst/>
          </p:spPr>
        </p:cxnSp>
        <p:cxnSp>
          <p:nvCxnSpPr>
            <p:cNvPr id="334" name="Straight Connector 333"/>
            <p:cNvCxnSpPr/>
            <p:nvPr/>
          </p:nvCxnSpPr>
          <p:spPr>
            <a:xfrm>
              <a:off x="5419541" y="2090882"/>
              <a:ext cx="1476000" cy="0"/>
            </a:xfrm>
            <a:prstGeom prst="line">
              <a:avLst/>
            </a:prstGeom>
            <a:noFill/>
            <a:ln w="12700" cap="flat" cmpd="sng" algn="ctr">
              <a:solidFill>
                <a:srgbClr val="E60F2D"/>
              </a:solidFill>
              <a:prstDash val="solid"/>
              <a:tailEnd type="none"/>
            </a:ln>
            <a:effectLst/>
          </p:spPr>
        </p:cxnSp>
        <p:cxnSp>
          <p:nvCxnSpPr>
            <p:cNvPr id="335" name="Straight Connector 334"/>
            <p:cNvCxnSpPr/>
            <p:nvPr/>
          </p:nvCxnSpPr>
          <p:spPr>
            <a:xfrm>
              <a:off x="7364074" y="2089560"/>
              <a:ext cx="2484000" cy="0"/>
            </a:xfrm>
            <a:prstGeom prst="line">
              <a:avLst/>
            </a:prstGeom>
            <a:noFill/>
            <a:ln w="12700" cap="flat" cmpd="sng" algn="ctr">
              <a:solidFill>
                <a:srgbClr val="E60F2D"/>
              </a:solidFill>
              <a:prstDash val="solid"/>
              <a:tailEnd type="none"/>
            </a:ln>
            <a:effectLst/>
          </p:spPr>
        </p:cxnSp>
        <p:cxnSp>
          <p:nvCxnSpPr>
            <p:cNvPr id="336" name="Straight Arrow Connector 335"/>
            <p:cNvCxnSpPr/>
            <p:nvPr/>
          </p:nvCxnSpPr>
          <p:spPr>
            <a:xfrm flipH="1">
              <a:off x="8387427" y="3539648"/>
              <a:ext cx="1" cy="409633"/>
            </a:xfrm>
            <a:prstGeom prst="straightConnector1">
              <a:avLst/>
            </a:prstGeom>
            <a:noFill/>
            <a:ln w="12700" cap="flat" cmpd="sng" algn="ctr">
              <a:solidFill>
                <a:srgbClr val="002040"/>
              </a:solidFill>
              <a:prstDash val="solid"/>
              <a:headEnd type="oval" w="med" len="med"/>
              <a:tailEnd type="oval" w="med" len="med"/>
            </a:ln>
            <a:effectLst/>
          </p:spPr>
        </p:cxnSp>
        <p:cxnSp>
          <p:nvCxnSpPr>
            <p:cNvPr id="337" name="Straight Arrow Connector 336"/>
            <p:cNvCxnSpPr/>
            <p:nvPr/>
          </p:nvCxnSpPr>
          <p:spPr>
            <a:xfrm flipH="1">
              <a:off x="9132609" y="2669876"/>
              <a:ext cx="1" cy="409633"/>
            </a:xfrm>
            <a:prstGeom prst="straightConnector1">
              <a:avLst/>
            </a:prstGeom>
            <a:noFill/>
            <a:ln w="12700" cap="flat" cmpd="sng" algn="ctr">
              <a:solidFill>
                <a:srgbClr val="002040"/>
              </a:solidFill>
              <a:prstDash val="solid"/>
              <a:headEnd type="oval" w="med" len="med"/>
              <a:tailEnd type="oval" w="med" len="med"/>
            </a:ln>
            <a:effectLst/>
          </p:spPr>
        </p:cxnSp>
      </p:grpSp>
      <p:cxnSp>
        <p:nvCxnSpPr>
          <p:cNvPr id="388" name="Straight Connector 387"/>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14663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2" cstate="print">
            <a:extLst>
              <a:ext uri="{28A0092B-C50C-407E-A947-70E740481C1C}">
                <a14:useLocalDpi xmlns:a14="http://schemas.microsoft.com/office/drawing/2010/main" val="0"/>
              </a:ext>
            </a:extLst>
          </a:blip>
          <a:srcRect l="4411" t="9340" r="51" b="10111"/>
          <a:stretch/>
        </p:blipFill>
        <p:spPr>
          <a:xfrm>
            <a:off x="-43543" y="0"/>
            <a:ext cx="12260943" cy="6886020"/>
          </a:xfrm>
          <a:prstGeom prst="rect">
            <a:avLst/>
          </a:prstGeom>
        </p:spPr>
      </p:pic>
      <p:sp>
        <p:nvSpPr>
          <p:cNvPr id="16" name="Freeform 15"/>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Oval 16"/>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8" name="Freeform 17"/>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Oval 18"/>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1" name="Freeform 20"/>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Oval 21"/>
          <p:cNvSpPr/>
          <p:nvPr/>
        </p:nvSpPr>
        <p:spPr>
          <a:xfrm flipH="1">
            <a:off x="5635434" y="274019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4" name="Oval 23"/>
          <p:cNvSpPr/>
          <p:nvPr/>
        </p:nvSpPr>
        <p:spPr>
          <a:xfrm>
            <a:off x="4490201"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6" name="Freeform 25"/>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Freeform 28"/>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 name="Oval 29"/>
          <p:cNvSpPr/>
          <p:nvPr/>
        </p:nvSpPr>
        <p:spPr>
          <a:xfrm>
            <a:off x="3239417"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8" name="Freeform 27"/>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Freeform 36"/>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chemeClr val="tx1"/>
              </a:solidFill>
            </a:endParaRPr>
          </a:p>
        </p:txBody>
      </p:sp>
      <p:sp>
        <p:nvSpPr>
          <p:cNvPr id="38" name="TextBox 37"/>
          <p:cNvSpPr txBox="1"/>
          <p:nvPr/>
        </p:nvSpPr>
        <p:spPr>
          <a:xfrm>
            <a:off x="0" y="352216"/>
            <a:ext cx="12198350" cy="400110"/>
          </a:xfrm>
          <a:prstGeom prst="rect">
            <a:avLst/>
          </a:prstGeom>
          <a:noFill/>
        </p:spPr>
        <p:txBody>
          <a:bodyPr wrap="square" lIns="0" tIns="0" rIns="0" bIns="0" rtlCol="0" anchor="t" anchorCtr="0">
            <a:spAutoFit/>
          </a:bodyPr>
          <a:lstStyle/>
          <a:p>
            <a:pPr algn="ctr"/>
            <a:r>
              <a:rPr lang="fr-CA" sz="2600" dirty="0">
                <a:solidFill>
                  <a:schemeClr val="tx2"/>
                </a:solidFill>
                <a:latin typeface="EYInterstate" panose="02000503020000020004" pitchFamily="2" charset="0"/>
              </a:rPr>
              <a:t>Schématisation des processus de RH et de paie </a:t>
            </a:r>
          </a:p>
        </p:txBody>
      </p:sp>
      <p:sp>
        <p:nvSpPr>
          <p:cNvPr id="23" name="Oval 22"/>
          <p:cNvSpPr/>
          <p:nvPr/>
        </p:nvSpPr>
        <p:spPr>
          <a:xfrm>
            <a:off x="1281818" y="3865854"/>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20" name="Group 19"/>
          <p:cNvGrpSpPr/>
          <p:nvPr/>
        </p:nvGrpSpPr>
        <p:grpSpPr>
          <a:xfrm>
            <a:off x="6639664" y="2871910"/>
            <a:ext cx="585235" cy="585235"/>
            <a:chOff x="3057925" y="3581401"/>
            <a:chExt cx="690010" cy="690010"/>
          </a:xfrm>
        </p:grpSpPr>
        <p:sp>
          <p:nvSpPr>
            <p:cNvPr id="25" name="Oval 24"/>
            <p:cNvSpPr/>
            <p:nvPr/>
          </p:nvSpPr>
          <p:spPr>
            <a:xfrm>
              <a:off x="3057925" y="3581401"/>
              <a:ext cx="690010" cy="69001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chemeClr val="tx1"/>
                </a:solidFill>
              </a:endParaRPr>
            </a:p>
          </p:txBody>
        </p:sp>
        <p:sp>
          <p:nvSpPr>
            <p:cNvPr id="32" name="Text Placeholder 5"/>
            <p:cNvSpPr txBox="1">
              <a:spLocks/>
            </p:cNvSpPr>
            <p:nvPr/>
          </p:nvSpPr>
          <p:spPr>
            <a:xfrm>
              <a:off x="3181612" y="3654246"/>
              <a:ext cx="442635" cy="544317"/>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rgbClr val="4B4B4B"/>
                  </a:solidFill>
                  <a:latin typeface="EYInterstate Light" panose="02000506000000020004" pitchFamily="2" charset="0"/>
                </a:rPr>
                <a:t>5</a:t>
              </a:r>
            </a:p>
          </p:txBody>
        </p:sp>
      </p:grpSp>
      <p:pic>
        <p:nvPicPr>
          <p:cNvPr id="34" name="Picture 33"/>
          <p:cNvPicPr>
            <a:picLocks noChangeAspect="1"/>
          </p:cNvPicPr>
          <p:nvPr/>
        </p:nvPicPr>
        <p:blipFill rotWithShape="1">
          <a:blip r:embed="rId3"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Tree>
    <p:extLst>
      <p:ext uri="{BB962C8B-B14F-4D97-AF65-F5344CB8AC3E}">
        <p14:creationId xmlns:p14="http://schemas.microsoft.com/office/powerpoint/2010/main" val="1669696654"/>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499836" y="373597"/>
            <a:ext cx="6976400" cy="799963"/>
          </a:xfrm>
          <a:prstGeom prst="rect">
            <a:avLst/>
          </a:prstGeom>
          <a:noFill/>
        </p:spPr>
        <p:txBody>
          <a:bodyPr wrap="square" lIns="0" tIns="0" rIns="0" bIns="0" rtlCol="0" anchor="t" anchorCtr="0">
            <a:spAutoFit/>
          </a:bodyPr>
          <a:lstStyle/>
          <a:p>
            <a:r>
              <a:rPr lang="en-GB" sz="2599" b="1" dirty="0" err="1" smtClean="0">
                <a:solidFill>
                  <a:srgbClr val="4B4B4B"/>
                </a:solidFill>
                <a:latin typeface="EYInterstate Light" panose="02000506000000020004" pitchFamily="2" charset="0"/>
              </a:rPr>
              <a:t>Tendances</a:t>
            </a:r>
            <a:r>
              <a:rPr lang="en-GB" sz="2599" b="1" dirty="0" smtClean="0">
                <a:solidFill>
                  <a:srgbClr val="4B4B4B"/>
                </a:solidFill>
                <a:latin typeface="EYInterstate Light" panose="02000506000000020004" pitchFamily="2" charset="0"/>
              </a:rPr>
              <a:t> </a:t>
            </a:r>
            <a:r>
              <a:rPr lang="en-GB" sz="2599" b="1" dirty="0" err="1" smtClean="0">
                <a:solidFill>
                  <a:srgbClr val="4B4B4B"/>
                </a:solidFill>
                <a:latin typeface="EYInterstate Light" panose="02000506000000020004" pitchFamily="2" charset="0"/>
              </a:rPr>
              <a:t>dominantes</a:t>
            </a:r>
            <a:r>
              <a:rPr lang="en-GB" sz="2599" b="1" dirty="0" smtClean="0">
                <a:solidFill>
                  <a:srgbClr val="4B4B4B"/>
                </a:solidFill>
                <a:latin typeface="EYInterstate Light" panose="02000506000000020004" pitchFamily="2" charset="0"/>
              </a:rPr>
              <a:t> : </a:t>
            </a:r>
            <a:endParaRPr lang="en-GB" sz="2599" b="1" dirty="0">
              <a:solidFill>
                <a:srgbClr val="4B4B4B"/>
              </a:solidFill>
              <a:latin typeface="EYInterstate Light" panose="02000506000000020004" pitchFamily="2" charset="0"/>
            </a:endParaRPr>
          </a:p>
          <a:p>
            <a:r>
              <a:rPr lang="en-GB" sz="2550" dirty="0" err="1" smtClean="0">
                <a:solidFill>
                  <a:srgbClr val="4B4B4B"/>
                </a:solidFill>
                <a:latin typeface="EYInterstate Light" panose="02000506000000020004" pitchFamily="2" charset="0"/>
              </a:rPr>
              <a:t>Recruter</a:t>
            </a:r>
            <a:r>
              <a:rPr lang="en-GB" sz="2550" dirty="0" smtClean="0">
                <a:solidFill>
                  <a:srgbClr val="4B4B4B"/>
                </a:solidFill>
                <a:latin typeface="EYInterstate Light" panose="02000506000000020004" pitchFamily="2" charset="0"/>
              </a:rPr>
              <a:t> et </a:t>
            </a:r>
            <a:r>
              <a:rPr lang="en-GB" sz="2550" dirty="0" err="1" smtClean="0">
                <a:solidFill>
                  <a:srgbClr val="4B4B4B"/>
                </a:solidFill>
                <a:latin typeface="EYInterstate Light" panose="02000506000000020004" pitchFamily="2" charset="0"/>
              </a:rPr>
              <a:t>embaucher</a:t>
            </a:r>
            <a:endParaRPr lang="en-GB" sz="2550" dirty="0">
              <a:solidFill>
                <a:srgbClr val="4B4B4B"/>
              </a:solidFill>
              <a:latin typeface="EYInterstate Light" panose="02000506000000020004" pitchFamily="2" charset="0"/>
            </a:endParaRPr>
          </a:p>
        </p:txBody>
      </p:sp>
      <p:cxnSp>
        <p:nvCxnSpPr>
          <p:cNvPr id="12" name="Straight Connector 11"/>
          <p:cNvCxnSpPr/>
          <p:nvPr/>
        </p:nvCxnSpPr>
        <p:spPr>
          <a:xfrm>
            <a:off x="617421"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8" name="Oval 14"/>
          <p:cNvSpPr>
            <a:spLocks noChangeArrowheads="1"/>
          </p:cNvSpPr>
          <p:nvPr/>
        </p:nvSpPr>
        <p:spPr bwMode="auto">
          <a:xfrm>
            <a:off x="5343284" y="3083301"/>
            <a:ext cx="1394568" cy="1333214"/>
          </a:xfrm>
          <a:prstGeom prst="ellipse">
            <a:avLst/>
          </a:prstGeom>
          <a:solidFill>
            <a:srgbClr val="FFE600"/>
          </a:solidFill>
          <a:ln w="12700" algn="ctr">
            <a:noFill/>
            <a:round/>
            <a:headEnd/>
            <a:tailEnd/>
          </a:ln>
          <a:effectLst/>
        </p:spPr>
        <p:txBody>
          <a:bodyPr lIns="0" tIns="0" rIns="0" bIns="0" anchor="ctr"/>
          <a:lstStyle/>
          <a:p>
            <a:pPr algn="ctr" defTabSz="995363" fontAlgn="base">
              <a:spcBef>
                <a:spcPct val="0"/>
              </a:spcBef>
              <a:spcAft>
                <a:spcPct val="50000"/>
              </a:spcAft>
              <a:buClr>
                <a:srgbClr val="FFE600"/>
              </a:buClr>
              <a:buSzPct val="80000"/>
              <a:buFont typeface="EYInterstate" pitchFamily="2" charset="0"/>
              <a:buNone/>
              <a:defRPr/>
            </a:pPr>
            <a:endParaRPr lang="de-DE" sz="1200" b="1" kern="0" dirty="0">
              <a:solidFill>
                <a:prstClr val="black"/>
              </a:solidFill>
            </a:endParaRPr>
          </a:p>
        </p:txBody>
      </p:sp>
      <p:sp>
        <p:nvSpPr>
          <p:cNvPr id="29" name="AutoShape 3"/>
          <p:cNvSpPr>
            <a:spLocks noChangeArrowheads="1"/>
          </p:cNvSpPr>
          <p:nvPr/>
        </p:nvSpPr>
        <p:spPr bwMode="gray">
          <a:xfrm>
            <a:off x="3544312" y="1891107"/>
            <a:ext cx="4752000" cy="3874251"/>
          </a:xfrm>
          <a:prstGeom prst="hexagon">
            <a:avLst>
              <a:gd name="adj" fmla="val 30149"/>
              <a:gd name="vf" fmla="val 115470"/>
            </a:avLst>
          </a:prstGeom>
          <a:noFill/>
          <a:ln w="12700" algn="ctr">
            <a:solidFill>
              <a:srgbClr val="FF0000"/>
            </a:solidFill>
            <a:miter lim="800000"/>
            <a:headEnd/>
            <a:tailEnd/>
          </a:ln>
          <a:effectLst/>
        </p:spPr>
        <p:txBody>
          <a:bodyPr wrap="none" lIns="90000" tIns="46038" rIns="90000" bIns="46038" anchor="ctr"/>
          <a:lstStyle/>
          <a:p>
            <a:pPr fontAlgn="base">
              <a:spcBef>
                <a:spcPct val="0"/>
              </a:spcBef>
              <a:spcAft>
                <a:spcPct val="50000"/>
              </a:spcAft>
              <a:buClr>
                <a:srgbClr val="FFE600"/>
              </a:buClr>
              <a:buSzPct val="80000"/>
              <a:buFont typeface="Arial" charset="0"/>
              <a:buNone/>
              <a:defRPr/>
            </a:pPr>
            <a:endParaRPr lang="en-US" sz="900" b="1" kern="0" dirty="0" smtClean="0">
              <a:solidFill>
                <a:srgbClr val="000000"/>
              </a:solidFill>
            </a:endParaRPr>
          </a:p>
        </p:txBody>
      </p:sp>
      <p:sp>
        <p:nvSpPr>
          <p:cNvPr id="30" name="AutoShape 15"/>
          <p:cNvSpPr>
            <a:spLocks noChangeAspect="1" noChangeArrowheads="1"/>
          </p:cNvSpPr>
          <p:nvPr/>
        </p:nvSpPr>
        <p:spPr bwMode="gray">
          <a:xfrm>
            <a:off x="6313099" y="1194856"/>
            <a:ext cx="1983213" cy="1507181"/>
          </a:xfrm>
          <a:prstGeom prst="hexagon">
            <a:avLst>
              <a:gd name="adj" fmla="val 31518"/>
              <a:gd name="vf" fmla="val 115470"/>
            </a:avLst>
          </a:prstGeom>
          <a:solidFill>
            <a:srgbClr val="DCDCDC"/>
          </a:solidFill>
          <a:ln w="28575" algn="ctr">
            <a:solidFill>
              <a:srgbClr val="FFFFFF"/>
            </a:solidFill>
            <a:miter lim="800000"/>
            <a:headEnd/>
            <a:tailEnd/>
          </a:ln>
          <a:effectLst/>
        </p:spPr>
        <p:txBody>
          <a:bodyPr lIns="90000" tIns="46800" rIns="90000" bIns="46800" anchor="ctr"/>
          <a:lstStyle/>
          <a:p>
            <a:pPr algn="ctr"/>
            <a:r>
              <a:rPr lang="fr-CA" sz="1050" b="1" dirty="0" smtClean="0"/>
              <a:t>Mettre l’emphase </a:t>
            </a:r>
            <a:r>
              <a:rPr lang="fr-CA" sz="1050" b="1" dirty="0"/>
              <a:t>sur l’expérience </a:t>
            </a:r>
            <a:r>
              <a:rPr lang="fr-CA" sz="1050" b="1" dirty="0" smtClean="0"/>
              <a:t>du candidat</a:t>
            </a:r>
            <a:endParaRPr lang="en-CA" sz="1050" dirty="0"/>
          </a:p>
        </p:txBody>
      </p:sp>
      <p:sp>
        <p:nvSpPr>
          <p:cNvPr id="31" name="Freeform 16"/>
          <p:cNvSpPr>
            <a:spLocks noEditPoints="1"/>
          </p:cNvSpPr>
          <p:nvPr/>
        </p:nvSpPr>
        <p:spPr bwMode="auto">
          <a:xfrm>
            <a:off x="5671007" y="3324859"/>
            <a:ext cx="794502" cy="882653"/>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a:defRPr/>
            </a:pPr>
            <a:endParaRPr lang="en-US" b="1" kern="0" dirty="0">
              <a:solidFill>
                <a:srgbClr val="000000"/>
              </a:solidFill>
              <a:ea typeface="ＭＳ Ｐゴシック" charset="0"/>
            </a:endParaRPr>
          </a:p>
        </p:txBody>
      </p:sp>
      <p:sp>
        <p:nvSpPr>
          <p:cNvPr id="32" name="AutoShape 15"/>
          <p:cNvSpPr>
            <a:spLocks noChangeAspect="1" noChangeArrowheads="1"/>
          </p:cNvSpPr>
          <p:nvPr/>
        </p:nvSpPr>
        <p:spPr bwMode="gray">
          <a:xfrm>
            <a:off x="7227599" y="3087512"/>
            <a:ext cx="1983213" cy="1507181"/>
          </a:xfrm>
          <a:prstGeom prst="hexagon">
            <a:avLst>
              <a:gd name="adj" fmla="val 31518"/>
              <a:gd name="vf" fmla="val 115470"/>
            </a:avLst>
          </a:prstGeom>
          <a:solidFill>
            <a:srgbClr val="808080"/>
          </a:solidFill>
          <a:ln w="28575" algn="ctr">
            <a:solidFill>
              <a:srgbClr val="FFFFFF"/>
            </a:solidFill>
            <a:miter lim="800000"/>
            <a:headEnd/>
            <a:tailEnd/>
          </a:ln>
          <a:effectLst/>
        </p:spPr>
        <p:txBody>
          <a:bodyPr lIns="90000" tIns="46800" rIns="90000" bIns="46800" anchor="ctr"/>
          <a:lstStyle/>
          <a:p>
            <a:pPr algn="ctr"/>
            <a:r>
              <a:rPr lang="fr-CA" sz="1050" b="1" dirty="0"/>
              <a:t>Maintenir un </a:t>
            </a:r>
            <a:r>
              <a:rPr lang="fr-CA" sz="1050" b="1" dirty="0" smtClean="0"/>
              <a:t>bassin </a:t>
            </a:r>
            <a:r>
              <a:rPr lang="fr-CA" sz="1050" b="1" dirty="0"/>
              <a:t>de postulants visible et dynamique</a:t>
            </a:r>
            <a:endParaRPr lang="en-CA" sz="1050" b="1" dirty="0"/>
          </a:p>
        </p:txBody>
      </p:sp>
      <p:sp>
        <p:nvSpPr>
          <p:cNvPr id="33" name="AutoShape 15"/>
          <p:cNvSpPr>
            <a:spLocks noChangeAspect="1" noChangeArrowheads="1"/>
          </p:cNvSpPr>
          <p:nvPr/>
        </p:nvSpPr>
        <p:spPr bwMode="gray">
          <a:xfrm>
            <a:off x="6313099" y="5007661"/>
            <a:ext cx="1983213" cy="1507181"/>
          </a:xfrm>
          <a:prstGeom prst="hexagon">
            <a:avLst>
              <a:gd name="adj" fmla="val 31518"/>
              <a:gd name="vf" fmla="val 115470"/>
            </a:avLst>
          </a:prstGeom>
          <a:solidFill>
            <a:srgbClr val="999999"/>
          </a:solidFill>
          <a:ln w="28575" algn="ctr">
            <a:solidFill>
              <a:srgbClr val="FFFFFF"/>
            </a:solidFill>
            <a:miter lim="800000"/>
            <a:headEnd/>
            <a:tailEnd/>
          </a:ln>
          <a:effectLst/>
        </p:spPr>
        <p:txBody>
          <a:bodyPr lIns="90000" tIns="46800" rIns="90000" bIns="46800" anchor="ctr"/>
          <a:lstStyle/>
          <a:p>
            <a:pPr algn="ctr"/>
            <a:r>
              <a:rPr lang="fr-CA" sz="1050" b="1" dirty="0">
                <a:solidFill>
                  <a:schemeClr val="tx2"/>
                </a:solidFill>
              </a:rPr>
              <a:t>Tirer parti de l’IA et l’analyse </a:t>
            </a:r>
            <a:r>
              <a:rPr lang="fr-CA" sz="1050" b="1" dirty="0" smtClean="0">
                <a:solidFill>
                  <a:schemeClr val="tx2"/>
                </a:solidFill>
              </a:rPr>
              <a:t>de </a:t>
            </a:r>
            <a:r>
              <a:rPr lang="fr-CA" sz="1050" b="1" dirty="0">
                <a:solidFill>
                  <a:schemeClr val="tx2"/>
                </a:solidFill>
              </a:rPr>
              <a:t>données</a:t>
            </a:r>
            <a:endParaRPr lang="en-CA" sz="1050" dirty="0">
              <a:solidFill>
                <a:schemeClr val="tx2"/>
              </a:solidFill>
            </a:endParaRPr>
          </a:p>
        </p:txBody>
      </p:sp>
      <p:sp>
        <p:nvSpPr>
          <p:cNvPr id="34" name="AutoShape 15"/>
          <p:cNvSpPr>
            <a:spLocks noChangeAspect="1" noChangeArrowheads="1"/>
          </p:cNvSpPr>
          <p:nvPr/>
        </p:nvSpPr>
        <p:spPr bwMode="gray">
          <a:xfrm>
            <a:off x="3798339" y="5007661"/>
            <a:ext cx="1983213" cy="1507181"/>
          </a:xfrm>
          <a:prstGeom prst="hexagon">
            <a:avLst>
              <a:gd name="adj" fmla="val 31518"/>
              <a:gd name="vf" fmla="val 115470"/>
            </a:avLst>
          </a:prstGeom>
          <a:solidFill>
            <a:srgbClr val="DCDCDC"/>
          </a:solidFill>
          <a:ln w="28575" algn="ctr">
            <a:solidFill>
              <a:srgbClr val="FFFFFF"/>
            </a:solidFill>
            <a:miter lim="800000"/>
            <a:headEnd/>
            <a:tailEnd/>
          </a:ln>
          <a:effectLst/>
        </p:spPr>
        <p:txBody>
          <a:bodyPr lIns="90000" tIns="46800" rIns="90000" bIns="46800" anchor="ctr"/>
          <a:lstStyle/>
          <a:p>
            <a:pPr algn="ctr" defTabSz="1042988" eaLnBrk="0" hangingPunct="0">
              <a:spcAft>
                <a:spcPct val="0"/>
              </a:spcAft>
              <a:buClr>
                <a:srgbClr val="F2F2F2"/>
              </a:buClr>
              <a:buSzPct val="75000"/>
              <a:defRPr/>
            </a:pPr>
            <a:r>
              <a:rPr lang="fr-CA" sz="1050" b="1" dirty="0"/>
              <a:t>Créer une stratégie </a:t>
            </a:r>
            <a:r>
              <a:rPr lang="fr-CA" sz="1050" b="1" dirty="0" smtClean="0"/>
              <a:t>propice de trouver des candidates a </a:t>
            </a:r>
            <a:r>
              <a:rPr lang="fr-CA" sz="1050" b="1" dirty="0"/>
              <a:t>canaux multiples</a:t>
            </a:r>
            <a:endParaRPr lang="de-DE" sz="1000" b="1" kern="0" dirty="0"/>
          </a:p>
        </p:txBody>
      </p:sp>
      <p:sp>
        <p:nvSpPr>
          <p:cNvPr id="35" name="AutoShape 15"/>
          <p:cNvSpPr>
            <a:spLocks noChangeAspect="1" noChangeArrowheads="1"/>
          </p:cNvSpPr>
          <p:nvPr/>
        </p:nvSpPr>
        <p:spPr bwMode="gray">
          <a:xfrm>
            <a:off x="2814633" y="3077718"/>
            <a:ext cx="1983213" cy="1507181"/>
          </a:xfrm>
          <a:prstGeom prst="hexagon">
            <a:avLst>
              <a:gd name="adj" fmla="val 31518"/>
              <a:gd name="vf" fmla="val 115470"/>
            </a:avLst>
          </a:prstGeom>
          <a:solidFill>
            <a:srgbClr val="808080"/>
          </a:solidFill>
          <a:ln w="28575" algn="ctr">
            <a:solidFill>
              <a:srgbClr val="FFFFFF"/>
            </a:solidFill>
            <a:miter lim="800000"/>
            <a:headEnd/>
            <a:tailEnd/>
          </a:ln>
          <a:effectLst/>
        </p:spPr>
        <p:txBody>
          <a:bodyPr lIns="90000" tIns="46800" rIns="90000" bIns="46800" anchor="ctr"/>
          <a:lstStyle/>
          <a:p>
            <a:pPr algn="ctr" defTabSz="1042988" eaLnBrk="0" hangingPunct="0">
              <a:spcAft>
                <a:spcPct val="0"/>
              </a:spcAft>
              <a:buClr>
                <a:srgbClr val="F2F2F2"/>
              </a:buClr>
              <a:buSzPct val="75000"/>
              <a:defRPr/>
            </a:pPr>
            <a:r>
              <a:rPr lang="fr-CA" sz="1050" b="1" dirty="0"/>
              <a:t>Utiliser la technologie pour permettre une transition </a:t>
            </a:r>
            <a:r>
              <a:rPr lang="fr-CA" sz="1050" b="1" dirty="0" smtClean="0"/>
              <a:t>efficace entre le </a:t>
            </a:r>
            <a:r>
              <a:rPr lang="fr-CA" sz="1050" b="1" dirty="0"/>
              <a:t>recrutement </a:t>
            </a:r>
            <a:r>
              <a:rPr lang="fr-CA" sz="1050" b="1" dirty="0" smtClean="0"/>
              <a:t>et </a:t>
            </a:r>
            <a:r>
              <a:rPr lang="fr-CA" sz="1050" b="1" dirty="0"/>
              <a:t>l’embauche</a:t>
            </a:r>
            <a:endParaRPr lang="de-DE" sz="1000" b="1" kern="0" dirty="0">
              <a:solidFill>
                <a:srgbClr val="FFFFFF"/>
              </a:solidFill>
            </a:endParaRPr>
          </a:p>
        </p:txBody>
      </p:sp>
      <p:sp>
        <p:nvSpPr>
          <p:cNvPr id="36" name="AutoShape 15"/>
          <p:cNvSpPr>
            <a:spLocks noChangeAspect="1" noChangeArrowheads="1"/>
          </p:cNvSpPr>
          <p:nvPr/>
        </p:nvSpPr>
        <p:spPr bwMode="gray">
          <a:xfrm>
            <a:off x="3798339" y="1194856"/>
            <a:ext cx="1983213" cy="1507181"/>
          </a:xfrm>
          <a:prstGeom prst="hexagon">
            <a:avLst>
              <a:gd name="adj" fmla="val 31518"/>
              <a:gd name="vf" fmla="val 115470"/>
            </a:avLst>
          </a:prstGeom>
          <a:solidFill>
            <a:srgbClr val="999999"/>
          </a:solidFill>
          <a:ln w="28575" algn="ctr">
            <a:solidFill>
              <a:srgbClr val="FFFFFF"/>
            </a:solidFill>
            <a:miter lim="800000"/>
            <a:headEnd/>
            <a:tailEnd/>
          </a:ln>
          <a:effectLst/>
        </p:spPr>
        <p:txBody>
          <a:bodyPr lIns="90000" tIns="46800" rIns="90000" bIns="46800" anchor="ctr"/>
          <a:lstStyle/>
          <a:p>
            <a:pPr algn="ctr" defTabSz="1042988" eaLnBrk="0" hangingPunct="0">
              <a:spcAft>
                <a:spcPct val="0"/>
              </a:spcAft>
              <a:buClr>
                <a:srgbClr val="F2F2F2"/>
              </a:buClr>
              <a:buSzPct val="75000"/>
              <a:defRPr/>
            </a:pPr>
            <a:r>
              <a:rPr lang="fr-CA" sz="1050" b="1" dirty="0">
                <a:solidFill>
                  <a:schemeClr val="tx2"/>
                </a:solidFill>
              </a:rPr>
              <a:t>Créer une </a:t>
            </a:r>
            <a:r>
              <a:rPr lang="fr-CA" sz="1050" b="1" dirty="0" smtClean="0">
                <a:solidFill>
                  <a:schemeClr val="tx2"/>
                </a:solidFill>
              </a:rPr>
              <a:t>image de marque, un énoncé de mission </a:t>
            </a:r>
            <a:r>
              <a:rPr lang="fr-CA" sz="1050" b="1" dirty="0">
                <a:solidFill>
                  <a:schemeClr val="tx2"/>
                </a:solidFill>
              </a:rPr>
              <a:t>et </a:t>
            </a:r>
            <a:r>
              <a:rPr lang="fr-CA" sz="1050" b="1" dirty="0" smtClean="0">
                <a:solidFill>
                  <a:schemeClr val="tx2"/>
                </a:solidFill>
              </a:rPr>
              <a:t>une proposition </a:t>
            </a:r>
            <a:r>
              <a:rPr lang="fr-CA" sz="1050" b="1" dirty="0">
                <a:solidFill>
                  <a:schemeClr val="tx2"/>
                </a:solidFill>
              </a:rPr>
              <a:t>de valeur</a:t>
            </a:r>
            <a:endParaRPr lang="de-DE" sz="1000" b="1" kern="0" dirty="0">
              <a:solidFill>
                <a:schemeClr val="tx2"/>
              </a:solidFill>
            </a:endParaRPr>
          </a:p>
        </p:txBody>
      </p:sp>
    </p:spTree>
    <p:extLst>
      <p:ext uri="{BB962C8B-B14F-4D97-AF65-F5344CB8AC3E}">
        <p14:creationId xmlns:p14="http://schemas.microsoft.com/office/powerpoint/2010/main" val="2908275138"/>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custDataLst>
              <p:tags r:id="rId1"/>
            </p:custDataLst>
          </p:nvPr>
        </p:nvSpPr>
        <p:spPr>
          <a:xfrm>
            <a:off x="342894" y="1548426"/>
            <a:ext cx="11531600" cy="252867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31" name="Pentagon 30"/>
          <p:cNvSpPr/>
          <p:nvPr>
            <p:custDataLst>
              <p:tags r:id="rId2"/>
            </p:custDataLst>
          </p:nvPr>
        </p:nvSpPr>
        <p:spPr>
          <a:xfrm>
            <a:off x="9116917" y="2310793"/>
            <a:ext cx="257305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8" name="Pentagon 37"/>
          <p:cNvSpPr/>
          <p:nvPr>
            <p:custDataLst>
              <p:tags r:id="rId3"/>
            </p:custDataLst>
          </p:nvPr>
        </p:nvSpPr>
        <p:spPr>
          <a:xfrm>
            <a:off x="7791210" y="2310794"/>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7" name="Pentagon 36"/>
          <p:cNvSpPr/>
          <p:nvPr>
            <p:custDataLst>
              <p:tags r:id="rId4"/>
            </p:custDataLst>
          </p:nvPr>
        </p:nvSpPr>
        <p:spPr>
          <a:xfrm>
            <a:off x="6491621" y="2310795"/>
            <a:ext cx="2535280"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6" name="Pentagon 35"/>
          <p:cNvSpPr/>
          <p:nvPr>
            <p:custDataLst>
              <p:tags r:id="rId5"/>
            </p:custDataLst>
          </p:nvPr>
        </p:nvSpPr>
        <p:spPr>
          <a:xfrm>
            <a:off x="5192034" y="231079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5" name="Pentagon 34"/>
          <p:cNvSpPr/>
          <p:nvPr>
            <p:custDataLst>
              <p:tags r:id="rId6"/>
            </p:custDataLst>
          </p:nvPr>
        </p:nvSpPr>
        <p:spPr>
          <a:xfrm>
            <a:off x="3983352" y="2310796"/>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4" name="Right Triangle 103"/>
          <p:cNvSpPr/>
          <p:nvPr>
            <p:custDataLst>
              <p:tags r:id="rId7"/>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8"/>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40"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9"/>
            </p:custDataLst>
          </p:nvPr>
        </p:nvSpPr>
        <p:spPr>
          <a:xfrm>
            <a:off x="617421" y="660997"/>
            <a:ext cx="6976400" cy="399981"/>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recrutement et embauche</a:t>
            </a:r>
          </a:p>
        </p:txBody>
      </p:sp>
      <p:cxnSp>
        <p:nvCxnSpPr>
          <p:cNvPr id="12" name="Straight Connector 11"/>
          <p:cNvCxnSpPr/>
          <p:nvPr>
            <p:custDataLst>
              <p:tags r:id="rId10"/>
            </p:custDataLst>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6" name="Rectangle 25"/>
          <p:cNvSpPr/>
          <p:nvPr>
            <p:custDataLst>
              <p:tags r:id="rId11"/>
            </p:custDataLst>
          </p:nvPr>
        </p:nvSpPr>
        <p:spPr>
          <a:xfrm>
            <a:off x="525774" y="1605895"/>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Recruter</a:t>
            </a:r>
          </a:p>
        </p:txBody>
      </p:sp>
      <p:cxnSp>
        <p:nvCxnSpPr>
          <p:cNvPr id="30" name="Straight Connector 29"/>
          <p:cNvCxnSpPr/>
          <p:nvPr>
            <p:custDataLst>
              <p:tags r:id="rId12"/>
            </p:custDataLst>
          </p:nvPr>
        </p:nvCxnSpPr>
        <p:spPr>
          <a:xfrm>
            <a:off x="617421" y="195834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32" name="Pentagon 31"/>
          <p:cNvSpPr/>
          <p:nvPr>
            <p:custDataLst>
              <p:tags r:id="rId13"/>
            </p:custDataLst>
          </p:nvPr>
        </p:nvSpPr>
        <p:spPr>
          <a:xfrm>
            <a:off x="2592858" y="2310796"/>
            <a:ext cx="2509161"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3" name="Pentagon 32"/>
          <p:cNvSpPr/>
          <p:nvPr>
            <p:custDataLst>
              <p:tags r:id="rId14"/>
            </p:custDataLst>
          </p:nvPr>
        </p:nvSpPr>
        <p:spPr>
          <a:xfrm>
            <a:off x="1640775" y="2310794"/>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4" name="Pentagon 33"/>
          <p:cNvSpPr/>
          <p:nvPr>
            <p:custDataLst>
              <p:tags r:id="rId15"/>
            </p:custDataLst>
          </p:nvPr>
        </p:nvSpPr>
        <p:spPr>
          <a:xfrm>
            <a:off x="836370" y="2323679"/>
            <a:ext cx="1675815"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 name="TextBox 3"/>
          <p:cNvSpPr txBox="1"/>
          <p:nvPr>
            <p:custDataLst>
              <p:tags r:id="rId16"/>
            </p:custDataLst>
          </p:nvPr>
        </p:nvSpPr>
        <p:spPr>
          <a:xfrm>
            <a:off x="855704" y="2856926"/>
            <a:ext cx="1291258"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tablir une stratégie de recrutement et de recherche</a:t>
            </a:r>
          </a:p>
        </p:txBody>
      </p:sp>
      <p:sp>
        <p:nvSpPr>
          <p:cNvPr id="40" name="TextBox 39"/>
          <p:cNvSpPr txBox="1"/>
          <p:nvPr>
            <p:custDataLst>
              <p:tags r:id="rId17"/>
            </p:custDataLst>
          </p:nvPr>
        </p:nvSpPr>
        <p:spPr>
          <a:xfrm>
            <a:off x="2557639" y="2839852"/>
            <a:ext cx="915031"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laborer des critères de sélection</a:t>
            </a:r>
          </a:p>
        </p:txBody>
      </p:sp>
      <p:sp>
        <p:nvSpPr>
          <p:cNvPr id="41" name="TextBox 40"/>
          <p:cNvSpPr txBox="1"/>
          <p:nvPr>
            <p:custDataLst>
              <p:tags r:id="rId18"/>
            </p:custDataLst>
          </p:nvPr>
        </p:nvSpPr>
        <p:spPr>
          <a:xfrm>
            <a:off x="3958398" y="2732375"/>
            <a:ext cx="863175" cy="757643"/>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Analyser et créer une demande d’affichage d’emploi</a:t>
            </a:r>
          </a:p>
        </p:txBody>
      </p:sp>
      <p:sp>
        <p:nvSpPr>
          <p:cNvPr id="42" name="TextBox 41"/>
          <p:cNvSpPr txBox="1"/>
          <p:nvPr>
            <p:custDataLst>
              <p:tags r:id="rId19"/>
            </p:custDataLst>
          </p:nvPr>
        </p:nvSpPr>
        <p:spPr>
          <a:xfrm>
            <a:off x="5200323" y="2839211"/>
            <a:ext cx="863175" cy="469872"/>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Publier les demandes d’emploi</a:t>
            </a:r>
          </a:p>
        </p:txBody>
      </p:sp>
      <p:sp>
        <p:nvSpPr>
          <p:cNvPr id="43" name="TextBox 42"/>
          <p:cNvSpPr txBox="1"/>
          <p:nvPr>
            <p:custDataLst>
              <p:tags r:id="rId20"/>
            </p:custDataLst>
          </p:nvPr>
        </p:nvSpPr>
        <p:spPr>
          <a:xfrm>
            <a:off x="6508101" y="2911795"/>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bassins de candidats</a:t>
            </a:r>
          </a:p>
        </p:txBody>
      </p:sp>
      <p:sp>
        <p:nvSpPr>
          <p:cNvPr id="44" name="TextBox 43"/>
          <p:cNvSpPr txBox="1"/>
          <p:nvPr>
            <p:custDataLst>
              <p:tags r:id="rId21"/>
            </p:custDataLst>
          </p:nvPr>
        </p:nvSpPr>
        <p:spPr>
          <a:xfrm>
            <a:off x="7833808" y="2876901"/>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Filtrer et sélectionner des candidats</a:t>
            </a:r>
          </a:p>
        </p:txBody>
      </p:sp>
      <p:sp>
        <p:nvSpPr>
          <p:cNvPr id="45" name="TextBox 44"/>
          <p:cNvSpPr txBox="1"/>
          <p:nvPr>
            <p:custDataLst>
              <p:tags r:id="rId22"/>
            </p:custDataLst>
          </p:nvPr>
        </p:nvSpPr>
        <p:spPr>
          <a:xfrm>
            <a:off x="9133708" y="2948844"/>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Préparer une offre d’emploi</a:t>
            </a:r>
          </a:p>
        </p:txBody>
      </p:sp>
      <p:sp>
        <p:nvSpPr>
          <p:cNvPr id="46" name="TextBox 45"/>
          <p:cNvSpPr txBox="1"/>
          <p:nvPr>
            <p:custDataLst>
              <p:tags r:id="rId23"/>
            </p:custDataLst>
          </p:nvPr>
        </p:nvSpPr>
        <p:spPr>
          <a:xfrm>
            <a:off x="10433499" y="2767268"/>
            <a:ext cx="863175" cy="613758"/>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Effectuer une diligence raisonnable de l’employé</a:t>
            </a:r>
          </a:p>
        </p:txBody>
      </p:sp>
      <p:sp>
        <p:nvSpPr>
          <p:cNvPr id="47" name="Rectangle 46"/>
          <p:cNvSpPr/>
          <p:nvPr>
            <p:custDataLst>
              <p:tags r:id="rId24"/>
            </p:custDataLst>
          </p:nvPr>
        </p:nvSpPr>
        <p:spPr>
          <a:xfrm>
            <a:off x="342894" y="4183558"/>
            <a:ext cx="7028382"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53" name="Rectangle 52"/>
          <p:cNvSpPr/>
          <p:nvPr>
            <p:custDataLst>
              <p:tags r:id="rId25"/>
            </p:custDataLst>
          </p:nvPr>
        </p:nvSpPr>
        <p:spPr>
          <a:xfrm>
            <a:off x="525774" y="4241027"/>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Intégration</a:t>
            </a:r>
          </a:p>
        </p:txBody>
      </p:sp>
      <p:cxnSp>
        <p:nvCxnSpPr>
          <p:cNvPr id="54" name="Straight Connector 53"/>
          <p:cNvCxnSpPr/>
          <p:nvPr>
            <p:custDataLst>
              <p:tags r:id="rId26"/>
            </p:custDataLst>
          </p:nvPr>
        </p:nvCxnSpPr>
        <p:spPr>
          <a:xfrm>
            <a:off x="617421" y="4593475"/>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70" name="Pentagon 69"/>
          <p:cNvSpPr/>
          <p:nvPr>
            <p:custDataLst>
              <p:tags r:id="rId27"/>
            </p:custDataLst>
          </p:nvPr>
        </p:nvSpPr>
        <p:spPr>
          <a:xfrm>
            <a:off x="4521433" y="4814853"/>
            <a:ext cx="2418254"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1" name="Pentagon 70"/>
          <p:cNvSpPr/>
          <p:nvPr>
            <p:custDataLst>
              <p:tags r:id="rId28"/>
            </p:custDataLst>
          </p:nvPr>
        </p:nvSpPr>
        <p:spPr>
          <a:xfrm>
            <a:off x="3052346" y="4814853"/>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2" name="Pentagon 71"/>
          <p:cNvSpPr/>
          <p:nvPr>
            <p:custDataLst>
              <p:tags r:id="rId29"/>
            </p:custDataLst>
          </p:nvPr>
        </p:nvSpPr>
        <p:spPr>
          <a:xfrm>
            <a:off x="1914688" y="4814853"/>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3" name="Pentagon 72"/>
          <p:cNvSpPr/>
          <p:nvPr>
            <p:custDataLst>
              <p:tags r:id="rId30"/>
            </p:custDataLst>
          </p:nvPr>
        </p:nvSpPr>
        <p:spPr>
          <a:xfrm>
            <a:off x="826135" y="4814856"/>
            <a:ext cx="182871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4" name="TextBox 73"/>
          <p:cNvSpPr txBox="1"/>
          <p:nvPr>
            <p:custDataLst>
              <p:tags r:id="rId31"/>
            </p:custDataLst>
          </p:nvPr>
        </p:nvSpPr>
        <p:spPr>
          <a:xfrm>
            <a:off x="1008598" y="5432927"/>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Données sur l’employé</a:t>
            </a:r>
          </a:p>
        </p:txBody>
      </p:sp>
      <p:sp>
        <p:nvSpPr>
          <p:cNvPr id="75" name="TextBox 74"/>
          <p:cNvSpPr txBox="1"/>
          <p:nvPr>
            <p:custDataLst>
              <p:tags r:id="rId32"/>
            </p:custDataLst>
          </p:nvPr>
        </p:nvSpPr>
        <p:spPr>
          <a:xfrm>
            <a:off x="2710533" y="5343910"/>
            <a:ext cx="915031"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Attribuer la propriété de l’entreprise</a:t>
            </a:r>
          </a:p>
        </p:txBody>
      </p:sp>
      <p:sp>
        <p:nvSpPr>
          <p:cNvPr id="76" name="TextBox 75"/>
          <p:cNvSpPr txBox="1"/>
          <p:nvPr>
            <p:custDataLst>
              <p:tags r:id="rId33"/>
            </p:custDataLst>
          </p:nvPr>
        </p:nvSpPr>
        <p:spPr>
          <a:xfrm>
            <a:off x="4276085" y="5307936"/>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Effectuer l’orientation de l’employé</a:t>
            </a:r>
          </a:p>
        </p:txBody>
      </p:sp>
      <p:sp>
        <p:nvSpPr>
          <p:cNvPr id="77" name="TextBox 76"/>
          <p:cNvSpPr txBox="1"/>
          <p:nvPr>
            <p:custDataLst>
              <p:tags r:id="rId34"/>
            </p:custDataLst>
          </p:nvPr>
        </p:nvSpPr>
        <p:spPr>
          <a:xfrm>
            <a:off x="5661380" y="5235994"/>
            <a:ext cx="86317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activités d’intégration des nouveaux employés</a:t>
            </a:r>
          </a:p>
        </p:txBody>
      </p:sp>
      <p:sp>
        <p:nvSpPr>
          <p:cNvPr id="2" name="Rectangle 6"/>
          <p:cNvSpPr/>
          <p:nvPr>
            <p:custDataLst>
              <p:tags r:id="rId35"/>
            </p:custDataLst>
          </p:nvPr>
        </p:nvSpPr>
        <p:spPr>
          <a:xfrm>
            <a:off x="8088086" y="4814853"/>
            <a:ext cx="3387007" cy="16214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 name="TextBox 7"/>
          <p:cNvSpPr txBox="1"/>
          <p:nvPr>
            <p:custDataLst>
              <p:tags r:id="rId36"/>
            </p:custDataLst>
          </p:nvPr>
        </p:nvSpPr>
        <p:spPr>
          <a:xfrm>
            <a:off x="8088086" y="4898571"/>
            <a:ext cx="3387007" cy="1286506"/>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fr-CA" sz="1200" b="1" u="sng" dirty="0">
                <a:solidFill>
                  <a:schemeClr val="bg1"/>
                </a:solidFill>
              </a:rPr>
              <a:t>Légende</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Tableau du modèle de référence opérationnel des RH</a:t>
            </a:r>
          </a:p>
          <a:p>
            <a:pPr lvl="1">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Recommandation d’EY à ajouter</a:t>
            </a:r>
          </a:p>
        </p:txBody>
      </p:sp>
      <p:sp>
        <p:nvSpPr>
          <p:cNvPr id="6" name="Rectangle 8"/>
          <p:cNvSpPr/>
          <p:nvPr>
            <p:custDataLst>
              <p:tags r:id="rId37"/>
            </p:custDataLst>
          </p:nvPr>
        </p:nvSpPr>
        <p:spPr>
          <a:xfrm>
            <a:off x="8245303" y="5343910"/>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8" name="Rectangle 9"/>
          <p:cNvSpPr/>
          <p:nvPr>
            <p:custDataLst>
              <p:tags r:id="rId38"/>
            </p:custDataLst>
          </p:nvPr>
        </p:nvSpPr>
        <p:spPr>
          <a:xfrm>
            <a:off x="8245303" y="5897618"/>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1739351046"/>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custDataLst>
              <p:tags r:id="rId1"/>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2"/>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40"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3"/>
            </p:custDataLst>
          </p:nvPr>
        </p:nvSpPr>
        <p:spPr>
          <a:xfrm>
            <a:off x="617421" y="660997"/>
            <a:ext cx="6976400" cy="799963"/>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exemples de recrutement et d’embauche</a:t>
            </a:r>
          </a:p>
        </p:txBody>
      </p:sp>
      <p:cxnSp>
        <p:nvCxnSpPr>
          <p:cNvPr id="12" name="Straight Connector 11"/>
          <p:cNvCxnSpPr/>
          <p:nvPr>
            <p:custDataLst>
              <p:tags r:id="rId4"/>
            </p:custDataLst>
          </p:nvPr>
        </p:nvCxnSpPr>
        <p:spPr>
          <a:xfrm>
            <a:off x="617421" y="1527934"/>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5"/>
            </p:custDataLst>
          </p:nvPr>
        </p:nvSpPr>
        <p:spPr>
          <a:xfrm>
            <a:off x="342894" y="1548426"/>
            <a:ext cx="11531600" cy="252867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33" name="Pentagon 32"/>
          <p:cNvSpPr/>
          <p:nvPr>
            <p:custDataLst>
              <p:tags r:id="rId6"/>
            </p:custDataLst>
          </p:nvPr>
        </p:nvSpPr>
        <p:spPr>
          <a:xfrm>
            <a:off x="9116917" y="2310793"/>
            <a:ext cx="257305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4" name="Pentagon 33"/>
          <p:cNvSpPr/>
          <p:nvPr>
            <p:custDataLst>
              <p:tags r:id="rId7"/>
            </p:custDataLst>
          </p:nvPr>
        </p:nvSpPr>
        <p:spPr>
          <a:xfrm>
            <a:off x="7791210" y="2310794"/>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5" name="Pentagon 34"/>
          <p:cNvSpPr/>
          <p:nvPr>
            <p:custDataLst>
              <p:tags r:id="rId8"/>
            </p:custDataLst>
          </p:nvPr>
        </p:nvSpPr>
        <p:spPr>
          <a:xfrm>
            <a:off x="6491621" y="2310795"/>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6" name="Pentagon 35"/>
          <p:cNvSpPr/>
          <p:nvPr>
            <p:custDataLst>
              <p:tags r:id="rId9"/>
            </p:custDataLst>
          </p:nvPr>
        </p:nvSpPr>
        <p:spPr>
          <a:xfrm>
            <a:off x="5192034" y="231079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7" name="Pentagon 36"/>
          <p:cNvSpPr/>
          <p:nvPr>
            <p:custDataLst>
              <p:tags r:id="rId10"/>
            </p:custDataLst>
          </p:nvPr>
        </p:nvSpPr>
        <p:spPr>
          <a:xfrm>
            <a:off x="3983352" y="2310796"/>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8" name="Rectangle 37"/>
          <p:cNvSpPr/>
          <p:nvPr>
            <p:custDataLst>
              <p:tags r:id="rId11"/>
            </p:custDataLst>
          </p:nvPr>
        </p:nvSpPr>
        <p:spPr>
          <a:xfrm>
            <a:off x="525774" y="1605895"/>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Filtrer et sélectionner des candidats</a:t>
            </a:r>
          </a:p>
        </p:txBody>
      </p:sp>
      <p:cxnSp>
        <p:nvCxnSpPr>
          <p:cNvPr id="39" name="Straight Connector 38"/>
          <p:cNvCxnSpPr/>
          <p:nvPr>
            <p:custDataLst>
              <p:tags r:id="rId12"/>
            </p:custDataLst>
          </p:nvPr>
        </p:nvCxnSpPr>
        <p:spPr>
          <a:xfrm>
            <a:off x="617421" y="195834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0" name="Pentagon 39"/>
          <p:cNvSpPr/>
          <p:nvPr>
            <p:custDataLst>
              <p:tags r:id="rId13"/>
            </p:custDataLst>
          </p:nvPr>
        </p:nvSpPr>
        <p:spPr>
          <a:xfrm>
            <a:off x="2592858" y="231079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1" name="Pentagon 40"/>
          <p:cNvSpPr/>
          <p:nvPr>
            <p:custDataLst>
              <p:tags r:id="rId14"/>
            </p:custDataLst>
          </p:nvPr>
        </p:nvSpPr>
        <p:spPr>
          <a:xfrm>
            <a:off x="1640775" y="2310794"/>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2" name="Pentagon 41"/>
          <p:cNvSpPr/>
          <p:nvPr>
            <p:custDataLst>
              <p:tags r:id="rId15"/>
            </p:custDataLst>
          </p:nvPr>
        </p:nvSpPr>
        <p:spPr>
          <a:xfrm>
            <a:off x="826136" y="2310798"/>
            <a:ext cx="1675815"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3" name="TextBox 42"/>
          <p:cNvSpPr txBox="1"/>
          <p:nvPr>
            <p:custDataLst>
              <p:tags r:id="rId16"/>
            </p:custDataLst>
          </p:nvPr>
        </p:nvSpPr>
        <p:spPr>
          <a:xfrm>
            <a:off x="855704" y="2928869"/>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Effectuer une première sélection de candidats</a:t>
            </a:r>
          </a:p>
        </p:txBody>
      </p:sp>
      <p:sp>
        <p:nvSpPr>
          <p:cNvPr id="44" name="TextBox 43"/>
          <p:cNvSpPr txBox="1"/>
          <p:nvPr>
            <p:custDataLst>
              <p:tags r:id="rId17"/>
            </p:custDataLst>
          </p:nvPr>
        </p:nvSpPr>
        <p:spPr>
          <a:xfrm>
            <a:off x="2557639" y="2839852"/>
            <a:ext cx="915031"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Déterminer l’aptitude d’un candidat</a:t>
            </a:r>
          </a:p>
        </p:txBody>
      </p:sp>
      <p:sp>
        <p:nvSpPr>
          <p:cNvPr id="45" name="TextBox 44"/>
          <p:cNvSpPr txBox="1"/>
          <p:nvPr>
            <p:custDataLst>
              <p:tags r:id="rId18"/>
            </p:custDataLst>
          </p:nvPr>
        </p:nvSpPr>
        <p:spPr>
          <a:xfrm>
            <a:off x="3827658" y="2733014"/>
            <a:ext cx="993915" cy="756361"/>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Si le candidat n’est pas apte, examiner une autre candidature</a:t>
            </a:r>
          </a:p>
        </p:txBody>
      </p:sp>
      <p:sp>
        <p:nvSpPr>
          <p:cNvPr id="46" name="TextBox 45"/>
          <p:cNvSpPr txBox="1"/>
          <p:nvPr>
            <p:custDataLst>
              <p:tags r:id="rId19"/>
            </p:custDataLst>
          </p:nvPr>
        </p:nvSpPr>
        <p:spPr>
          <a:xfrm>
            <a:off x="5200323" y="2695326"/>
            <a:ext cx="863175" cy="757643"/>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Le cas échéant, recommander le candidat à un autre poste</a:t>
            </a:r>
          </a:p>
        </p:txBody>
      </p:sp>
      <p:sp>
        <p:nvSpPr>
          <p:cNvPr id="47" name="TextBox 46"/>
          <p:cNvSpPr txBox="1"/>
          <p:nvPr>
            <p:custDataLst>
              <p:tags r:id="rId20"/>
            </p:custDataLst>
          </p:nvPr>
        </p:nvSpPr>
        <p:spPr>
          <a:xfrm>
            <a:off x="6508101" y="2911795"/>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lasser les candidats</a:t>
            </a:r>
          </a:p>
        </p:txBody>
      </p:sp>
      <p:sp>
        <p:nvSpPr>
          <p:cNvPr id="48" name="TextBox 47"/>
          <p:cNvSpPr txBox="1"/>
          <p:nvPr>
            <p:custDataLst>
              <p:tags r:id="rId21"/>
            </p:custDataLst>
          </p:nvPr>
        </p:nvSpPr>
        <p:spPr>
          <a:xfrm>
            <a:off x="7717674" y="2911795"/>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Ajouter les candidats à une courte liste</a:t>
            </a:r>
          </a:p>
        </p:txBody>
      </p:sp>
      <p:sp>
        <p:nvSpPr>
          <p:cNvPr id="49" name="TextBox 48"/>
          <p:cNvSpPr txBox="1"/>
          <p:nvPr>
            <p:custDataLst>
              <p:tags r:id="rId22"/>
            </p:custDataLst>
          </p:nvPr>
        </p:nvSpPr>
        <p:spPr>
          <a:xfrm>
            <a:off x="9133396" y="2839852"/>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Les candidats reçoivent un avis</a:t>
            </a:r>
          </a:p>
        </p:txBody>
      </p:sp>
      <p:sp>
        <p:nvSpPr>
          <p:cNvPr id="50" name="TextBox 49"/>
          <p:cNvSpPr txBox="1"/>
          <p:nvPr>
            <p:custDataLst>
              <p:tags r:id="rId23"/>
            </p:custDataLst>
          </p:nvPr>
        </p:nvSpPr>
        <p:spPr>
          <a:xfrm>
            <a:off x="10424794" y="2731291"/>
            <a:ext cx="863175" cy="613758"/>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S’il ne convient pas, le candidat sera rejeté</a:t>
            </a:r>
          </a:p>
        </p:txBody>
      </p:sp>
      <p:sp>
        <p:nvSpPr>
          <p:cNvPr id="51" name="Rectangle 50"/>
          <p:cNvSpPr/>
          <p:nvPr>
            <p:custDataLst>
              <p:tags r:id="rId24"/>
            </p:custDataLst>
          </p:nvPr>
        </p:nvSpPr>
        <p:spPr>
          <a:xfrm>
            <a:off x="342894" y="4183558"/>
            <a:ext cx="11531600"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52" name="Rectangle 51"/>
          <p:cNvSpPr/>
          <p:nvPr>
            <p:custDataLst>
              <p:tags r:id="rId25"/>
            </p:custDataLst>
          </p:nvPr>
        </p:nvSpPr>
        <p:spPr>
          <a:xfrm>
            <a:off x="525774" y="4241027"/>
            <a:ext cx="401150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Gérer les activités d’intégration des nouveaux employés</a:t>
            </a:r>
          </a:p>
        </p:txBody>
      </p:sp>
      <p:cxnSp>
        <p:nvCxnSpPr>
          <p:cNvPr id="53" name="Straight Connector 52"/>
          <p:cNvCxnSpPr/>
          <p:nvPr>
            <p:custDataLst>
              <p:tags r:id="rId26"/>
            </p:custDataLst>
          </p:nvPr>
        </p:nvCxnSpPr>
        <p:spPr>
          <a:xfrm>
            <a:off x="617421" y="4593475"/>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4" name="Pentagon 63"/>
          <p:cNvSpPr/>
          <p:nvPr>
            <p:custDataLst>
              <p:tags r:id="rId27"/>
            </p:custDataLst>
          </p:nvPr>
        </p:nvSpPr>
        <p:spPr>
          <a:xfrm>
            <a:off x="6491175" y="4839467"/>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5" name="Pentagon 64"/>
          <p:cNvSpPr/>
          <p:nvPr>
            <p:custDataLst>
              <p:tags r:id="rId28"/>
            </p:custDataLst>
          </p:nvPr>
        </p:nvSpPr>
        <p:spPr>
          <a:xfrm>
            <a:off x="5191588" y="4839468"/>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6" name="Pentagon 65"/>
          <p:cNvSpPr/>
          <p:nvPr>
            <p:custDataLst>
              <p:tags r:id="rId29"/>
            </p:custDataLst>
          </p:nvPr>
        </p:nvSpPr>
        <p:spPr>
          <a:xfrm>
            <a:off x="3982906" y="4839468"/>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7" name="Pentagon 66"/>
          <p:cNvSpPr/>
          <p:nvPr>
            <p:custDataLst>
              <p:tags r:id="rId30"/>
            </p:custDataLst>
          </p:nvPr>
        </p:nvSpPr>
        <p:spPr>
          <a:xfrm>
            <a:off x="2592412" y="4839468"/>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8" name="Pentagon 67"/>
          <p:cNvSpPr/>
          <p:nvPr>
            <p:custDataLst>
              <p:tags r:id="rId31"/>
            </p:custDataLst>
          </p:nvPr>
        </p:nvSpPr>
        <p:spPr>
          <a:xfrm>
            <a:off x="1640329" y="4839466"/>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9" name="Pentagon 68"/>
          <p:cNvSpPr/>
          <p:nvPr>
            <p:custDataLst>
              <p:tags r:id="rId32"/>
            </p:custDataLst>
          </p:nvPr>
        </p:nvSpPr>
        <p:spPr>
          <a:xfrm>
            <a:off x="825690" y="4839470"/>
            <a:ext cx="1675815"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0" name="TextBox 69"/>
          <p:cNvSpPr txBox="1"/>
          <p:nvPr>
            <p:custDataLst>
              <p:tags r:id="rId33"/>
            </p:custDataLst>
          </p:nvPr>
        </p:nvSpPr>
        <p:spPr>
          <a:xfrm>
            <a:off x="855258" y="5385598"/>
            <a:ext cx="1291258"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valuer les besoins d’orientation et d’intégration</a:t>
            </a:r>
          </a:p>
        </p:txBody>
      </p:sp>
      <p:sp>
        <p:nvSpPr>
          <p:cNvPr id="71" name="TextBox 70"/>
          <p:cNvSpPr txBox="1"/>
          <p:nvPr>
            <p:custDataLst>
              <p:tags r:id="rId34"/>
            </p:custDataLst>
          </p:nvPr>
        </p:nvSpPr>
        <p:spPr>
          <a:xfrm>
            <a:off x="2501505" y="5008169"/>
            <a:ext cx="970719" cy="118930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oordonner les activités avec le gestionnaire d’embauche pour mettre à jour les programmes d’intégration</a:t>
            </a:r>
          </a:p>
        </p:txBody>
      </p:sp>
      <p:sp>
        <p:nvSpPr>
          <p:cNvPr id="72" name="TextBox 71"/>
          <p:cNvSpPr txBox="1"/>
          <p:nvPr>
            <p:custDataLst>
              <p:tags r:id="rId35"/>
            </p:custDataLst>
          </p:nvPr>
        </p:nvSpPr>
        <p:spPr>
          <a:xfrm>
            <a:off x="3957952" y="5405573"/>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Tenir à jour les lettres et les formulaires</a:t>
            </a:r>
          </a:p>
        </p:txBody>
      </p:sp>
      <p:sp>
        <p:nvSpPr>
          <p:cNvPr id="73" name="TextBox 72"/>
          <p:cNvSpPr txBox="1"/>
          <p:nvPr>
            <p:custDataLst>
              <p:tags r:id="rId36"/>
            </p:custDataLst>
          </p:nvPr>
        </p:nvSpPr>
        <p:spPr>
          <a:xfrm>
            <a:off x="5199877" y="5296583"/>
            <a:ext cx="86317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de nouveaux sondages sur le recrutement</a:t>
            </a:r>
          </a:p>
        </p:txBody>
      </p:sp>
      <p:sp>
        <p:nvSpPr>
          <p:cNvPr id="74" name="TextBox 73"/>
          <p:cNvSpPr txBox="1"/>
          <p:nvPr>
            <p:custDataLst>
              <p:tags r:id="rId37"/>
            </p:custDataLst>
          </p:nvPr>
        </p:nvSpPr>
        <p:spPr>
          <a:xfrm>
            <a:off x="6474696" y="5259964"/>
            <a:ext cx="945000" cy="613758"/>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valuer l’efficacité des activités d’intégration</a:t>
            </a:r>
          </a:p>
        </p:txBody>
      </p:sp>
      <p:sp>
        <p:nvSpPr>
          <p:cNvPr id="75" name="TextBox 74"/>
          <p:cNvSpPr txBox="1"/>
          <p:nvPr>
            <p:custDataLst>
              <p:tags r:id="rId38"/>
            </p:custDataLst>
          </p:nvPr>
        </p:nvSpPr>
        <p:spPr>
          <a:xfrm>
            <a:off x="7717228" y="5368524"/>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Réaliser le programme d’intégration</a:t>
            </a:r>
          </a:p>
        </p:txBody>
      </p:sp>
    </p:spTree>
    <p:extLst>
      <p:ext uri="{BB962C8B-B14F-4D97-AF65-F5344CB8AC3E}">
        <p14:creationId xmlns:p14="http://schemas.microsoft.com/office/powerpoint/2010/main" val="442146405"/>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cxnSp>
        <p:nvCxnSpPr>
          <p:cNvPr id="12" name="Straight Connector 11"/>
          <p:cNvCxnSpPr/>
          <p:nvPr/>
        </p:nvCxnSpPr>
        <p:spPr>
          <a:xfrm>
            <a:off x="617421"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99836" y="373597"/>
            <a:ext cx="9691914" cy="800091"/>
          </a:xfrm>
          <a:prstGeom prst="rect">
            <a:avLst/>
          </a:prstGeom>
          <a:noFill/>
        </p:spPr>
        <p:txBody>
          <a:bodyPr wrap="square" lIns="0" tIns="0" rIns="0" bIns="0" rtlCol="0" anchor="t" anchorCtr="0">
            <a:spAutoFit/>
          </a:bodyPr>
          <a:lstStyle/>
          <a:p>
            <a:r>
              <a:rPr lang="en-GB" sz="2599" b="1" dirty="0" err="1">
                <a:solidFill>
                  <a:srgbClr val="4B4B4B"/>
                </a:solidFill>
                <a:latin typeface="EYInterstate Light" panose="02000506000000020004" pitchFamily="2" charset="0"/>
              </a:rPr>
              <a:t>Tendances</a:t>
            </a:r>
            <a:r>
              <a:rPr lang="en-GB" sz="2599" b="1" dirty="0">
                <a:solidFill>
                  <a:srgbClr val="4B4B4B"/>
                </a:solidFill>
                <a:latin typeface="EYInterstate Light" panose="02000506000000020004" pitchFamily="2" charset="0"/>
              </a:rPr>
              <a:t> </a:t>
            </a:r>
            <a:r>
              <a:rPr lang="en-GB" sz="2599" b="1" dirty="0" err="1" smtClean="0">
                <a:solidFill>
                  <a:srgbClr val="4B4B4B"/>
                </a:solidFill>
                <a:latin typeface="EYInterstate Light" panose="02000506000000020004" pitchFamily="2" charset="0"/>
              </a:rPr>
              <a:t>dominantes</a:t>
            </a:r>
            <a:r>
              <a:rPr lang="en-GB" sz="2599" b="1" dirty="0" smtClean="0">
                <a:solidFill>
                  <a:srgbClr val="4B4B4B"/>
                </a:solidFill>
                <a:latin typeface="EYInterstate Light" panose="02000506000000020004" pitchFamily="2" charset="0"/>
              </a:rPr>
              <a:t> : </a:t>
            </a:r>
            <a:endParaRPr lang="en-GB" sz="2599" b="1" dirty="0">
              <a:solidFill>
                <a:srgbClr val="4B4B4B"/>
              </a:solidFill>
              <a:latin typeface="EYInterstate Light" panose="02000506000000020004" pitchFamily="2" charset="0"/>
            </a:endParaRPr>
          </a:p>
          <a:p>
            <a:r>
              <a:rPr lang="en-GB" sz="2600" dirty="0" err="1" smtClean="0">
                <a:solidFill>
                  <a:srgbClr val="4B4B4B"/>
                </a:solidFill>
                <a:latin typeface="EYInterstate Light" panose="02000506000000020004" pitchFamily="2" charset="0"/>
              </a:rPr>
              <a:t>Gestion</a:t>
            </a:r>
            <a:r>
              <a:rPr lang="en-GB" sz="2600" dirty="0" smtClean="0">
                <a:solidFill>
                  <a:srgbClr val="4B4B4B"/>
                </a:solidFill>
                <a:latin typeface="EYInterstate Light" panose="02000506000000020004" pitchFamily="2" charset="0"/>
              </a:rPr>
              <a:t> des </a:t>
            </a:r>
            <a:r>
              <a:rPr lang="fr-CA" sz="2600" dirty="0" smtClean="0">
                <a:solidFill>
                  <a:srgbClr val="4B4B4B"/>
                </a:solidFill>
                <a:latin typeface="EYInterstate Light" panose="02000506000000020004" pitchFamily="2" charset="0"/>
              </a:rPr>
              <a:t>données organisationnelles et reliées aux employés</a:t>
            </a:r>
            <a:endParaRPr lang="en-GB" sz="2600" dirty="0">
              <a:solidFill>
                <a:srgbClr val="4B4B4B"/>
              </a:solidFill>
              <a:latin typeface="EYInterstate Light" panose="02000506000000020004" pitchFamily="2" charset="0"/>
            </a:endParaRPr>
          </a:p>
        </p:txBody>
      </p:sp>
      <p:sp>
        <p:nvSpPr>
          <p:cNvPr id="48" name="Oval 14"/>
          <p:cNvSpPr>
            <a:spLocks noChangeArrowheads="1"/>
          </p:cNvSpPr>
          <p:nvPr/>
        </p:nvSpPr>
        <p:spPr bwMode="auto">
          <a:xfrm>
            <a:off x="5076953" y="3195691"/>
            <a:ext cx="1394568" cy="1267193"/>
          </a:xfrm>
          <a:prstGeom prst="ellipse">
            <a:avLst/>
          </a:prstGeom>
          <a:solidFill>
            <a:srgbClr val="FFE600"/>
          </a:solidFill>
          <a:ln w="12700" algn="ctr">
            <a:noFill/>
            <a:round/>
            <a:headEnd/>
            <a:tailEnd/>
          </a:ln>
          <a:effectLst/>
        </p:spPr>
        <p:txBody>
          <a:bodyPr lIns="0" tIns="0" rIns="0" bIns="0" anchor="ctr"/>
          <a:lstStyle/>
          <a:p>
            <a:pPr algn="ctr" defTabSz="995363" fontAlgn="base">
              <a:spcBef>
                <a:spcPct val="0"/>
              </a:spcBef>
              <a:spcAft>
                <a:spcPct val="50000"/>
              </a:spcAft>
              <a:buClr>
                <a:srgbClr val="FFE600"/>
              </a:buClr>
              <a:buSzPct val="80000"/>
              <a:buFont typeface="EYInterstate" pitchFamily="2" charset="0"/>
              <a:buNone/>
              <a:defRPr/>
            </a:pPr>
            <a:endParaRPr lang="de-DE" sz="1200" b="1" kern="0" dirty="0">
              <a:solidFill>
                <a:prstClr val="black"/>
              </a:solidFill>
              <a:latin typeface="EYInterstate Light" panose="02000506000000020004" pitchFamily="2" charset="0"/>
            </a:endParaRPr>
          </a:p>
        </p:txBody>
      </p:sp>
      <p:sp>
        <p:nvSpPr>
          <p:cNvPr id="49" name="AutoShape 3"/>
          <p:cNvSpPr>
            <a:spLocks noChangeArrowheads="1"/>
          </p:cNvSpPr>
          <p:nvPr/>
        </p:nvSpPr>
        <p:spPr bwMode="gray">
          <a:xfrm>
            <a:off x="3119560" y="1937477"/>
            <a:ext cx="5160560" cy="3874251"/>
          </a:xfrm>
          <a:prstGeom prst="hexagon">
            <a:avLst>
              <a:gd name="adj" fmla="val 30149"/>
              <a:gd name="vf" fmla="val 115470"/>
            </a:avLst>
          </a:prstGeom>
          <a:noFill/>
          <a:ln w="12700" algn="ctr">
            <a:solidFill>
              <a:srgbClr val="FF0000"/>
            </a:solidFill>
            <a:miter lim="800000"/>
            <a:headEnd/>
            <a:tailEnd/>
          </a:ln>
          <a:effectLst/>
        </p:spPr>
        <p:txBody>
          <a:bodyPr wrap="none" lIns="90000" tIns="46038" rIns="90000" bIns="46038" anchor="ctr"/>
          <a:lstStyle/>
          <a:p>
            <a:pPr fontAlgn="base">
              <a:spcBef>
                <a:spcPct val="0"/>
              </a:spcBef>
              <a:spcAft>
                <a:spcPct val="50000"/>
              </a:spcAft>
              <a:buClr>
                <a:srgbClr val="FFE600"/>
              </a:buClr>
              <a:buSzPct val="80000"/>
              <a:buFont typeface="Arial" charset="0"/>
              <a:buNone/>
              <a:defRPr/>
            </a:pPr>
            <a:endParaRPr lang="en-US" sz="900" b="1" kern="0" dirty="0" smtClean="0">
              <a:solidFill>
                <a:prstClr val="black"/>
              </a:solidFill>
              <a:latin typeface="EYInterstate Light" panose="02000506000000020004" pitchFamily="2" charset="0"/>
            </a:endParaRPr>
          </a:p>
        </p:txBody>
      </p:sp>
      <p:sp>
        <p:nvSpPr>
          <p:cNvPr id="50" name="AutoShape 15"/>
          <p:cNvSpPr>
            <a:spLocks noChangeAspect="1" noChangeArrowheads="1"/>
          </p:cNvSpPr>
          <p:nvPr/>
        </p:nvSpPr>
        <p:spPr bwMode="gray">
          <a:xfrm>
            <a:off x="6111095" y="1183885"/>
            <a:ext cx="1983213" cy="1507181"/>
          </a:xfrm>
          <a:prstGeom prst="hexagon">
            <a:avLst>
              <a:gd name="adj" fmla="val 31518"/>
              <a:gd name="vf" fmla="val 115470"/>
            </a:avLst>
          </a:prstGeom>
          <a:solidFill>
            <a:srgbClr val="DCDCDC"/>
          </a:solidFill>
          <a:ln w="28575" algn="ctr">
            <a:solidFill>
              <a:srgbClr val="FFFFFF"/>
            </a:solidFill>
            <a:miter lim="800000"/>
            <a:headEnd/>
            <a:tailEnd/>
          </a:ln>
          <a:effectLst/>
        </p:spPr>
        <p:txBody>
          <a:bodyPr lIns="90000" tIns="46800" rIns="90000" bIns="46800" anchor="ctr"/>
          <a:lstStyle/>
          <a:p>
            <a:pPr algn="ctr"/>
            <a:r>
              <a:rPr lang="fr-CA" sz="1050" b="1" dirty="0"/>
              <a:t>Faciliter le </a:t>
            </a:r>
            <a:r>
              <a:rPr lang="fr-CA" sz="1050" b="1" dirty="0" smtClean="0"/>
              <a:t>contrôle </a:t>
            </a:r>
            <a:r>
              <a:rPr lang="fr-CA" sz="1050" b="1" dirty="0"/>
              <a:t>par les employés de leurs données </a:t>
            </a:r>
            <a:r>
              <a:rPr lang="fr-CA" sz="1050" b="1" dirty="0" smtClean="0"/>
              <a:t>n’importe où et n’importe quand</a:t>
            </a:r>
            <a:endParaRPr lang="en-CA" sz="1050" b="1" dirty="0"/>
          </a:p>
        </p:txBody>
      </p:sp>
      <p:sp>
        <p:nvSpPr>
          <p:cNvPr id="51" name="Freeform 16"/>
          <p:cNvSpPr>
            <a:spLocks noEditPoints="1"/>
          </p:cNvSpPr>
          <p:nvPr/>
        </p:nvSpPr>
        <p:spPr bwMode="auto">
          <a:xfrm>
            <a:off x="5376986" y="3387960"/>
            <a:ext cx="794502" cy="882653"/>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a:defRPr/>
            </a:pPr>
            <a:endParaRPr lang="en-US" b="1" kern="0" dirty="0">
              <a:solidFill>
                <a:srgbClr val="000000"/>
              </a:solidFill>
              <a:latin typeface="EYInterstate Light" panose="02000506000000020004" pitchFamily="2" charset="0"/>
              <a:ea typeface="ＭＳ Ｐゴシック" charset="0"/>
            </a:endParaRPr>
          </a:p>
        </p:txBody>
      </p:sp>
      <p:sp>
        <p:nvSpPr>
          <p:cNvPr id="57" name="AutoShape 15"/>
          <p:cNvSpPr>
            <a:spLocks noChangeAspect="1" noChangeArrowheads="1"/>
          </p:cNvSpPr>
          <p:nvPr/>
        </p:nvSpPr>
        <p:spPr bwMode="gray">
          <a:xfrm>
            <a:off x="7027688" y="3195691"/>
            <a:ext cx="1983213" cy="1507181"/>
          </a:xfrm>
          <a:prstGeom prst="hexagon">
            <a:avLst>
              <a:gd name="adj" fmla="val 31518"/>
              <a:gd name="vf" fmla="val 115470"/>
            </a:avLst>
          </a:prstGeom>
          <a:solidFill>
            <a:srgbClr val="808080"/>
          </a:solidFill>
          <a:ln w="28575" algn="ctr">
            <a:solidFill>
              <a:srgbClr val="FFFFFF"/>
            </a:solidFill>
            <a:miter lim="800000"/>
            <a:headEnd/>
            <a:tailEnd/>
          </a:ln>
          <a:effectLst/>
        </p:spPr>
        <p:txBody>
          <a:bodyPr lIns="90000" tIns="46800" rIns="90000" bIns="46800" anchor="ctr"/>
          <a:lstStyle/>
          <a:p>
            <a:pPr algn="ctr"/>
            <a:r>
              <a:rPr lang="fr-CA" sz="1050" b="1" dirty="0" smtClean="0">
                <a:solidFill>
                  <a:schemeClr val="tx2"/>
                </a:solidFill>
              </a:rPr>
              <a:t>Tirer parti de l’automatisation pour l’intégration et la transformation des données</a:t>
            </a:r>
            <a:endParaRPr lang="en-CA" sz="1050" b="1" dirty="0">
              <a:solidFill>
                <a:schemeClr val="tx2"/>
              </a:solidFill>
            </a:endParaRPr>
          </a:p>
        </p:txBody>
      </p:sp>
      <p:sp>
        <p:nvSpPr>
          <p:cNvPr id="58" name="AutoShape 15"/>
          <p:cNvSpPr>
            <a:spLocks noChangeAspect="1" noChangeArrowheads="1"/>
          </p:cNvSpPr>
          <p:nvPr/>
        </p:nvSpPr>
        <p:spPr bwMode="gray">
          <a:xfrm>
            <a:off x="6140310" y="5058137"/>
            <a:ext cx="1983213" cy="1507181"/>
          </a:xfrm>
          <a:prstGeom prst="hexagon">
            <a:avLst>
              <a:gd name="adj" fmla="val 31518"/>
              <a:gd name="vf" fmla="val 115470"/>
            </a:avLst>
          </a:prstGeom>
          <a:solidFill>
            <a:srgbClr val="999999"/>
          </a:solidFill>
          <a:ln w="28575" algn="ctr">
            <a:solidFill>
              <a:srgbClr val="FFFFFF"/>
            </a:solidFill>
            <a:miter lim="800000"/>
            <a:headEnd/>
            <a:tailEnd/>
          </a:ln>
          <a:effectLst/>
        </p:spPr>
        <p:txBody>
          <a:bodyPr lIns="90000" tIns="46800" rIns="90000" bIns="46800" anchor="ctr"/>
          <a:lstStyle/>
          <a:p>
            <a:pPr algn="ctr"/>
            <a:r>
              <a:rPr lang="fr-CA" sz="1050" b="1" dirty="0">
                <a:solidFill>
                  <a:schemeClr val="tx2"/>
                </a:solidFill>
              </a:rPr>
              <a:t>Être </a:t>
            </a:r>
            <a:r>
              <a:rPr lang="fr-CA" sz="1050" b="1" dirty="0" smtClean="0">
                <a:solidFill>
                  <a:schemeClr val="tx2"/>
                </a:solidFill>
              </a:rPr>
              <a:t>sécuritaire de par la conception</a:t>
            </a:r>
            <a:endParaRPr lang="en-CA" sz="1050" b="1" dirty="0">
              <a:solidFill>
                <a:schemeClr val="tx2"/>
              </a:solidFill>
            </a:endParaRPr>
          </a:p>
        </p:txBody>
      </p:sp>
      <p:sp>
        <p:nvSpPr>
          <p:cNvPr id="59" name="AutoShape 15"/>
          <p:cNvSpPr>
            <a:spLocks noChangeAspect="1" noChangeArrowheads="1"/>
          </p:cNvSpPr>
          <p:nvPr/>
        </p:nvSpPr>
        <p:spPr bwMode="gray">
          <a:xfrm>
            <a:off x="3373587" y="5054031"/>
            <a:ext cx="1983213" cy="1507181"/>
          </a:xfrm>
          <a:prstGeom prst="hexagon">
            <a:avLst>
              <a:gd name="adj" fmla="val 31518"/>
              <a:gd name="vf" fmla="val 115470"/>
            </a:avLst>
          </a:prstGeom>
          <a:solidFill>
            <a:srgbClr val="DCDCDC"/>
          </a:solidFill>
          <a:ln w="28575" algn="ctr">
            <a:solidFill>
              <a:srgbClr val="FFFFFF"/>
            </a:solidFill>
            <a:miter lim="800000"/>
            <a:headEnd/>
            <a:tailEnd/>
          </a:ln>
          <a:effectLst/>
        </p:spPr>
        <p:txBody>
          <a:bodyPr lIns="90000" tIns="46800" rIns="90000" bIns="46800" anchor="ctr"/>
          <a:lstStyle/>
          <a:p>
            <a:pPr algn="ctr"/>
            <a:r>
              <a:rPr lang="fr-CA" sz="1050" b="1" dirty="0"/>
              <a:t>Permettre aux gestionnaires </a:t>
            </a:r>
            <a:r>
              <a:rPr lang="fr-CA" sz="1050" b="1" dirty="0" smtClean="0"/>
              <a:t>d’effectuer </a:t>
            </a:r>
            <a:r>
              <a:rPr lang="fr-CA" sz="1050" b="1" dirty="0"/>
              <a:t>des changements aux positions et </a:t>
            </a:r>
            <a:r>
              <a:rPr lang="fr-CA" sz="1050" b="1" dirty="0" smtClean="0"/>
              <a:t>dans </a:t>
            </a:r>
            <a:r>
              <a:rPr lang="fr-CA" sz="1050" b="1" dirty="0"/>
              <a:t>la gestion des </a:t>
            </a:r>
            <a:r>
              <a:rPr lang="fr-CA" sz="1050" b="1" dirty="0" smtClean="0"/>
              <a:t>tâches n’importe où et n’importe quand</a:t>
            </a:r>
            <a:endParaRPr lang="en-CA" sz="1050" b="1" dirty="0"/>
          </a:p>
        </p:txBody>
      </p:sp>
      <p:sp>
        <p:nvSpPr>
          <p:cNvPr id="60" name="AutoShape 15"/>
          <p:cNvSpPr>
            <a:spLocks noChangeAspect="1" noChangeArrowheads="1"/>
          </p:cNvSpPr>
          <p:nvPr/>
        </p:nvSpPr>
        <p:spPr bwMode="gray">
          <a:xfrm>
            <a:off x="2381980" y="3195690"/>
            <a:ext cx="1983213" cy="1507181"/>
          </a:xfrm>
          <a:prstGeom prst="hexagon">
            <a:avLst>
              <a:gd name="adj" fmla="val 31518"/>
              <a:gd name="vf" fmla="val 115470"/>
            </a:avLst>
          </a:prstGeom>
          <a:solidFill>
            <a:srgbClr val="808080"/>
          </a:solidFill>
          <a:ln w="28575" algn="ctr">
            <a:solidFill>
              <a:srgbClr val="FFFFFF"/>
            </a:solidFill>
            <a:miter lim="800000"/>
            <a:headEnd/>
            <a:tailEnd/>
          </a:ln>
          <a:effectLst/>
        </p:spPr>
        <p:txBody>
          <a:bodyPr lIns="90000" tIns="46800" rIns="90000" bIns="46800" anchor="ctr"/>
          <a:lstStyle/>
          <a:p>
            <a:pPr algn="ctr"/>
            <a:r>
              <a:rPr lang="fr-CA" sz="1050" b="1" dirty="0" smtClean="0">
                <a:solidFill>
                  <a:schemeClr val="tx2"/>
                </a:solidFill>
              </a:rPr>
              <a:t>Tirer parti des données et des analyses prédictives pour prendre des décisions fondées sur des données</a:t>
            </a:r>
            <a:endParaRPr lang="en-CA" sz="1050" b="1" dirty="0">
              <a:solidFill>
                <a:schemeClr val="tx2"/>
              </a:solidFill>
            </a:endParaRPr>
          </a:p>
        </p:txBody>
      </p:sp>
      <p:sp>
        <p:nvSpPr>
          <p:cNvPr id="61" name="AutoShape 15"/>
          <p:cNvSpPr>
            <a:spLocks noChangeAspect="1" noChangeArrowheads="1"/>
          </p:cNvSpPr>
          <p:nvPr/>
        </p:nvSpPr>
        <p:spPr bwMode="gray">
          <a:xfrm>
            <a:off x="3373587" y="1183884"/>
            <a:ext cx="1983213" cy="1507181"/>
          </a:xfrm>
          <a:prstGeom prst="hexagon">
            <a:avLst>
              <a:gd name="adj" fmla="val 31518"/>
              <a:gd name="vf" fmla="val 115470"/>
            </a:avLst>
          </a:prstGeom>
          <a:solidFill>
            <a:srgbClr val="999999"/>
          </a:solidFill>
          <a:ln w="28575" algn="ctr">
            <a:solidFill>
              <a:srgbClr val="FFFFFF"/>
            </a:solidFill>
            <a:miter lim="800000"/>
            <a:headEnd/>
            <a:tailEnd/>
          </a:ln>
          <a:effectLst/>
        </p:spPr>
        <p:txBody>
          <a:bodyPr lIns="90000" tIns="46800" rIns="90000" bIns="46800" anchor="ctr"/>
          <a:lstStyle/>
          <a:p>
            <a:pPr algn="ctr"/>
            <a:r>
              <a:rPr lang="fr-CA" sz="1050" b="1" dirty="0" smtClean="0">
                <a:solidFill>
                  <a:schemeClr val="tx2"/>
                </a:solidFill>
              </a:rPr>
              <a:t>Mise sur pied </a:t>
            </a:r>
            <a:r>
              <a:rPr lang="fr-CA" sz="1050" b="1" dirty="0">
                <a:solidFill>
                  <a:schemeClr val="tx2"/>
                </a:solidFill>
              </a:rPr>
              <a:t>d’un </a:t>
            </a:r>
            <a:r>
              <a:rPr lang="fr-CA" sz="1050" b="1" dirty="0" smtClean="0">
                <a:solidFill>
                  <a:schemeClr val="tx2"/>
                </a:solidFill>
              </a:rPr>
              <a:t>système </a:t>
            </a:r>
            <a:r>
              <a:rPr lang="fr-CA" sz="1050" b="1" dirty="0">
                <a:solidFill>
                  <a:schemeClr val="tx2"/>
                </a:solidFill>
              </a:rPr>
              <a:t>de </a:t>
            </a:r>
            <a:r>
              <a:rPr lang="fr-CA" sz="1050" b="1" dirty="0" smtClean="0">
                <a:solidFill>
                  <a:schemeClr val="tx2"/>
                </a:solidFill>
              </a:rPr>
              <a:t>dossiers </a:t>
            </a:r>
            <a:r>
              <a:rPr lang="fr-CA" sz="1050" b="1" dirty="0">
                <a:solidFill>
                  <a:schemeClr val="tx2"/>
                </a:solidFill>
              </a:rPr>
              <a:t>principal</a:t>
            </a:r>
            <a:endParaRPr lang="en-CA" sz="1050" b="1" dirty="0">
              <a:solidFill>
                <a:schemeClr val="tx2"/>
              </a:solidFill>
            </a:endParaRPr>
          </a:p>
        </p:txBody>
      </p:sp>
    </p:spTree>
    <p:extLst>
      <p:ext uri="{BB962C8B-B14F-4D97-AF65-F5344CB8AC3E}">
        <p14:creationId xmlns:p14="http://schemas.microsoft.com/office/powerpoint/2010/main" val="1539087874"/>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custDataLst>
              <p:tags r:id="rId1"/>
            </p:custDataLst>
          </p:nvPr>
        </p:nvSpPr>
        <p:spPr>
          <a:xfrm>
            <a:off x="342894" y="4183558"/>
            <a:ext cx="11531600"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77" name="Pentagon 76"/>
          <p:cNvSpPr/>
          <p:nvPr>
            <p:custDataLst>
              <p:tags r:id="rId2"/>
            </p:custDataLst>
          </p:nvPr>
        </p:nvSpPr>
        <p:spPr>
          <a:xfrm>
            <a:off x="9172118" y="4836675"/>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2" name="Rectangle 61"/>
          <p:cNvSpPr/>
          <p:nvPr>
            <p:custDataLst>
              <p:tags r:id="rId3"/>
            </p:custDataLst>
          </p:nvPr>
        </p:nvSpPr>
        <p:spPr>
          <a:xfrm>
            <a:off x="327166" y="1616748"/>
            <a:ext cx="11531600" cy="2345423"/>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04" name="Right Triangle 103"/>
          <p:cNvSpPr/>
          <p:nvPr>
            <p:custDataLst>
              <p:tags r:id="rId4"/>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5"/>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42"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6"/>
            </p:custDataLst>
          </p:nvPr>
        </p:nvSpPr>
        <p:spPr>
          <a:xfrm>
            <a:off x="617421" y="660997"/>
            <a:ext cx="6976400" cy="799963"/>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gestion de données des employés</a:t>
            </a:r>
          </a:p>
        </p:txBody>
      </p:sp>
      <p:cxnSp>
        <p:nvCxnSpPr>
          <p:cNvPr id="12" name="Straight Connector 11"/>
          <p:cNvCxnSpPr/>
          <p:nvPr>
            <p:custDataLst>
              <p:tags r:id="rId7"/>
            </p:custDataLst>
          </p:nvPr>
        </p:nvCxnSpPr>
        <p:spPr>
          <a:xfrm>
            <a:off x="617421" y="1460960"/>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4" name="Pentagon 33"/>
          <p:cNvSpPr/>
          <p:nvPr>
            <p:custDataLst>
              <p:tags r:id="rId8"/>
            </p:custDataLst>
          </p:nvPr>
        </p:nvSpPr>
        <p:spPr>
          <a:xfrm>
            <a:off x="8818964" y="229969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35" name="Pentagon 34"/>
          <p:cNvSpPr/>
          <p:nvPr>
            <p:custDataLst>
              <p:tags r:id="rId9"/>
            </p:custDataLst>
          </p:nvPr>
        </p:nvSpPr>
        <p:spPr>
          <a:xfrm>
            <a:off x="7380492" y="2299699"/>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36" name="Pentagon 35"/>
          <p:cNvSpPr/>
          <p:nvPr>
            <p:custDataLst>
              <p:tags r:id="rId10"/>
            </p:custDataLst>
          </p:nvPr>
        </p:nvSpPr>
        <p:spPr>
          <a:xfrm>
            <a:off x="5898914" y="2311278"/>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37" name="Pentagon 36"/>
          <p:cNvSpPr/>
          <p:nvPr>
            <p:custDataLst>
              <p:tags r:id="rId11"/>
            </p:custDataLst>
          </p:nvPr>
        </p:nvSpPr>
        <p:spPr>
          <a:xfrm>
            <a:off x="4521433" y="2311278"/>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38" name="Rectangle 37"/>
          <p:cNvSpPr/>
          <p:nvPr>
            <p:custDataLst>
              <p:tags r:id="rId12"/>
            </p:custDataLst>
          </p:nvPr>
        </p:nvSpPr>
        <p:spPr>
          <a:xfrm>
            <a:off x="525773" y="1605894"/>
            <a:ext cx="3995659" cy="4120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chemeClr val="tx1"/>
                </a:solidFill>
                <a:latin typeface="EYInterstate Light" panose="02000506000000020004" pitchFamily="2" charset="0"/>
              </a:rPr>
              <a:t>Dossier de base</a:t>
            </a:r>
          </a:p>
        </p:txBody>
      </p:sp>
      <p:cxnSp>
        <p:nvCxnSpPr>
          <p:cNvPr id="39" name="Straight Connector 38"/>
          <p:cNvCxnSpPr/>
          <p:nvPr>
            <p:custDataLst>
              <p:tags r:id="rId13"/>
            </p:custDataLst>
          </p:nvPr>
        </p:nvCxnSpPr>
        <p:spPr>
          <a:xfrm>
            <a:off x="617421" y="195834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0" name="Pentagon 39"/>
          <p:cNvSpPr/>
          <p:nvPr>
            <p:custDataLst>
              <p:tags r:id="rId14"/>
            </p:custDataLst>
          </p:nvPr>
        </p:nvSpPr>
        <p:spPr>
          <a:xfrm>
            <a:off x="2948948" y="2311278"/>
            <a:ext cx="2509161"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41" name="Pentagon 40"/>
          <p:cNvSpPr/>
          <p:nvPr>
            <p:custDataLst>
              <p:tags r:id="rId15"/>
            </p:custDataLst>
          </p:nvPr>
        </p:nvSpPr>
        <p:spPr>
          <a:xfrm>
            <a:off x="1828958" y="2299699"/>
            <a:ext cx="2251670"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42" name="Pentagon 41"/>
          <p:cNvSpPr/>
          <p:nvPr>
            <p:custDataLst>
              <p:tags r:id="rId16"/>
            </p:custDataLst>
          </p:nvPr>
        </p:nvSpPr>
        <p:spPr>
          <a:xfrm>
            <a:off x="826136" y="2311278"/>
            <a:ext cx="1884529" cy="1454759"/>
          </a:xfrm>
          <a:prstGeom prst="homePlate">
            <a:avLst/>
          </a:prstGeom>
          <a:solidFill>
            <a:srgbClr val="C0C0C0"/>
          </a:solidFill>
          <a:ln w="57150" cap="flat" cmpd="sng" algn="ctr">
            <a:solidFill>
              <a:srgbClr val="FFFFFF"/>
            </a:solidFill>
            <a:prstDash val="solid"/>
          </a:ln>
          <a:effectLst/>
        </p:spPr>
        <p:txBody>
          <a:bodyPr rtlCol="0" anchor="t" anchorCtr="0"/>
          <a:lstStyle/>
          <a:p>
            <a:pPr lvl="0" algn="ctr">
              <a:defRPr/>
            </a:pPr>
            <a:endParaRPr lang="en-CA" sz="1200" kern="0" dirty="0">
              <a:solidFill>
                <a:srgbClr val="000000"/>
              </a:solidFill>
            </a:endParaRPr>
          </a:p>
        </p:txBody>
      </p:sp>
      <p:sp>
        <p:nvSpPr>
          <p:cNvPr id="43" name="TextBox 42"/>
          <p:cNvSpPr txBox="1"/>
          <p:nvPr>
            <p:custDataLst>
              <p:tags r:id="rId17"/>
            </p:custDataLst>
          </p:nvPr>
        </p:nvSpPr>
        <p:spPr>
          <a:xfrm>
            <a:off x="1064418" y="2856765"/>
            <a:ext cx="1291258" cy="469872"/>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Commencer une demande de changement d’emploi</a:t>
            </a:r>
          </a:p>
        </p:txBody>
      </p:sp>
      <p:sp>
        <p:nvSpPr>
          <p:cNvPr id="44" name="TextBox 43"/>
          <p:cNvSpPr txBox="1"/>
          <p:nvPr>
            <p:custDataLst>
              <p:tags r:id="rId18"/>
            </p:custDataLst>
          </p:nvPr>
        </p:nvSpPr>
        <p:spPr>
          <a:xfrm>
            <a:off x="2840658" y="2612288"/>
            <a:ext cx="915031" cy="901529"/>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Traiter les modifications aux renseignements personnels des employés</a:t>
            </a:r>
          </a:p>
        </p:txBody>
      </p:sp>
      <p:sp>
        <p:nvSpPr>
          <p:cNvPr id="45" name="TextBox 44"/>
          <p:cNvSpPr txBox="1"/>
          <p:nvPr>
            <p:custDataLst>
              <p:tags r:id="rId19"/>
            </p:custDataLst>
          </p:nvPr>
        </p:nvSpPr>
        <p:spPr>
          <a:xfrm>
            <a:off x="4149135" y="2869934"/>
            <a:ext cx="1045024"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Gérer les congés</a:t>
            </a:r>
          </a:p>
        </p:txBody>
      </p:sp>
      <p:sp>
        <p:nvSpPr>
          <p:cNvPr id="46" name="TextBox 45"/>
          <p:cNvSpPr txBox="1"/>
          <p:nvPr>
            <p:custDataLst>
              <p:tags r:id="rId20"/>
            </p:custDataLst>
          </p:nvPr>
        </p:nvSpPr>
        <p:spPr>
          <a:xfrm>
            <a:off x="5496766" y="2876304"/>
            <a:ext cx="1178973"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Effectuer le suivi des congés</a:t>
            </a:r>
          </a:p>
        </p:txBody>
      </p:sp>
      <p:sp>
        <p:nvSpPr>
          <p:cNvPr id="47" name="TextBox 46"/>
          <p:cNvSpPr txBox="1"/>
          <p:nvPr>
            <p:custDataLst>
              <p:tags r:id="rId21"/>
            </p:custDataLst>
          </p:nvPr>
        </p:nvSpPr>
        <p:spPr>
          <a:xfrm>
            <a:off x="6978345" y="2828756"/>
            <a:ext cx="1281802"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Gérer les retours suivant les congés</a:t>
            </a:r>
          </a:p>
        </p:txBody>
      </p:sp>
      <p:sp>
        <p:nvSpPr>
          <p:cNvPr id="48" name="TextBox 47"/>
          <p:cNvSpPr txBox="1"/>
          <p:nvPr>
            <p:custDataLst>
              <p:tags r:id="rId22"/>
            </p:custDataLst>
          </p:nvPr>
        </p:nvSpPr>
        <p:spPr>
          <a:xfrm>
            <a:off x="8408074" y="2895579"/>
            <a:ext cx="1316662"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Gérer le dossier de l’employé</a:t>
            </a:r>
          </a:p>
        </p:txBody>
      </p:sp>
      <p:sp>
        <p:nvSpPr>
          <p:cNvPr id="49" name="TextBox 48"/>
          <p:cNvSpPr txBox="1"/>
          <p:nvPr>
            <p:custDataLst>
              <p:tags r:id="rId23"/>
            </p:custDataLst>
          </p:nvPr>
        </p:nvSpPr>
        <p:spPr>
          <a:xfrm>
            <a:off x="9975603" y="2895579"/>
            <a:ext cx="863175"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Contrôle des données</a:t>
            </a:r>
          </a:p>
        </p:txBody>
      </p:sp>
      <p:sp>
        <p:nvSpPr>
          <p:cNvPr id="52" name="Rectangle 51"/>
          <p:cNvSpPr/>
          <p:nvPr>
            <p:custDataLst>
              <p:tags r:id="rId24"/>
            </p:custDataLst>
          </p:nvPr>
        </p:nvSpPr>
        <p:spPr>
          <a:xfrm>
            <a:off x="525774" y="4241027"/>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chemeClr val="tx1"/>
                </a:solidFill>
                <a:latin typeface="EYInterstate Light" panose="02000506000000020004" pitchFamily="2" charset="0"/>
              </a:rPr>
              <a:t>Gestion des effectifs </a:t>
            </a:r>
          </a:p>
        </p:txBody>
      </p:sp>
      <p:cxnSp>
        <p:nvCxnSpPr>
          <p:cNvPr id="53" name="Straight Connector 52"/>
          <p:cNvCxnSpPr/>
          <p:nvPr>
            <p:custDataLst>
              <p:tags r:id="rId25"/>
            </p:custDataLst>
          </p:nvPr>
        </p:nvCxnSpPr>
        <p:spPr>
          <a:xfrm>
            <a:off x="617421" y="4593475"/>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3" name="Pentagon 62"/>
          <p:cNvSpPr/>
          <p:nvPr>
            <p:custDataLst>
              <p:tags r:id="rId26"/>
            </p:custDataLst>
          </p:nvPr>
        </p:nvSpPr>
        <p:spPr>
          <a:xfrm>
            <a:off x="7880327" y="4836677"/>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4" name="Pentagon 63"/>
          <p:cNvSpPr/>
          <p:nvPr>
            <p:custDataLst>
              <p:tags r:id="rId27"/>
            </p:custDataLst>
          </p:nvPr>
        </p:nvSpPr>
        <p:spPr>
          <a:xfrm>
            <a:off x="6571124" y="4836675"/>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5" name="Pentagon 64"/>
          <p:cNvSpPr/>
          <p:nvPr>
            <p:custDataLst>
              <p:tags r:id="rId28"/>
            </p:custDataLst>
          </p:nvPr>
        </p:nvSpPr>
        <p:spPr>
          <a:xfrm>
            <a:off x="5294849" y="484825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6" name="Pentagon 65"/>
          <p:cNvSpPr/>
          <p:nvPr>
            <p:custDataLst>
              <p:tags r:id="rId29"/>
            </p:custDataLst>
          </p:nvPr>
        </p:nvSpPr>
        <p:spPr>
          <a:xfrm>
            <a:off x="4139418" y="4848256"/>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7" name="Pentagon 66"/>
          <p:cNvSpPr/>
          <p:nvPr>
            <p:custDataLst>
              <p:tags r:id="rId30"/>
            </p:custDataLst>
          </p:nvPr>
        </p:nvSpPr>
        <p:spPr>
          <a:xfrm>
            <a:off x="2740234" y="484825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8" name="Pentagon 67"/>
          <p:cNvSpPr/>
          <p:nvPr>
            <p:custDataLst>
              <p:tags r:id="rId31"/>
            </p:custDataLst>
          </p:nvPr>
        </p:nvSpPr>
        <p:spPr>
          <a:xfrm>
            <a:off x="1620244" y="4836677"/>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9" name="Pentagon 68"/>
          <p:cNvSpPr/>
          <p:nvPr>
            <p:custDataLst>
              <p:tags r:id="rId32"/>
            </p:custDataLst>
          </p:nvPr>
        </p:nvSpPr>
        <p:spPr>
          <a:xfrm>
            <a:off x="840454" y="4848256"/>
            <a:ext cx="1661497" cy="1454759"/>
          </a:xfrm>
          <a:prstGeom prst="homePlate">
            <a:avLst/>
          </a:prstGeom>
          <a:solidFill>
            <a:srgbClr val="FFE600"/>
          </a:solidFill>
          <a:ln w="57150" cap="flat" cmpd="sng" algn="ctr">
            <a:solidFill>
              <a:srgbClr val="FFFFFF"/>
            </a:solidFill>
            <a:prstDash val="solid"/>
          </a:ln>
          <a:effectLst/>
        </p:spPr>
        <p:txBody>
          <a:bodyPr rtlCol="0" anchor="t" anchorCtr="0"/>
          <a:lstStyle/>
          <a:p>
            <a:pPr lvl="0" algn="ctr">
              <a:defRPr/>
            </a:pPr>
            <a:endParaRPr lang="en-CA" sz="1200" kern="0" dirty="0">
              <a:solidFill>
                <a:srgbClr val="000000"/>
              </a:solidFill>
            </a:endParaRPr>
          </a:p>
        </p:txBody>
      </p:sp>
      <p:sp>
        <p:nvSpPr>
          <p:cNvPr id="70" name="TextBox 69"/>
          <p:cNvSpPr txBox="1"/>
          <p:nvPr>
            <p:custDataLst>
              <p:tags r:id="rId33"/>
            </p:custDataLst>
          </p:nvPr>
        </p:nvSpPr>
        <p:spPr>
          <a:xfrm>
            <a:off x="861550" y="5303385"/>
            <a:ext cx="1291258" cy="612475"/>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Établir et gérer une structure organisationnelle</a:t>
            </a:r>
          </a:p>
        </p:txBody>
      </p:sp>
      <p:sp>
        <p:nvSpPr>
          <p:cNvPr id="71" name="TextBox 70"/>
          <p:cNvSpPr txBox="1"/>
          <p:nvPr>
            <p:custDataLst>
              <p:tags r:id="rId34"/>
            </p:custDataLst>
          </p:nvPr>
        </p:nvSpPr>
        <p:spPr>
          <a:xfrm>
            <a:off x="2538291" y="5279344"/>
            <a:ext cx="1044529" cy="612475"/>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Établir et définir des postes pendant le cycle budgétaire annuel</a:t>
            </a:r>
          </a:p>
        </p:txBody>
      </p:sp>
      <p:sp>
        <p:nvSpPr>
          <p:cNvPr id="72" name="TextBox 71"/>
          <p:cNvSpPr txBox="1"/>
          <p:nvPr>
            <p:custDataLst>
              <p:tags r:id="rId35"/>
            </p:custDataLst>
          </p:nvPr>
        </p:nvSpPr>
        <p:spPr>
          <a:xfrm>
            <a:off x="3791578" y="5137917"/>
            <a:ext cx="1050871" cy="883319"/>
          </a:xfrm>
          <a:prstGeom prst="rect">
            <a:avLst/>
          </a:prstGeom>
          <a:noFill/>
        </p:spPr>
        <p:txBody>
          <a:bodyPr wrap="square" lIns="0" tIns="36576" rIns="0" bIns="0" rtlCol="0" anchor="ctr">
            <a:spAutoFit/>
          </a:bodyPr>
          <a:lstStyle/>
          <a:p>
            <a:pPr algn="ctr"/>
            <a:r>
              <a:rPr lang="fr-CA" sz="1100" b="1" dirty="0">
                <a:solidFill>
                  <a:schemeClr val="bg1">
                    <a:lumMod val="50000"/>
                  </a:schemeClr>
                </a:solidFill>
                <a:latin typeface="EYInterstate Light" panose="02000506000000020004" pitchFamily="2" charset="0"/>
              </a:rPr>
              <a:t>Établir et définir les effectifs exclus du cycle budgétaire</a:t>
            </a:r>
          </a:p>
        </p:txBody>
      </p:sp>
      <p:sp>
        <p:nvSpPr>
          <p:cNvPr id="73" name="TextBox 72"/>
          <p:cNvSpPr txBox="1"/>
          <p:nvPr>
            <p:custDataLst>
              <p:tags r:id="rId36"/>
            </p:custDataLst>
          </p:nvPr>
        </p:nvSpPr>
        <p:spPr>
          <a:xfrm>
            <a:off x="5312924" y="5401701"/>
            <a:ext cx="884430"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Créer des postes</a:t>
            </a:r>
          </a:p>
        </p:txBody>
      </p:sp>
      <p:sp>
        <p:nvSpPr>
          <p:cNvPr id="74" name="TextBox 73"/>
          <p:cNvSpPr txBox="1"/>
          <p:nvPr>
            <p:custDataLst>
              <p:tags r:id="rId37"/>
            </p:custDataLst>
          </p:nvPr>
        </p:nvSpPr>
        <p:spPr>
          <a:xfrm>
            <a:off x="6617502" y="5351285"/>
            <a:ext cx="940382"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Cibler des emplois et des descriptions de travail</a:t>
            </a:r>
          </a:p>
        </p:txBody>
      </p:sp>
      <p:sp>
        <p:nvSpPr>
          <p:cNvPr id="75" name="TextBox 74"/>
          <p:cNvSpPr txBox="1"/>
          <p:nvPr>
            <p:custDataLst>
              <p:tags r:id="rId38"/>
            </p:custDataLst>
          </p:nvPr>
        </p:nvSpPr>
        <p:spPr>
          <a:xfrm>
            <a:off x="7724029" y="5485225"/>
            <a:ext cx="1316662" cy="180819"/>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Mettre à jour les postes</a:t>
            </a:r>
          </a:p>
        </p:txBody>
      </p:sp>
      <p:sp>
        <p:nvSpPr>
          <p:cNvPr id="76" name="TextBox 75"/>
          <p:cNvSpPr txBox="1"/>
          <p:nvPr>
            <p:custDataLst>
              <p:tags r:id="rId39"/>
            </p:custDataLst>
          </p:nvPr>
        </p:nvSpPr>
        <p:spPr>
          <a:xfrm>
            <a:off x="9210369" y="5257818"/>
            <a:ext cx="863175" cy="612475"/>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Déterminer et surveiller les postes ouverts</a:t>
            </a:r>
          </a:p>
        </p:txBody>
      </p:sp>
      <p:sp>
        <p:nvSpPr>
          <p:cNvPr id="78" name="TextBox 77"/>
          <p:cNvSpPr txBox="1"/>
          <p:nvPr>
            <p:custDataLst>
              <p:tags r:id="rId40"/>
            </p:custDataLst>
          </p:nvPr>
        </p:nvSpPr>
        <p:spPr>
          <a:xfrm>
            <a:off x="10480420" y="5341339"/>
            <a:ext cx="949326"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Gérer les changements organisationnels multiples</a:t>
            </a:r>
          </a:p>
        </p:txBody>
      </p:sp>
    </p:spTree>
    <p:extLst>
      <p:ext uri="{BB962C8B-B14F-4D97-AF65-F5344CB8AC3E}">
        <p14:creationId xmlns:p14="http://schemas.microsoft.com/office/powerpoint/2010/main" val="2565118349"/>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custDataLst>
              <p:tags r:id="rId1"/>
            </p:custDataLst>
          </p:nvPr>
        </p:nvSpPr>
        <p:spPr>
          <a:xfrm>
            <a:off x="342894" y="4183558"/>
            <a:ext cx="11531600"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9" name="Pentagon 68"/>
          <p:cNvSpPr/>
          <p:nvPr>
            <p:custDataLst>
              <p:tags r:id="rId2"/>
            </p:custDataLst>
          </p:nvPr>
        </p:nvSpPr>
        <p:spPr>
          <a:xfrm>
            <a:off x="9386431" y="487872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104" name="Right Triangle 103"/>
          <p:cNvSpPr/>
          <p:nvPr>
            <p:custDataLst>
              <p:tags r:id="rId3"/>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4"/>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40"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5"/>
            </p:custDataLst>
          </p:nvPr>
        </p:nvSpPr>
        <p:spPr>
          <a:xfrm>
            <a:off x="605920" y="752314"/>
            <a:ext cx="9058392" cy="399981"/>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gestion de données des employés (suite)</a:t>
            </a:r>
          </a:p>
        </p:txBody>
      </p:sp>
      <p:cxnSp>
        <p:nvCxnSpPr>
          <p:cNvPr id="12" name="Straight Connector 11"/>
          <p:cNvCxnSpPr/>
          <p:nvPr>
            <p:custDataLst>
              <p:tags r:id="rId6"/>
            </p:custDataLst>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5" name="Pentagon 24"/>
          <p:cNvSpPr/>
          <p:nvPr>
            <p:custDataLst>
              <p:tags r:id="rId7"/>
            </p:custDataLst>
          </p:nvPr>
        </p:nvSpPr>
        <p:spPr>
          <a:xfrm>
            <a:off x="8375964" y="487872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35" name="Rectangle 34"/>
          <p:cNvSpPr/>
          <p:nvPr>
            <p:custDataLst>
              <p:tags r:id="rId8"/>
            </p:custDataLst>
          </p:nvPr>
        </p:nvSpPr>
        <p:spPr>
          <a:xfrm>
            <a:off x="327166" y="1616748"/>
            <a:ext cx="5402948" cy="2345423"/>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0" name="Rectangle 39"/>
          <p:cNvSpPr/>
          <p:nvPr>
            <p:custDataLst>
              <p:tags r:id="rId9"/>
            </p:custDataLst>
          </p:nvPr>
        </p:nvSpPr>
        <p:spPr>
          <a:xfrm>
            <a:off x="525774" y="1605895"/>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chemeClr val="tx1"/>
                </a:solidFill>
                <a:latin typeface="EYInterstate Light" panose="02000506000000020004" pitchFamily="2" charset="0"/>
              </a:rPr>
              <a:t>Planification des effectifs</a:t>
            </a:r>
          </a:p>
        </p:txBody>
      </p:sp>
      <p:cxnSp>
        <p:nvCxnSpPr>
          <p:cNvPr id="41" name="Straight Connector 40"/>
          <p:cNvCxnSpPr/>
          <p:nvPr>
            <p:custDataLst>
              <p:tags r:id="rId10"/>
            </p:custDataLst>
          </p:nvPr>
        </p:nvCxnSpPr>
        <p:spPr>
          <a:xfrm>
            <a:off x="617421" y="195834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2" name="Pentagon 41"/>
          <p:cNvSpPr/>
          <p:nvPr>
            <p:custDataLst>
              <p:tags r:id="rId11"/>
            </p:custDataLst>
          </p:nvPr>
        </p:nvSpPr>
        <p:spPr>
          <a:xfrm>
            <a:off x="2948948" y="2311278"/>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43" name="Pentagon 42"/>
          <p:cNvSpPr/>
          <p:nvPr>
            <p:custDataLst>
              <p:tags r:id="rId12"/>
            </p:custDataLst>
          </p:nvPr>
        </p:nvSpPr>
        <p:spPr>
          <a:xfrm>
            <a:off x="1828958" y="2299699"/>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44" name="Pentagon 43"/>
          <p:cNvSpPr/>
          <p:nvPr>
            <p:custDataLst>
              <p:tags r:id="rId13"/>
            </p:custDataLst>
          </p:nvPr>
        </p:nvSpPr>
        <p:spPr>
          <a:xfrm>
            <a:off x="826136" y="2311278"/>
            <a:ext cx="1884529" cy="1454759"/>
          </a:xfrm>
          <a:prstGeom prst="homePlate">
            <a:avLst/>
          </a:prstGeom>
          <a:solidFill>
            <a:srgbClr val="C0C0C0"/>
          </a:solidFill>
          <a:ln w="57150" cap="flat" cmpd="sng" algn="ctr">
            <a:solidFill>
              <a:srgbClr val="FFFFFF"/>
            </a:solidFill>
            <a:prstDash val="solid"/>
          </a:ln>
          <a:effectLst/>
        </p:spPr>
        <p:txBody>
          <a:bodyPr rtlCol="0" anchor="t" anchorCtr="0"/>
          <a:lstStyle/>
          <a:p>
            <a:pPr lvl="0" algn="ctr">
              <a:defRPr/>
            </a:pPr>
            <a:endParaRPr lang="en-CA" sz="1200" kern="0" dirty="0">
              <a:solidFill>
                <a:srgbClr val="000000"/>
              </a:solidFill>
            </a:endParaRPr>
          </a:p>
        </p:txBody>
      </p:sp>
      <p:sp>
        <p:nvSpPr>
          <p:cNvPr id="45" name="TextBox 44"/>
          <p:cNvSpPr txBox="1"/>
          <p:nvPr>
            <p:custDataLst>
              <p:tags r:id="rId14"/>
            </p:custDataLst>
          </p:nvPr>
        </p:nvSpPr>
        <p:spPr>
          <a:xfrm>
            <a:off x="1064418" y="2929349"/>
            <a:ext cx="1291258"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Gérer la planification au début de l’année</a:t>
            </a:r>
          </a:p>
        </p:txBody>
      </p:sp>
      <p:sp>
        <p:nvSpPr>
          <p:cNvPr id="46" name="TextBox 45"/>
          <p:cNvSpPr txBox="1"/>
          <p:nvPr>
            <p:custDataLst>
              <p:tags r:id="rId15"/>
            </p:custDataLst>
          </p:nvPr>
        </p:nvSpPr>
        <p:spPr>
          <a:xfrm>
            <a:off x="2840658" y="2828756"/>
            <a:ext cx="915031"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Effectuer des évaluations de fin d’année</a:t>
            </a:r>
          </a:p>
        </p:txBody>
      </p:sp>
      <p:sp>
        <p:nvSpPr>
          <p:cNvPr id="47" name="TextBox 46"/>
          <p:cNvSpPr txBox="1"/>
          <p:nvPr>
            <p:custDataLst>
              <p:tags r:id="rId16"/>
            </p:custDataLst>
          </p:nvPr>
        </p:nvSpPr>
        <p:spPr>
          <a:xfrm>
            <a:off x="4149135" y="2797991"/>
            <a:ext cx="1045024"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Maintenir une demande continue</a:t>
            </a:r>
          </a:p>
        </p:txBody>
      </p:sp>
      <p:sp>
        <p:nvSpPr>
          <p:cNvPr id="52" name="Rectangle 51"/>
          <p:cNvSpPr/>
          <p:nvPr>
            <p:custDataLst>
              <p:tags r:id="rId17"/>
            </p:custDataLst>
          </p:nvPr>
        </p:nvSpPr>
        <p:spPr>
          <a:xfrm>
            <a:off x="525774" y="4241027"/>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chemeClr val="tx1"/>
                </a:solidFill>
                <a:latin typeface="EYInterstate Light" panose="02000506000000020004" pitchFamily="2" charset="0"/>
              </a:rPr>
              <a:t>Données sur les prestations</a:t>
            </a:r>
          </a:p>
        </p:txBody>
      </p:sp>
      <p:cxnSp>
        <p:nvCxnSpPr>
          <p:cNvPr id="53" name="Straight Connector 52"/>
          <p:cNvCxnSpPr/>
          <p:nvPr>
            <p:custDataLst>
              <p:tags r:id="rId18"/>
            </p:custDataLst>
          </p:nvPr>
        </p:nvCxnSpPr>
        <p:spPr>
          <a:xfrm>
            <a:off x="617421" y="4593475"/>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54" name="Pentagon 53"/>
          <p:cNvSpPr/>
          <p:nvPr>
            <p:custDataLst>
              <p:tags r:id="rId19"/>
            </p:custDataLst>
          </p:nvPr>
        </p:nvSpPr>
        <p:spPr>
          <a:xfrm>
            <a:off x="7155151" y="487872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55" name="Pentagon 54"/>
          <p:cNvSpPr/>
          <p:nvPr>
            <p:custDataLst>
              <p:tags r:id="rId20"/>
            </p:custDataLst>
          </p:nvPr>
        </p:nvSpPr>
        <p:spPr>
          <a:xfrm>
            <a:off x="5917413" y="4878729"/>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56" name="Pentagon 55"/>
          <p:cNvSpPr/>
          <p:nvPr>
            <p:custDataLst>
              <p:tags r:id="rId21"/>
            </p:custDataLst>
          </p:nvPr>
        </p:nvSpPr>
        <p:spPr>
          <a:xfrm>
            <a:off x="4736263" y="487872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57" name="Pentagon 56"/>
          <p:cNvSpPr/>
          <p:nvPr>
            <p:custDataLst>
              <p:tags r:id="rId22"/>
            </p:custDataLst>
          </p:nvPr>
        </p:nvSpPr>
        <p:spPr>
          <a:xfrm>
            <a:off x="3660272" y="4890308"/>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58" name="Pentagon 57"/>
          <p:cNvSpPr/>
          <p:nvPr>
            <p:custDataLst>
              <p:tags r:id="rId23"/>
            </p:custDataLst>
          </p:nvPr>
        </p:nvSpPr>
        <p:spPr>
          <a:xfrm>
            <a:off x="2227102" y="4890308"/>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59" name="Pentagon 58"/>
          <p:cNvSpPr/>
          <p:nvPr>
            <p:custDataLst>
              <p:tags r:id="rId24"/>
            </p:custDataLst>
          </p:nvPr>
        </p:nvSpPr>
        <p:spPr>
          <a:xfrm>
            <a:off x="1225221" y="4890308"/>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0" name="Pentagon 59"/>
          <p:cNvSpPr/>
          <p:nvPr>
            <p:custDataLst>
              <p:tags r:id="rId25"/>
            </p:custDataLst>
          </p:nvPr>
        </p:nvSpPr>
        <p:spPr>
          <a:xfrm>
            <a:off x="617422" y="4890310"/>
            <a:ext cx="1661497" cy="1454759"/>
          </a:xfrm>
          <a:prstGeom prst="homePlate">
            <a:avLst/>
          </a:prstGeom>
          <a:solidFill>
            <a:schemeClr val="accent2"/>
          </a:solidFill>
          <a:ln w="57150" cap="flat" cmpd="sng" algn="ctr">
            <a:solidFill>
              <a:srgbClr val="FFFFFF"/>
            </a:solidFill>
            <a:prstDash val="solid"/>
          </a:ln>
          <a:effectLst/>
        </p:spPr>
        <p:txBody>
          <a:bodyPr rtlCol="0" anchor="t" anchorCtr="0"/>
          <a:lstStyle/>
          <a:p>
            <a:pPr lvl="0" algn="ctr">
              <a:defRPr/>
            </a:pPr>
            <a:endParaRPr lang="en-CA" sz="1200" kern="0" dirty="0">
              <a:solidFill>
                <a:srgbClr val="000000"/>
              </a:solidFill>
            </a:endParaRPr>
          </a:p>
        </p:txBody>
      </p:sp>
      <p:sp>
        <p:nvSpPr>
          <p:cNvPr id="61" name="TextBox 60"/>
          <p:cNvSpPr txBox="1"/>
          <p:nvPr>
            <p:custDataLst>
              <p:tags r:id="rId26"/>
            </p:custDataLst>
          </p:nvPr>
        </p:nvSpPr>
        <p:spPr>
          <a:xfrm>
            <a:off x="638518" y="5489323"/>
            <a:ext cx="1291258"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Gérer les inscriptions aux avantages sociaux</a:t>
            </a:r>
          </a:p>
        </p:txBody>
      </p:sp>
      <p:sp>
        <p:nvSpPr>
          <p:cNvPr id="62" name="TextBox 61"/>
          <p:cNvSpPr txBox="1"/>
          <p:nvPr>
            <p:custDataLst>
              <p:tags r:id="rId27"/>
            </p:custDataLst>
          </p:nvPr>
        </p:nvSpPr>
        <p:spPr>
          <a:xfrm>
            <a:off x="2233720" y="5321397"/>
            <a:ext cx="1044529" cy="612475"/>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Gérer des allocations de dépenses flexibles</a:t>
            </a:r>
          </a:p>
        </p:txBody>
      </p:sp>
      <p:sp>
        <p:nvSpPr>
          <p:cNvPr id="63" name="TextBox 62"/>
          <p:cNvSpPr txBox="1"/>
          <p:nvPr>
            <p:custDataLst>
              <p:tags r:id="rId28"/>
            </p:custDataLst>
          </p:nvPr>
        </p:nvSpPr>
        <p:spPr>
          <a:xfrm>
            <a:off x="3507957" y="5249087"/>
            <a:ext cx="1050871" cy="714042"/>
          </a:xfrm>
          <a:prstGeom prst="rect">
            <a:avLst/>
          </a:prstGeom>
          <a:noFill/>
        </p:spPr>
        <p:txBody>
          <a:bodyPr wrap="square" lIns="0" tIns="36576" rIns="0" bIns="0" rtlCol="0" anchor="ctr">
            <a:spAutoFit/>
          </a:bodyPr>
          <a:lstStyle/>
          <a:p>
            <a:pPr algn="ctr"/>
            <a:r>
              <a:rPr lang="fr-CA" sz="1100" b="1" dirty="0">
                <a:solidFill>
                  <a:schemeClr val="bg1">
                    <a:lumMod val="50000"/>
                  </a:schemeClr>
                </a:solidFill>
                <a:latin typeface="EYInterstate Light" panose="02000506000000020004" pitchFamily="2" charset="0"/>
              </a:rPr>
              <a:t>Gérer les demandes d’indemnisation en cas d’invalidité</a:t>
            </a:r>
          </a:p>
        </p:txBody>
      </p:sp>
      <p:sp>
        <p:nvSpPr>
          <p:cNvPr id="64" name="TextBox 63"/>
          <p:cNvSpPr txBox="1"/>
          <p:nvPr>
            <p:custDataLst>
              <p:tags r:id="rId29"/>
            </p:custDataLst>
          </p:nvPr>
        </p:nvSpPr>
        <p:spPr>
          <a:xfrm>
            <a:off x="4845684" y="5345437"/>
            <a:ext cx="884430"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Processus de cessation des avantages sociaux</a:t>
            </a:r>
          </a:p>
        </p:txBody>
      </p:sp>
      <p:sp>
        <p:nvSpPr>
          <p:cNvPr id="65" name="TextBox 64"/>
          <p:cNvSpPr txBox="1"/>
          <p:nvPr>
            <p:custDataLst>
              <p:tags r:id="rId30"/>
            </p:custDataLst>
          </p:nvPr>
        </p:nvSpPr>
        <p:spPr>
          <a:xfrm>
            <a:off x="6127606" y="5371811"/>
            <a:ext cx="940382"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Effectuer des rapports sur les avantages</a:t>
            </a:r>
          </a:p>
        </p:txBody>
      </p:sp>
      <p:sp>
        <p:nvSpPr>
          <p:cNvPr id="66" name="TextBox 65"/>
          <p:cNvSpPr txBox="1"/>
          <p:nvPr>
            <p:custDataLst>
              <p:tags r:id="rId31"/>
            </p:custDataLst>
          </p:nvPr>
        </p:nvSpPr>
        <p:spPr>
          <a:xfrm>
            <a:off x="7234501" y="5418363"/>
            <a:ext cx="1062113"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Maintenir l’admissibilité</a:t>
            </a:r>
          </a:p>
        </p:txBody>
      </p:sp>
      <p:sp>
        <p:nvSpPr>
          <p:cNvPr id="67" name="TextBox 66"/>
          <p:cNvSpPr txBox="1"/>
          <p:nvPr>
            <p:custDataLst>
              <p:tags r:id="rId32"/>
            </p:custDataLst>
          </p:nvPr>
        </p:nvSpPr>
        <p:spPr>
          <a:xfrm>
            <a:off x="8548675" y="5350840"/>
            <a:ext cx="863175"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Échanger des données avec les fournisseurs</a:t>
            </a:r>
          </a:p>
        </p:txBody>
      </p:sp>
      <p:sp>
        <p:nvSpPr>
          <p:cNvPr id="68" name="TextBox 67"/>
          <p:cNvSpPr txBox="1"/>
          <p:nvPr>
            <p:custDataLst>
              <p:tags r:id="rId33"/>
            </p:custDataLst>
          </p:nvPr>
        </p:nvSpPr>
        <p:spPr>
          <a:xfrm>
            <a:off x="9702756" y="5358423"/>
            <a:ext cx="949326"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Gérer les paiements du fournisseur</a:t>
            </a:r>
          </a:p>
        </p:txBody>
      </p:sp>
      <p:sp>
        <p:nvSpPr>
          <p:cNvPr id="71" name="TextBox 70"/>
          <p:cNvSpPr txBox="1"/>
          <p:nvPr>
            <p:custDataLst>
              <p:tags r:id="rId34"/>
            </p:custDataLst>
          </p:nvPr>
        </p:nvSpPr>
        <p:spPr>
          <a:xfrm>
            <a:off x="10866300" y="5332211"/>
            <a:ext cx="812265"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fr-CA" sz="1100" b="1" dirty="0">
                <a:solidFill>
                  <a:schemeClr val="bg1">
                    <a:lumMod val="50000"/>
                  </a:schemeClr>
                </a:solidFill>
                <a:latin typeface="EYInterstate Light" panose="02000506000000020004" pitchFamily="2" charset="0"/>
              </a:rPr>
              <a:t>Gérer les événements de la vie des employés</a:t>
            </a:r>
          </a:p>
        </p:txBody>
      </p:sp>
      <p:sp>
        <p:nvSpPr>
          <p:cNvPr id="38" name="Rectangle 1"/>
          <p:cNvSpPr/>
          <p:nvPr>
            <p:custDataLst>
              <p:tags r:id="rId35"/>
            </p:custDataLst>
          </p:nvPr>
        </p:nvSpPr>
        <p:spPr>
          <a:xfrm>
            <a:off x="8171390" y="1600612"/>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9" name="TextBox 2"/>
          <p:cNvSpPr txBox="1"/>
          <p:nvPr>
            <p:custDataLst>
              <p:tags r:id="rId36"/>
            </p:custDataLst>
          </p:nvPr>
        </p:nvSpPr>
        <p:spPr>
          <a:xfrm>
            <a:off x="8171390" y="1684326"/>
            <a:ext cx="3387007" cy="1286506"/>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fr-CA" sz="1200" b="1" u="sng" dirty="0">
                <a:solidFill>
                  <a:schemeClr val="bg1"/>
                </a:solidFill>
              </a:rPr>
              <a:t>Légende</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Tableau du modèle de référence opérationnel des RH</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Recommandation d’EY à ajouter</a:t>
            </a:r>
          </a:p>
        </p:txBody>
      </p:sp>
      <p:sp>
        <p:nvSpPr>
          <p:cNvPr id="48" name="Rectangle 3"/>
          <p:cNvSpPr/>
          <p:nvPr>
            <p:custDataLst>
              <p:tags r:id="rId37"/>
            </p:custDataLst>
          </p:nvPr>
        </p:nvSpPr>
        <p:spPr>
          <a:xfrm>
            <a:off x="8328607" y="2129665"/>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9" name="Rectangle 4"/>
          <p:cNvSpPr/>
          <p:nvPr>
            <p:custDataLst>
              <p:tags r:id="rId38"/>
            </p:custDataLst>
          </p:nvPr>
        </p:nvSpPr>
        <p:spPr>
          <a:xfrm>
            <a:off x="8328607" y="2575004"/>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3377305463"/>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l="4411" t="9340" r="51" b="10111"/>
          <a:stretch/>
        </p:blipFill>
        <p:spPr>
          <a:xfrm>
            <a:off x="-43543" y="0"/>
            <a:ext cx="12260943" cy="6886020"/>
          </a:xfrm>
          <a:prstGeom prst="rect">
            <a:avLst/>
          </a:prstGeom>
        </p:spPr>
      </p:pic>
      <p:sp>
        <p:nvSpPr>
          <p:cNvPr id="16" name="Freeform 15"/>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Oval 16"/>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8" name="Freeform 17"/>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Oval 18"/>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1" name="Freeform 20"/>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Oval 21"/>
          <p:cNvSpPr/>
          <p:nvPr/>
        </p:nvSpPr>
        <p:spPr>
          <a:xfrm flipH="1">
            <a:off x="5635434" y="274019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4" name="Oval 23"/>
          <p:cNvSpPr/>
          <p:nvPr/>
        </p:nvSpPr>
        <p:spPr>
          <a:xfrm>
            <a:off x="4490201"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6" name="Freeform 25"/>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Freeform 28"/>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7" name="Oval 26"/>
          <p:cNvSpPr/>
          <p:nvPr/>
        </p:nvSpPr>
        <p:spPr>
          <a:xfrm>
            <a:off x="6845197"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8" name="Freeform 27"/>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Freeform 36"/>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chemeClr val="tx1"/>
              </a:solidFill>
            </a:endParaRPr>
          </a:p>
        </p:txBody>
      </p:sp>
      <p:sp>
        <p:nvSpPr>
          <p:cNvPr id="38" name="TextBox 37"/>
          <p:cNvSpPr txBox="1"/>
          <p:nvPr/>
        </p:nvSpPr>
        <p:spPr>
          <a:xfrm>
            <a:off x="0" y="352216"/>
            <a:ext cx="12198350" cy="400110"/>
          </a:xfrm>
          <a:prstGeom prst="rect">
            <a:avLst/>
          </a:prstGeom>
          <a:noFill/>
        </p:spPr>
        <p:txBody>
          <a:bodyPr wrap="square" lIns="0" tIns="0" rIns="0" bIns="0" rtlCol="0" anchor="t" anchorCtr="0">
            <a:spAutoFit/>
          </a:bodyPr>
          <a:lstStyle/>
          <a:p>
            <a:pPr algn="ctr"/>
            <a:r>
              <a:rPr lang="fr-CA" sz="2600" dirty="0">
                <a:solidFill>
                  <a:schemeClr val="tx2"/>
                </a:solidFill>
                <a:latin typeface="EYInterstate" panose="02000503020000020004" pitchFamily="2" charset="0"/>
              </a:rPr>
              <a:t>Présentations des représentants d’</a:t>
            </a:r>
            <a:r>
              <a:rPr lang="en-GB" sz="2600" dirty="0">
                <a:solidFill>
                  <a:schemeClr val="tx2"/>
                </a:solidFill>
                <a:latin typeface="EYInterstate" panose="02000503020000020004" pitchFamily="2" charset="0"/>
              </a:rPr>
              <a:t>EY </a:t>
            </a:r>
          </a:p>
        </p:txBody>
      </p:sp>
      <p:pic>
        <p:nvPicPr>
          <p:cNvPr id="39" name="Picture 38"/>
          <p:cNvPicPr>
            <a:picLocks noChangeAspect="1"/>
          </p:cNvPicPr>
          <p:nvPr/>
        </p:nvPicPr>
        <p:blipFill rotWithShape="1">
          <a:blip r:embed="rId4"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
        <p:nvSpPr>
          <p:cNvPr id="23" name="Oval 22"/>
          <p:cNvSpPr/>
          <p:nvPr/>
        </p:nvSpPr>
        <p:spPr>
          <a:xfrm>
            <a:off x="1281818" y="3865854"/>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20" name="Group 19"/>
          <p:cNvGrpSpPr/>
          <p:nvPr/>
        </p:nvGrpSpPr>
        <p:grpSpPr>
          <a:xfrm>
            <a:off x="3006042" y="4304394"/>
            <a:ext cx="585235" cy="585235"/>
            <a:chOff x="3057925" y="3581400"/>
            <a:chExt cx="690010" cy="690010"/>
          </a:xfrm>
        </p:grpSpPr>
        <p:sp>
          <p:nvSpPr>
            <p:cNvPr id="25" name="Oval 24"/>
            <p:cNvSpPr/>
            <p:nvPr/>
          </p:nvSpPr>
          <p:spPr>
            <a:xfrm>
              <a:off x="3057925" y="3581400"/>
              <a:ext cx="690010" cy="69001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chemeClr val="tx1"/>
                </a:solidFill>
              </a:endParaRPr>
            </a:p>
          </p:txBody>
        </p:sp>
        <p:sp>
          <p:nvSpPr>
            <p:cNvPr id="32" name="Text Placeholder 5"/>
            <p:cNvSpPr txBox="1">
              <a:spLocks/>
            </p:cNvSpPr>
            <p:nvPr/>
          </p:nvSpPr>
          <p:spPr>
            <a:xfrm>
              <a:off x="3181612" y="3654246"/>
              <a:ext cx="442635" cy="544317"/>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rgbClr val="4B4B4B"/>
                  </a:solidFill>
                  <a:latin typeface="EYInterstate Light" panose="02000506000000020004" pitchFamily="2" charset="0"/>
                </a:rPr>
                <a:t>2</a:t>
              </a:r>
            </a:p>
          </p:txBody>
        </p:sp>
      </p:grpSp>
    </p:spTree>
    <p:extLst>
      <p:ext uri="{BB962C8B-B14F-4D97-AF65-F5344CB8AC3E}">
        <p14:creationId xmlns:p14="http://schemas.microsoft.com/office/powerpoint/2010/main" val="19629855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custDataLst>
              <p:tags r:id="rId1"/>
            </p:custDataLst>
          </p:nvPr>
        </p:nvSpPr>
        <p:spPr>
          <a:xfrm>
            <a:off x="400767" y="1678449"/>
            <a:ext cx="11531600" cy="467605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55" name="Pentagon 54"/>
          <p:cNvSpPr/>
          <p:nvPr>
            <p:custDataLst>
              <p:tags r:id="rId2"/>
            </p:custDataLst>
          </p:nvPr>
        </p:nvSpPr>
        <p:spPr>
          <a:xfrm rot="10800000">
            <a:off x="1154893" y="4404873"/>
            <a:ext cx="3516896"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4" name="Pentagon 53"/>
          <p:cNvSpPr/>
          <p:nvPr>
            <p:custDataLst>
              <p:tags r:id="rId3"/>
            </p:custDataLst>
          </p:nvPr>
        </p:nvSpPr>
        <p:spPr>
          <a:xfrm rot="10800000">
            <a:off x="3205768" y="4401572"/>
            <a:ext cx="3516896"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3" name="Pentagon 52"/>
          <p:cNvSpPr/>
          <p:nvPr>
            <p:custDataLst>
              <p:tags r:id="rId4"/>
            </p:custDataLst>
          </p:nvPr>
        </p:nvSpPr>
        <p:spPr>
          <a:xfrm rot="10800000">
            <a:off x="5180791" y="4402338"/>
            <a:ext cx="3516896"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1" name="Pentagon 50"/>
          <p:cNvSpPr/>
          <p:nvPr>
            <p:custDataLst>
              <p:tags r:id="rId5"/>
            </p:custDataLst>
          </p:nvPr>
        </p:nvSpPr>
        <p:spPr>
          <a:xfrm rot="10800000">
            <a:off x="6994423" y="4427016"/>
            <a:ext cx="3516896"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7" name="Pentagon 46"/>
          <p:cNvSpPr/>
          <p:nvPr>
            <p:custDataLst>
              <p:tags r:id="rId6"/>
            </p:custDataLst>
          </p:nvPr>
        </p:nvSpPr>
        <p:spPr>
          <a:xfrm rot="5400000">
            <a:off x="9052844" y="3526228"/>
            <a:ext cx="2916950" cy="1813632"/>
          </a:xfrm>
          <a:prstGeom prst="homePlate">
            <a:avLst>
              <a:gd name="adj" fmla="val 37569"/>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9" name="Pentagon 38"/>
          <p:cNvSpPr/>
          <p:nvPr>
            <p:custDataLst>
              <p:tags r:id="rId7"/>
            </p:custDataLst>
          </p:nvPr>
        </p:nvSpPr>
        <p:spPr>
          <a:xfrm>
            <a:off x="7496125" y="2251873"/>
            <a:ext cx="392201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2" name="Pentagon 51"/>
          <p:cNvSpPr/>
          <p:nvPr>
            <p:custDataLst>
              <p:tags r:id="rId8"/>
            </p:custDataLst>
          </p:nvPr>
        </p:nvSpPr>
        <p:spPr>
          <a:xfrm>
            <a:off x="5994806" y="2251873"/>
            <a:ext cx="343333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4" name="Right Triangle 103"/>
          <p:cNvSpPr/>
          <p:nvPr>
            <p:custDataLst>
              <p:tags r:id="rId9"/>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10"/>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33"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11"/>
            </p:custDataLst>
          </p:nvPr>
        </p:nvSpPr>
        <p:spPr>
          <a:xfrm>
            <a:off x="617422" y="660997"/>
            <a:ext cx="6966322" cy="799963"/>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exemple de gestion de données des employés </a:t>
            </a:r>
          </a:p>
        </p:txBody>
      </p:sp>
      <p:cxnSp>
        <p:nvCxnSpPr>
          <p:cNvPr id="12" name="Straight Connector 11"/>
          <p:cNvCxnSpPr/>
          <p:nvPr>
            <p:custDataLst>
              <p:tags r:id="rId12"/>
            </p:custDataLst>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custDataLst>
              <p:tags r:id="rId13"/>
            </p:custDataLst>
          </p:nvPr>
        </p:nvSpPr>
        <p:spPr>
          <a:xfrm>
            <a:off x="583647" y="1722197"/>
            <a:ext cx="3692518" cy="34913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Gérer les inscriptions aux avantages sociaux</a:t>
            </a:r>
          </a:p>
        </p:txBody>
      </p:sp>
      <p:cxnSp>
        <p:nvCxnSpPr>
          <p:cNvPr id="38" name="Straight Connector 37"/>
          <p:cNvCxnSpPr/>
          <p:nvPr>
            <p:custDataLst>
              <p:tags r:id="rId14"/>
            </p:custDataLst>
          </p:nvPr>
        </p:nvCxnSpPr>
        <p:spPr>
          <a:xfrm>
            <a:off x="675294" y="2088367"/>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0" name="Pentagon 39"/>
          <p:cNvSpPr/>
          <p:nvPr>
            <p:custDataLst>
              <p:tags r:id="rId15"/>
            </p:custDataLst>
          </p:nvPr>
        </p:nvSpPr>
        <p:spPr>
          <a:xfrm>
            <a:off x="3968936" y="2251873"/>
            <a:ext cx="343333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1" name="Pentagon 40"/>
          <p:cNvSpPr/>
          <p:nvPr>
            <p:custDataLst>
              <p:tags r:id="rId16"/>
            </p:custDataLst>
          </p:nvPr>
        </p:nvSpPr>
        <p:spPr>
          <a:xfrm>
            <a:off x="2281893" y="2251873"/>
            <a:ext cx="3201843"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2" name="Pentagon 41"/>
          <p:cNvSpPr/>
          <p:nvPr>
            <p:custDataLst>
              <p:tags r:id="rId17"/>
            </p:custDataLst>
          </p:nvPr>
        </p:nvSpPr>
        <p:spPr>
          <a:xfrm>
            <a:off x="1033379" y="2251874"/>
            <a:ext cx="256842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3" name="TextBox 42"/>
          <p:cNvSpPr txBox="1"/>
          <p:nvPr>
            <p:custDataLst>
              <p:tags r:id="rId18"/>
            </p:custDataLst>
          </p:nvPr>
        </p:nvSpPr>
        <p:spPr>
          <a:xfrm>
            <a:off x="1540203" y="2747582"/>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L’employé remplit les détails de l’inscription</a:t>
            </a:r>
          </a:p>
        </p:txBody>
      </p:sp>
      <p:sp>
        <p:nvSpPr>
          <p:cNvPr id="56" name="TextBox 55"/>
          <p:cNvSpPr txBox="1"/>
          <p:nvPr>
            <p:custDataLst>
              <p:tags r:id="rId19"/>
            </p:custDataLst>
          </p:nvPr>
        </p:nvSpPr>
        <p:spPr>
          <a:xfrm>
            <a:off x="3742440" y="2531114"/>
            <a:ext cx="1291258" cy="757643"/>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Le fournisseur reçoit la demande de l’employé et les détails sur l’admissibilité</a:t>
            </a:r>
          </a:p>
        </p:txBody>
      </p:sp>
      <p:sp>
        <p:nvSpPr>
          <p:cNvPr id="57" name="TextBox 56"/>
          <p:cNvSpPr txBox="1"/>
          <p:nvPr>
            <p:custDataLst>
              <p:tags r:id="rId20"/>
            </p:custDataLst>
          </p:nvPr>
        </p:nvSpPr>
        <p:spPr>
          <a:xfrm>
            <a:off x="5649018" y="2678265"/>
            <a:ext cx="1291258" cy="469872"/>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Le fournisseur confirme les détails de l’inscription</a:t>
            </a:r>
          </a:p>
        </p:txBody>
      </p:sp>
      <p:sp>
        <p:nvSpPr>
          <p:cNvPr id="58" name="TextBox 57"/>
          <p:cNvSpPr txBox="1"/>
          <p:nvPr>
            <p:custDataLst>
              <p:tags r:id="rId21"/>
            </p:custDataLst>
          </p:nvPr>
        </p:nvSpPr>
        <p:spPr>
          <a:xfrm>
            <a:off x="7567549" y="2603698"/>
            <a:ext cx="1291258" cy="756361"/>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L’employé reçoit un avis concernant les renseignements sur les avantages sociaux</a:t>
            </a:r>
          </a:p>
        </p:txBody>
      </p:sp>
      <p:sp>
        <p:nvSpPr>
          <p:cNvPr id="59" name="TextBox 58"/>
          <p:cNvSpPr txBox="1"/>
          <p:nvPr>
            <p:custDataLst>
              <p:tags r:id="rId22"/>
            </p:custDataLst>
          </p:nvPr>
        </p:nvSpPr>
        <p:spPr>
          <a:xfrm>
            <a:off x="9638476" y="2747582"/>
            <a:ext cx="1291258"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Déterminer si l’inscription est active ou passive</a:t>
            </a:r>
          </a:p>
        </p:txBody>
      </p:sp>
      <p:sp>
        <p:nvSpPr>
          <p:cNvPr id="60" name="TextBox 59"/>
          <p:cNvSpPr txBox="1"/>
          <p:nvPr>
            <p:custDataLst>
              <p:tags r:id="rId23"/>
            </p:custDataLst>
          </p:nvPr>
        </p:nvSpPr>
        <p:spPr>
          <a:xfrm>
            <a:off x="9865690" y="4134804"/>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Mise à jour de la plateforme des avantages sociaux du fournisseur</a:t>
            </a:r>
          </a:p>
        </p:txBody>
      </p:sp>
      <p:sp>
        <p:nvSpPr>
          <p:cNvPr id="61" name="TextBox 60"/>
          <p:cNvSpPr txBox="1"/>
          <p:nvPr>
            <p:custDataLst>
              <p:tags r:id="rId24"/>
            </p:custDataLst>
          </p:nvPr>
        </p:nvSpPr>
        <p:spPr>
          <a:xfrm>
            <a:off x="7915431" y="4703632"/>
            <a:ext cx="1291258" cy="90152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Surveiller le processus d’inscription (de façon continue pendant la période d’inscription annuelle)</a:t>
            </a:r>
          </a:p>
        </p:txBody>
      </p:sp>
      <p:sp>
        <p:nvSpPr>
          <p:cNvPr id="62" name="TextBox 61"/>
          <p:cNvSpPr txBox="1"/>
          <p:nvPr>
            <p:custDataLst>
              <p:tags r:id="rId25"/>
            </p:custDataLst>
          </p:nvPr>
        </p:nvSpPr>
        <p:spPr>
          <a:xfrm>
            <a:off x="5708816" y="4678188"/>
            <a:ext cx="1291258" cy="90152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Envoyer des rappels aux employés (de façon continue pendant la période d’inscription annuelle)</a:t>
            </a:r>
          </a:p>
        </p:txBody>
      </p:sp>
      <p:sp>
        <p:nvSpPr>
          <p:cNvPr id="63" name="TextBox 62"/>
          <p:cNvSpPr txBox="1"/>
          <p:nvPr>
            <p:custDataLst>
              <p:tags r:id="rId26"/>
            </p:custDataLst>
          </p:nvPr>
        </p:nvSpPr>
        <p:spPr>
          <a:xfrm>
            <a:off x="3742440" y="4992043"/>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nérer des rapports au besoin</a:t>
            </a:r>
          </a:p>
        </p:txBody>
      </p:sp>
      <p:sp>
        <p:nvSpPr>
          <p:cNvPr id="64" name="TextBox 63"/>
          <p:cNvSpPr txBox="1"/>
          <p:nvPr>
            <p:custDataLst>
              <p:tags r:id="rId27"/>
            </p:custDataLst>
          </p:nvPr>
        </p:nvSpPr>
        <p:spPr>
          <a:xfrm>
            <a:off x="1760708" y="4995814"/>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demandes des employés</a:t>
            </a:r>
          </a:p>
        </p:txBody>
      </p:sp>
      <p:sp>
        <p:nvSpPr>
          <p:cNvPr id="31" name="Rectangle 1"/>
          <p:cNvSpPr/>
          <p:nvPr>
            <p:custDataLst>
              <p:tags r:id="rId28"/>
            </p:custDataLst>
          </p:nvPr>
        </p:nvSpPr>
        <p:spPr>
          <a:xfrm>
            <a:off x="7693724" y="665273"/>
            <a:ext cx="3463223" cy="9189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2" name="TextBox 2"/>
          <p:cNvSpPr txBox="1"/>
          <p:nvPr>
            <p:custDataLst>
              <p:tags r:id="rId29"/>
            </p:custDataLst>
          </p:nvPr>
        </p:nvSpPr>
        <p:spPr>
          <a:xfrm>
            <a:off x="7628761" y="700097"/>
            <a:ext cx="3789374" cy="652486"/>
          </a:xfrm>
          <a:prstGeom prst="rect">
            <a:avLst/>
          </a:prstGeom>
          <a:noFill/>
        </p:spPr>
        <p:txBody>
          <a:bodyPr wrap="square" lIns="0" tIns="36576" rIns="0" bIns="0" rtlCol="0">
            <a:spAutoFit/>
          </a:bodyPr>
          <a:lstStyle/>
          <a:p>
            <a:pPr lvl="1">
              <a:spcAft>
                <a:spcPts val="600"/>
              </a:spcAft>
              <a:buClr>
                <a:schemeClr val="accent2"/>
              </a:buClr>
              <a:buSzPct val="70000"/>
            </a:pPr>
            <a:r>
              <a:rPr lang="fr-CA" sz="1000" b="1" u="sng" dirty="0">
                <a:solidFill>
                  <a:schemeClr val="bg1"/>
                </a:solidFill>
              </a:rPr>
              <a:t>Légende</a:t>
            </a:r>
          </a:p>
          <a:p>
            <a:pPr lvl="1">
              <a:spcAft>
                <a:spcPts val="600"/>
              </a:spcAft>
              <a:buClr>
                <a:schemeClr val="accent2"/>
              </a:buClr>
              <a:buSzPct val="70000"/>
            </a:pPr>
            <a:r>
              <a:rPr lang="fr-CA" sz="1000" dirty="0">
                <a:solidFill>
                  <a:schemeClr val="bg1"/>
                </a:solidFill>
              </a:rPr>
              <a:t>Tableau du modèle de référence opérationnel des RH</a:t>
            </a:r>
          </a:p>
          <a:p>
            <a:pPr lvl="1">
              <a:spcAft>
                <a:spcPts val="600"/>
              </a:spcAft>
              <a:buClr>
                <a:schemeClr val="accent2"/>
              </a:buClr>
              <a:buSzPct val="70000"/>
            </a:pPr>
            <a:r>
              <a:rPr lang="fr-CA" sz="1000" dirty="0">
                <a:solidFill>
                  <a:schemeClr val="bg1"/>
                </a:solidFill>
              </a:rPr>
              <a:t>Recommandation d’EY à ajouter</a:t>
            </a:r>
          </a:p>
        </p:txBody>
      </p:sp>
      <p:sp>
        <p:nvSpPr>
          <p:cNvPr id="33" name="Rectangle 3"/>
          <p:cNvSpPr/>
          <p:nvPr>
            <p:custDataLst>
              <p:tags r:id="rId30"/>
            </p:custDataLst>
          </p:nvPr>
        </p:nvSpPr>
        <p:spPr>
          <a:xfrm>
            <a:off x="7772333" y="925976"/>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4" name="Rectangle 4"/>
          <p:cNvSpPr/>
          <p:nvPr>
            <p:custDataLst>
              <p:tags r:id="rId31"/>
            </p:custDataLst>
          </p:nvPr>
        </p:nvSpPr>
        <p:spPr>
          <a:xfrm>
            <a:off x="7772333" y="1270708"/>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93685435"/>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cxnSp>
        <p:nvCxnSpPr>
          <p:cNvPr id="12" name="Straight Connector 11"/>
          <p:cNvCxnSpPr/>
          <p:nvPr/>
        </p:nvCxnSpPr>
        <p:spPr>
          <a:xfrm>
            <a:off x="617421"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99836" y="373597"/>
            <a:ext cx="6976400" cy="799963"/>
          </a:xfrm>
          <a:prstGeom prst="rect">
            <a:avLst/>
          </a:prstGeom>
          <a:noFill/>
        </p:spPr>
        <p:txBody>
          <a:bodyPr wrap="square" lIns="0" tIns="0" rIns="0" bIns="0" rtlCol="0" anchor="t" anchorCtr="0">
            <a:spAutoFit/>
          </a:bodyPr>
          <a:lstStyle/>
          <a:p>
            <a:r>
              <a:rPr lang="en-GB" sz="2599" b="1" dirty="0" err="1">
                <a:solidFill>
                  <a:srgbClr val="4B4B4B"/>
                </a:solidFill>
                <a:latin typeface="EYInterstate Light" panose="02000506000000020004" pitchFamily="2" charset="0"/>
              </a:rPr>
              <a:t>Tendances</a:t>
            </a:r>
            <a:r>
              <a:rPr lang="en-GB" sz="2599" b="1" dirty="0">
                <a:solidFill>
                  <a:srgbClr val="4B4B4B"/>
                </a:solidFill>
                <a:latin typeface="EYInterstate Light" panose="02000506000000020004" pitchFamily="2" charset="0"/>
              </a:rPr>
              <a:t> </a:t>
            </a:r>
            <a:r>
              <a:rPr lang="en-GB" sz="2599" b="1" dirty="0" err="1" smtClean="0">
                <a:solidFill>
                  <a:srgbClr val="4B4B4B"/>
                </a:solidFill>
                <a:latin typeface="EYInterstate Light" panose="02000506000000020004" pitchFamily="2" charset="0"/>
              </a:rPr>
              <a:t>dominantes</a:t>
            </a:r>
            <a:r>
              <a:rPr lang="en-GB" sz="2599" b="1" dirty="0" smtClean="0">
                <a:solidFill>
                  <a:srgbClr val="4B4B4B"/>
                </a:solidFill>
                <a:latin typeface="EYInterstate Light" panose="02000506000000020004" pitchFamily="2" charset="0"/>
              </a:rPr>
              <a:t> :  </a:t>
            </a:r>
            <a:endParaRPr lang="en-GB" sz="2599" dirty="0">
              <a:solidFill>
                <a:srgbClr val="4B4B4B"/>
              </a:solidFill>
              <a:latin typeface="EYInterstate Light" panose="02000506000000020004" pitchFamily="2" charset="0"/>
            </a:endParaRPr>
          </a:p>
          <a:p>
            <a:r>
              <a:rPr lang="en-GB" sz="2599" dirty="0" smtClean="0">
                <a:solidFill>
                  <a:srgbClr val="4B4B4B"/>
                </a:solidFill>
                <a:latin typeface="EYInterstate Light" panose="02000506000000020004" pitchFamily="2" charset="0"/>
              </a:rPr>
              <a:t>Payer les </a:t>
            </a:r>
            <a:r>
              <a:rPr lang="fr-CA" sz="2600" dirty="0" smtClean="0">
                <a:solidFill>
                  <a:srgbClr val="4B4B4B"/>
                </a:solidFill>
                <a:latin typeface="EYInterstate Light" panose="02000506000000020004" pitchFamily="2" charset="0"/>
              </a:rPr>
              <a:t>employées</a:t>
            </a:r>
            <a:endParaRPr lang="en-GB" sz="2599" dirty="0">
              <a:solidFill>
                <a:srgbClr val="4B4B4B"/>
              </a:solidFill>
              <a:latin typeface="EYInterstate Light" panose="02000506000000020004" pitchFamily="2" charset="0"/>
            </a:endParaRPr>
          </a:p>
        </p:txBody>
      </p:sp>
      <p:sp>
        <p:nvSpPr>
          <p:cNvPr id="48" name="Oval 14"/>
          <p:cNvSpPr>
            <a:spLocks noChangeArrowheads="1"/>
          </p:cNvSpPr>
          <p:nvPr/>
        </p:nvSpPr>
        <p:spPr bwMode="auto">
          <a:xfrm>
            <a:off x="5076953" y="3195691"/>
            <a:ext cx="1394568" cy="1267193"/>
          </a:xfrm>
          <a:prstGeom prst="ellipse">
            <a:avLst/>
          </a:prstGeom>
          <a:solidFill>
            <a:srgbClr val="FFE600"/>
          </a:solidFill>
          <a:ln w="12700" algn="ctr">
            <a:noFill/>
            <a:round/>
            <a:headEnd/>
            <a:tailEnd/>
          </a:ln>
          <a:effectLst/>
        </p:spPr>
        <p:txBody>
          <a:bodyPr lIns="0" tIns="0" rIns="0" bIns="0" anchor="ctr"/>
          <a:lstStyle/>
          <a:p>
            <a:pPr algn="ctr" defTabSz="995363" fontAlgn="base">
              <a:spcBef>
                <a:spcPct val="0"/>
              </a:spcBef>
              <a:spcAft>
                <a:spcPct val="50000"/>
              </a:spcAft>
              <a:buClr>
                <a:srgbClr val="FFE600"/>
              </a:buClr>
              <a:buSzPct val="80000"/>
              <a:buFont typeface="EYInterstate" pitchFamily="2" charset="0"/>
              <a:buNone/>
              <a:defRPr/>
            </a:pPr>
            <a:endParaRPr lang="de-DE" sz="1200" b="1" kern="0" dirty="0">
              <a:solidFill>
                <a:prstClr val="black"/>
              </a:solidFill>
              <a:latin typeface="EYInterstate Light" panose="02000506000000020004" pitchFamily="2" charset="0"/>
            </a:endParaRPr>
          </a:p>
        </p:txBody>
      </p:sp>
      <p:sp>
        <p:nvSpPr>
          <p:cNvPr id="49" name="AutoShape 3"/>
          <p:cNvSpPr>
            <a:spLocks noChangeArrowheads="1"/>
          </p:cNvSpPr>
          <p:nvPr/>
        </p:nvSpPr>
        <p:spPr bwMode="gray">
          <a:xfrm>
            <a:off x="3119560" y="1937477"/>
            <a:ext cx="5160560" cy="3874251"/>
          </a:xfrm>
          <a:prstGeom prst="hexagon">
            <a:avLst>
              <a:gd name="adj" fmla="val 30149"/>
              <a:gd name="vf" fmla="val 115470"/>
            </a:avLst>
          </a:prstGeom>
          <a:noFill/>
          <a:ln w="12700" algn="ctr">
            <a:solidFill>
              <a:srgbClr val="FF0000"/>
            </a:solidFill>
            <a:miter lim="800000"/>
            <a:headEnd/>
            <a:tailEnd/>
          </a:ln>
          <a:effectLst/>
        </p:spPr>
        <p:txBody>
          <a:bodyPr wrap="none" lIns="90000" tIns="46038" rIns="90000" bIns="46038" anchor="ctr"/>
          <a:lstStyle/>
          <a:p>
            <a:pPr fontAlgn="base">
              <a:spcBef>
                <a:spcPct val="0"/>
              </a:spcBef>
              <a:spcAft>
                <a:spcPct val="50000"/>
              </a:spcAft>
              <a:buClr>
                <a:srgbClr val="FFE600"/>
              </a:buClr>
              <a:buSzPct val="80000"/>
              <a:buFont typeface="Arial" charset="0"/>
              <a:buNone/>
              <a:defRPr/>
            </a:pPr>
            <a:endParaRPr lang="en-US" sz="900" b="1" kern="0" dirty="0" smtClean="0">
              <a:solidFill>
                <a:prstClr val="black"/>
              </a:solidFill>
              <a:latin typeface="EYInterstate Light" panose="02000506000000020004" pitchFamily="2" charset="0"/>
            </a:endParaRPr>
          </a:p>
        </p:txBody>
      </p:sp>
      <p:sp>
        <p:nvSpPr>
          <p:cNvPr id="50" name="AutoShape 15"/>
          <p:cNvSpPr>
            <a:spLocks noChangeAspect="1" noChangeArrowheads="1"/>
          </p:cNvSpPr>
          <p:nvPr/>
        </p:nvSpPr>
        <p:spPr bwMode="gray">
          <a:xfrm>
            <a:off x="6111095" y="1183885"/>
            <a:ext cx="1983213" cy="1507181"/>
          </a:xfrm>
          <a:prstGeom prst="hexagon">
            <a:avLst>
              <a:gd name="adj" fmla="val 31518"/>
              <a:gd name="vf" fmla="val 115470"/>
            </a:avLst>
          </a:prstGeom>
          <a:solidFill>
            <a:srgbClr val="DCDCDC"/>
          </a:solidFill>
          <a:ln w="28575" algn="ctr">
            <a:solidFill>
              <a:srgbClr val="FFFFFF"/>
            </a:solidFill>
            <a:miter lim="800000"/>
            <a:headEnd/>
            <a:tailEnd/>
          </a:ln>
          <a:effectLst/>
        </p:spPr>
        <p:txBody>
          <a:bodyPr lIns="90000" tIns="46800" rIns="90000" bIns="46800" anchor="ctr"/>
          <a:lstStyle/>
          <a:p>
            <a:pPr algn="ctr"/>
            <a:r>
              <a:rPr lang="fr-CA" sz="1000" b="1" dirty="0"/>
              <a:t>Profiter des robots de discussions pour assister avec les requêtes des employés et lancer les processus </a:t>
            </a:r>
            <a:r>
              <a:rPr lang="fr-CA" sz="1000" b="1" dirty="0" smtClean="0"/>
              <a:t>liés à </a:t>
            </a:r>
            <a:r>
              <a:rPr lang="fr-CA" sz="1000" b="1" dirty="0"/>
              <a:t>la paye</a:t>
            </a:r>
            <a:endParaRPr lang="en-CA" sz="1000" b="1" dirty="0"/>
          </a:p>
        </p:txBody>
      </p:sp>
      <p:sp>
        <p:nvSpPr>
          <p:cNvPr id="51" name="Freeform 16"/>
          <p:cNvSpPr>
            <a:spLocks noEditPoints="1"/>
          </p:cNvSpPr>
          <p:nvPr/>
        </p:nvSpPr>
        <p:spPr bwMode="auto">
          <a:xfrm>
            <a:off x="5376986" y="3387960"/>
            <a:ext cx="794502" cy="882653"/>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ysClr val="window" lastClr="FFFFFF">
              <a:lumMod val="50000"/>
            </a:sysClr>
          </a:solidFill>
          <a:ln>
            <a:noFill/>
          </a:ln>
        </p:spPr>
        <p:txBody>
          <a:bodyPr vert="horz" wrap="square" lIns="91440" tIns="45720" rIns="91440" bIns="45720" numCol="1" anchor="t" anchorCtr="0" compatLnSpc="1">
            <a:prstTxWarp prst="textNoShape">
              <a:avLst/>
            </a:prstTxWarp>
          </a:bodyPr>
          <a:lstStyle/>
          <a:p>
            <a:pPr>
              <a:defRPr/>
            </a:pPr>
            <a:endParaRPr lang="en-US" b="1" kern="0" dirty="0">
              <a:solidFill>
                <a:srgbClr val="000000"/>
              </a:solidFill>
              <a:latin typeface="EYInterstate Light" panose="02000506000000020004" pitchFamily="2" charset="0"/>
              <a:ea typeface="ＭＳ Ｐゴシック" charset="0"/>
            </a:endParaRPr>
          </a:p>
        </p:txBody>
      </p:sp>
      <p:sp>
        <p:nvSpPr>
          <p:cNvPr id="57" name="AutoShape 15"/>
          <p:cNvSpPr>
            <a:spLocks noChangeAspect="1" noChangeArrowheads="1"/>
          </p:cNvSpPr>
          <p:nvPr/>
        </p:nvSpPr>
        <p:spPr bwMode="gray">
          <a:xfrm>
            <a:off x="7027688" y="3195691"/>
            <a:ext cx="1983213" cy="1507181"/>
          </a:xfrm>
          <a:prstGeom prst="hexagon">
            <a:avLst>
              <a:gd name="adj" fmla="val 31518"/>
              <a:gd name="vf" fmla="val 115470"/>
            </a:avLst>
          </a:prstGeom>
          <a:solidFill>
            <a:srgbClr val="808080"/>
          </a:solidFill>
          <a:ln w="28575" algn="ctr">
            <a:solidFill>
              <a:srgbClr val="FFFFFF"/>
            </a:solidFill>
            <a:miter lim="800000"/>
            <a:headEnd/>
            <a:tailEnd/>
          </a:ln>
          <a:effectLst/>
        </p:spPr>
        <p:txBody>
          <a:bodyPr lIns="90000" tIns="46800" rIns="90000" bIns="46800" anchor="ctr"/>
          <a:lstStyle/>
          <a:p>
            <a:pPr algn="ctr" defTabSz="1042988" eaLnBrk="0" hangingPunct="0">
              <a:spcAft>
                <a:spcPct val="0"/>
              </a:spcAft>
              <a:buClr>
                <a:srgbClr val="F2F2F2"/>
              </a:buClr>
              <a:buSzPct val="75000"/>
              <a:defRPr/>
            </a:pPr>
            <a:r>
              <a:rPr lang="fr-CA" sz="1000" b="1" dirty="0">
                <a:solidFill>
                  <a:schemeClr val="tx2"/>
                </a:solidFill>
              </a:rPr>
              <a:t>Intégrer les changements de </a:t>
            </a:r>
            <a:r>
              <a:rPr lang="fr-CA" sz="1000" b="1" dirty="0" smtClean="0">
                <a:solidFill>
                  <a:schemeClr val="tx2"/>
                </a:solidFill>
              </a:rPr>
              <a:t>politiques </a:t>
            </a:r>
            <a:r>
              <a:rPr lang="fr-CA" sz="1000" b="1" dirty="0">
                <a:solidFill>
                  <a:schemeClr val="tx2"/>
                </a:solidFill>
              </a:rPr>
              <a:t>et la réforme de la réglementation </a:t>
            </a:r>
            <a:endParaRPr lang="de-DE" sz="1000" b="1" kern="0" dirty="0">
              <a:solidFill>
                <a:schemeClr val="tx2"/>
              </a:solidFill>
              <a:latin typeface="EYInterstate Light" panose="02000506000000020004" pitchFamily="2" charset="0"/>
            </a:endParaRPr>
          </a:p>
        </p:txBody>
      </p:sp>
      <p:sp>
        <p:nvSpPr>
          <p:cNvPr id="58" name="AutoShape 15"/>
          <p:cNvSpPr>
            <a:spLocks noChangeAspect="1" noChangeArrowheads="1"/>
          </p:cNvSpPr>
          <p:nvPr/>
        </p:nvSpPr>
        <p:spPr bwMode="gray">
          <a:xfrm>
            <a:off x="6140310" y="5058137"/>
            <a:ext cx="1983213" cy="1507181"/>
          </a:xfrm>
          <a:prstGeom prst="hexagon">
            <a:avLst>
              <a:gd name="adj" fmla="val 31518"/>
              <a:gd name="vf" fmla="val 115470"/>
            </a:avLst>
          </a:prstGeom>
          <a:solidFill>
            <a:srgbClr val="999999"/>
          </a:solidFill>
          <a:ln w="28575" algn="ctr">
            <a:solidFill>
              <a:srgbClr val="FFFFFF"/>
            </a:solidFill>
            <a:miter lim="800000"/>
            <a:headEnd/>
            <a:tailEnd/>
          </a:ln>
          <a:effectLst/>
        </p:spPr>
        <p:txBody>
          <a:bodyPr lIns="90000" tIns="46800" rIns="90000" bIns="46800" anchor="ctr"/>
          <a:lstStyle/>
          <a:p>
            <a:pPr algn="ctr"/>
            <a:r>
              <a:rPr lang="fr-CA" sz="1000" b="1" dirty="0">
                <a:solidFill>
                  <a:schemeClr val="tx2"/>
                </a:solidFill>
              </a:rPr>
              <a:t>Déployer des capacités en libre-service pour gérer les heures de services, les congés, les approbations </a:t>
            </a:r>
            <a:endParaRPr lang="en-CA" sz="1000" b="1" dirty="0">
              <a:solidFill>
                <a:schemeClr val="tx2"/>
              </a:solidFill>
            </a:endParaRPr>
          </a:p>
        </p:txBody>
      </p:sp>
      <p:sp>
        <p:nvSpPr>
          <p:cNvPr id="59" name="AutoShape 15"/>
          <p:cNvSpPr>
            <a:spLocks noChangeAspect="1" noChangeArrowheads="1"/>
          </p:cNvSpPr>
          <p:nvPr/>
        </p:nvSpPr>
        <p:spPr bwMode="gray">
          <a:xfrm>
            <a:off x="3373587" y="5054031"/>
            <a:ext cx="1983213" cy="1507181"/>
          </a:xfrm>
          <a:prstGeom prst="hexagon">
            <a:avLst>
              <a:gd name="adj" fmla="val 31518"/>
              <a:gd name="vf" fmla="val 115470"/>
            </a:avLst>
          </a:prstGeom>
          <a:solidFill>
            <a:srgbClr val="DCDCDC"/>
          </a:solidFill>
          <a:ln w="28575" algn="ctr">
            <a:solidFill>
              <a:srgbClr val="FFFFFF"/>
            </a:solidFill>
            <a:miter lim="800000"/>
            <a:headEnd/>
            <a:tailEnd/>
          </a:ln>
          <a:effectLst/>
        </p:spPr>
        <p:txBody>
          <a:bodyPr lIns="90000" tIns="46800" rIns="90000" bIns="46800" anchor="ctr"/>
          <a:lstStyle/>
          <a:p>
            <a:pPr algn="ctr" defTabSz="1042988" eaLnBrk="0" hangingPunct="0">
              <a:spcAft>
                <a:spcPct val="0"/>
              </a:spcAft>
              <a:buClr>
                <a:srgbClr val="F2F2F2"/>
              </a:buClr>
              <a:buSzPct val="75000"/>
              <a:defRPr/>
            </a:pPr>
            <a:r>
              <a:rPr lang="fr-CA" sz="1000" b="1" dirty="0"/>
              <a:t>Utiliser l’analyse de données et l’analyse comparative pour prendre des décisions stratégiques</a:t>
            </a:r>
            <a:endParaRPr lang="de-DE" sz="1000" b="1" kern="0" dirty="0">
              <a:latin typeface="EYInterstate Light" panose="02000506000000020004" pitchFamily="2" charset="0"/>
            </a:endParaRPr>
          </a:p>
        </p:txBody>
      </p:sp>
      <p:sp>
        <p:nvSpPr>
          <p:cNvPr id="60" name="AutoShape 15"/>
          <p:cNvSpPr>
            <a:spLocks noChangeAspect="1" noChangeArrowheads="1"/>
          </p:cNvSpPr>
          <p:nvPr/>
        </p:nvSpPr>
        <p:spPr bwMode="gray">
          <a:xfrm>
            <a:off x="2381980" y="3195690"/>
            <a:ext cx="1983213" cy="1507181"/>
          </a:xfrm>
          <a:prstGeom prst="hexagon">
            <a:avLst>
              <a:gd name="adj" fmla="val 31518"/>
              <a:gd name="vf" fmla="val 115470"/>
            </a:avLst>
          </a:prstGeom>
          <a:solidFill>
            <a:srgbClr val="808080"/>
          </a:solidFill>
          <a:ln w="28575" algn="ctr">
            <a:solidFill>
              <a:srgbClr val="FFFFFF"/>
            </a:solidFill>
            <a:miter lim="800000"/>
            <a:headEnd/>
            <a:tailEnd/>
          </a:ln>
          <a:effectLst/>
        </p:spPr>
        <p:txBody>
          <a:bodyPr lIns="90000" tIns="46800" rIns="90000" bIns="46800" anchor="ctr"/>
          <a:lstStyle/>
          <a:p>
            <a:pPr algn="ctr"/>
            <a:r>
              <a:rPr lang="fr-CA" sz="1000" b="1" dirty="0">
                <a:solidFill>
                  <a:schemeClr val="tx2"/>
                </a:solidFill>
              </a:rPr>
              <a:t>Planification, prévision, optimisation et </a:t>
            </a:r>
            <a:r>
              <a:rPr lang="fr-CA" sz="1000" b="1" dirty="0" smtClean="0">
                <a:solidFill>
                  <a:schemeClr val="tx2"/>
                </a:solidFill>
              </a:rPr>
              <a:t>gestion </a:t>
            </a:r>
            <a:r>
              <a:rPr lang="fr-CA" sz="1000" b="1" dirty="0">
                <a:solidFill>
                  <a:schemeClr val="tx2"/>
                </a:solidFill>
              </a:rPr>
              <a:t>des postes</a:t>
            </a:r>
            <a:endParaRPr lang="en-CA" sz="1000" b="1" dirty="0">
              <a:solidFill>
                <a:schemeClr val="tx2"/>
              </a:solidFill>
            </a:endParaRPr>
          </a:p>
        </p:txBody>
      </p:sp>
      <p:sp>
        <p:nvSpPr>
          <p:cNvPr id="61" name="AutoShape 15"/>
          <p:cNvSpPr>
            <a:spLocks noChangeAspect="1" noChangeArrowheads="1"/>
          </p:cNvSpPr>
          <p:nvPr/>
        </p:nvSpPr>
        <p:spPr bwMode="gray">
          <a:xfrm>
            <a:off x="3373587" y="1183884"/>
            <a:ext cx="1983213" cy="1507181"/>
          </a:xfrm>
          <a:prstGeom prst="hexagon">
            <a:avLst>
              <a:gd name="adj" fmla="val 31518"/>
              <a:gd name="vf" fmla="val 115470"/>
            </a:avLst>
          </a:prstGeom>
          <a:solidFill>
            <a:srgbClr val="999999"/>
          </a:solidFill>
          <a:ln w="28575" algn="ctr">
            <a:solidFill>
              <a:srgbClr val="FFFFFF"/>
            </a:solidFill>
            <a:miter lim="800000"/>
            <a:headEnd/>
            <a:tailEnd/>
          </a:ln>
          <a:effectLst/>
        </p:spPr>
        <p:txBody>
          <a:bodyPr lIns="90000" tIns="46800" rIns="90000" bIns="46800" anchor="ctr"/>
          <a:lstStyle/>
          <a:p>
            <a:pPr algn="ctr"/>
            <a:r>
              <a:rPr lang="fr-CA" sz="1000" b="1" dirty="0">
                <a:solidFill>
                  <a:schemeClr val="tx2"/>
                </a:solidFill>
              </a:rPr>
              <a:t>Tirer parti de l’automatisation pour les </a:t>
            </a:r>
            <a:r>
              <a:rPr lang="fr-CA" sz="1000" b="1" dirty="0" smtClean="0">
                <a:solidFill>
                  <a:schemeClr val="tx2"/>
                </a:solidFill>
              </a:rPr>
              <a:t>tâches </a:t>
            </a:r>
            <a:r>
              <a:rPr lang="fr-CA" sz="1000" b="1" dirty="0">
                <a:solidFill>
                  <a:schemeClr val="tx2"/>
                </a:solidFill>
              </a:rPr>
              <a:t>répétitives ou très manuelles</a:t>
            </a:r>
            <a:endParaRPr lang="en-CA" sz="1000" b="1" dirty="0">
              <a:solidFill>
                <a:schemeClr val="tx2"/>
              </a:solidFill>
            </a:endParaRPr>
          </a:p>
        </p:txBody>
      </p:sp>
    </p:spTree>
    <p:extLst>
      <p:ext uri="{BB962C8B-B14F-4D97-AF65-F5344CB8AC3E}">
        <p14:creationId xmlns:p14="http://schemas.microsoft.com/office/powerpoint/2010/main" val="3724485680"/>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custDataLst>
              <p:tags r:id="rId1"/>
            </p:custDataLst>
          </p:nvPr>
        </p:nvSpPr>
        <p:spPr>
          <a:xfrm>
            <a:off x="312726" y="3626430"/>
            <a:ext cx="11531600" cy="3133185"/>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82" name="Pentagon 81"/>
          <p:cNvSpPr/>
          <p:nvPr>
            <p:custDataLst>
              <p:tags r:id="rId2"/>
            </p:custDataLst>
          </p:nvPr>
        </p:nvSpPr>
        <p:spPr>
          <a:xfrm>
            <a:off x="6921587" y="4114410"/>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4" name="Rectangle 33"/>
          <p:cNvSpPr/>
          <p:nvPr>
            <p:custDataLst>
              <p:tags r:id="rId3"/>
            </p:custDataLst>
          </p:nvPr>
        </p:nvSpPr>
        <p:spPr>
          <a:xfrm>
            <a:off x="312726" y="1502199"/>
            <a:ext cx="7067732" cy="197639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72" name="Pentagon 71"/>
          <p:cNvSpPr/>
          <p:nvPr>
            <p:custDataLst>
              <p:tags r:id="rId4"/>
            </p:custDataLst>
          </p:nvPr>
        </p:nvSpPr>
        <p:spPr>
          <a:xfrm>
            <a:off x="4461094" y="2207581"/>
            <a:ext cx="2509161" cy="1119103"/>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4" name="Right Triangle 103"/>
          <p:cNvSpPr/>
          <p:nvPr>
            <p:custDataLst>
              <p:tags r:id="rId5"/>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6"/>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54"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55"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7"/>
            </p:custDataLst>
          </p:nvPr>
        </p:nvSpPr>
        <p:spPr>
          <a:xfrm>
            <a:off x="617421" y="660997"/>
            <a:ext cx="6976400" cy="399981"/>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paiements aux employés</a:t>
            </a:r>
          </a:p>
        </p:txBody>
      </p:sp>
      <p:cxnSp>
        <p:nvCxnSpPr>
          <p:cNvPr id="12" name="Straight Connector 11"/>
          <p:cNvCxnSpPr/>
          <p:nvPr>
            <p:custDataLst>
              <p:tags r:id="rId8"/>
            </p:custDataLst>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custDataLst>
              <p:tags r:id="rId9"/>
            </p:custDataLst>
          </p:nvPr>
        </p:nvSpPr>
        <p:spPr>
          <a:xfrm>
            <a:off x="511334" y="1491346"/>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Rémunération</a:t>
            </a:r>
          </a:p>
        </p:txBody>
      </p:sp>
      <p:cxnSp>
        <p:nvCxnSpPr>
          <p:cNvPr id="41" name="Straight Connector 40"/>
          <p:cNvCxnSpPr/>
          <p:nvPr>
            <p:custDataLst>
              <p:tags r:id="rId10"/>
            </p:custDataLst>
          </p:nvPr>
        </p:nvCxnSpPr>
        <p:spPr>
          <a:xfrm>
            <a:off x="602981" y="1843794"/>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8" name="Pentagon 47"/>
          <p:cNvSpPr/>
          <p:nvPr>
            <p:custDataLst>
              <p:tags r:id="rId11"/>
            </p:custDataLst>
          </p:nvPr>
        </p:nvSpPr>
        <p:spPr>
          <a:xfrm>
            <a:off x="2934508" y="2196729"/>
            <a:ext cx="2509161" cy="1119103"/>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9" name="Pentagon 48"/>
          <p:cNvSpPr/>
          <p:nvPr>
            <p:custDataLst>
              <p:tags r:id="rId12"/>
            </p:custDataLst>
          </p:nvPr>
        </p:nvSpPr>
        <p:spPr>
          <a:xfrm>
            <a:off x="1814518" y="2185150"/>
            <a:ext cx="2251670" cy="1119103"/>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0" name="Pentagon 49"/>
          <p:cNvSpPr/>
          <p:nvPr>
            <p:custDataLst>
              <p:tags r:id="rId13"/>
            </p:custDataLst>
          </p:nvPr>
        </p:nvSpPr>
        <p:spPr>
          <a:xfrm>
            <a:off x="811696" y="2196729"/>
            <a:ext cx="1884529" cy="1119103"/>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1" name="TextBox 50"/>
          <p:cNvSpPr txBox="1"/>
          <p:nvPr>
            <p:custDataLst>
              <p:tags r:id="rId14"/>
            </p:custDataLst>
          </p:nvPr>
        </p:nvSpPr>
        <p:spPr>
          <a:xfrm>
            <a:off x="1021681" y="2509764"/>
            <a:ext cx="1291258" cy="469872"/>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processus d’augmentation en fonction du mérite</a:t>
            </a:r>
          </a:p>
        </p:txBody>
      </p:sp>
      <p:sp>
        <p:nvSpPr>
          <p:cNvPr id="52" name="TextBox 51"/>
          <p:cNvSpPr txBox="1"/>
          <p:nvPr>
            <p:custDataLst>
              <p:tags r:id="rId15"/>
            </p:custDataLst>
          </p:nvPr>
        </p:nvSpPr>
        <p:spPr>
          <a:xfrm>
            <a:off x="2763699" y="2377458"/>
            <a:ext cx="976728" cy="757643"/>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programmes d’incitatifs annuels des employés</a:t>
            </a:r>
          </a:p>
        </p:txBody>
      </p:sp>
      <p:sp>
        <p:nvSpPr>
          <p:cNvPr id="53" name="TextBox 52"/>
          <p:cNvSpPr txBox="1"/>
          <p:nvPr>
            <p:custDataLst>
              <p:tags r:id="rId16"/>
            </p:custDataLst>
          </p:nvPr>
        </p:nvSpPr>
        <p:spPr>
          <a:xfrm>
            <a:off x="4134497" y="2486123"/>
            <a:ext cx="1045024" cy="613758"/>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programmes d’incitatifs à long terme</a:t>
            </a:r>
          </a:p>
        </p:txBody>
      </p:sp>
      <p:sp>
        <p:nvSpPr>
          <p:cNvPr id="54" name="Rectangle 53"/>
          <p:cNvSpPr/>
          <p:nvPr>
            <p:custDataLst>
              <p:tags r:id="rId17"/>
            </p:custDataLst>
          </p:nvPr>
        </p:nvSpPr>
        <p:spPr>
          <a:xfrm>
            <a:off x="485215" y="3626428"/>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Paie</a:t>
            </a:r>
          </a:p>
        </p:txBody>
      </p:sp>
      <p:cxnSp>
        <p:nvCxnSpPr>
          <p:cNvPr id="55" name="Straight Connector 54"/>
          <p:cNvCxnSpPr/>
          <p:nvPr>
            <p:custDataLst>
              <p:tags r:id="rId18"/>
            </p:custDataLst>
          </p:nvPr>
        </p:nvCxnSpPr>
        <p:spPr>
          <a:xfrm>
            <a:off x="576862" y="3978876"/>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73" name="TextBox 72"/>
          <p:cNvSpPr txBox="1"/>
          <p:nvPr>
            <p:custDataLst>
              <p:tags r:id="rId19"/>
            </p:custDataLst>
          </p:nvPr>
        </p:nvSpPr>
        <p:spPr>
          <a:xfrm>
            <a:off x="5568954" y="2582851"/>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Procéder à un établissement annuel des prix en fonction du marché </a:t>
            </a:r>
          </a:p>
        </p:txBody>
      </p:sp>
      <p:sp>
        <p:nvSpPr>
          <p:cNvPr id="74" name="Pentagon 73"/>
          <p:cNvSpPr/>
          <p:nvPr>
            <p:custDataLst>
              <p:tags r:id="rId20"/>
            </p:custDataLst>
          </p:nvPr>
        </p:nvSpPr>
        <p:spPr>
          <a:xfrm>
            <a:off x="4791101" y="4115137"/>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5" name="Pentagon 74"/>
          <p:cNvSpPr/>
          <p:nvPr>
            <p:custDataLst>
              <p:tags r:id="rId21"/>
            </p:custDataLst>
          </p:nvPr>
        </p:nvSpPr>
        <p:spPr>
          <a:xfrm>
            <a:off x="2934508" y="4115864"/>
            <a:ext cx="4188371"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6" name="Pentagon 75"/>
          <p:cNvSpPr/>
          <p:nvPr>
            <p:custDataLst>
              <p:tags r:id="rId22"/>
            </p:custDataLst>
          </p:nvPr>
        </p:nvSpPr>
        <p:spPr>
          <a:xfrm>
            <a:off x="1814518" y="4104285"/>
            <a:ext cx="336500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7" name="Pentagon 76"/>
          <p:cNvSpPr/>
          <p:nvPr>
            <p:custDataLst>
              <p:tags r:id="rId23"/>
            </p:custDataLst>
          </p:nvPr>
        </p:nvSpPr>
        <p:spPr>
          <a:xfrm>
            <a:off x="811696" y="4115864"/>
            <a:ext cx="251341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8" name="TextBox 77"/>
          <p:cNvSpPr txBox="1"/>
          <p:nvPr>
            <p:custDataLst>
              <p:tags r:id="rId24"/>
            </p:custDataLst>
          </p:nvPr>
        </p:nvSpPr>
        <p:spPr>
          <a:xfrm>
            <a:off x="1055521" y="4246798"/>
            <a:ext cx="1708179"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onformité de la paie : gestion des configurations et des activités</a:t>
            </a:r>
          </a:p>
        </p:txBody>
      </p:sp>
      <p:sp>
        <p:nvSpPr>
          <p:cNvPr id="79" name="TextBox 78"/>
          <p:cNvSpPr txBox="1"/>
          <p:nvPr>
            <p:custDataLst>
              <p:tags r:id="rId25"/>
            </p:custDataLst>
          </p:nvPr>
        </p:nvSpPr>
        <p:spPr>
          <a:xfrm>
            <a:off x="3578379" y="4309037"/>
            <a:ext cx="1291907"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oordonner avec les institutions qui sont des tiers</a:t>
            </a:r>
          </a:p>
        </p:txBody>
      </p:sp>
      <p:sp>
        <p:nvSpPr>
          <p:cNvPr id="80" name="TextBox 79"/>
          <p:cNvSpPr txBox="1"/>
          <p:nvPr>
            <p:custDataLst>
              <p:tags r:id="rId26"/>
            </p:custDataLst>
          </p:nvPr>
        </p:nvSpPr>
        <p:spPr>
          <a:xfrm>
            <a:off x="5534167" y="4308396"/>
            <a:ext cx="1171941" cy="469872"/>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omptabiliser dans le grand livre général </a:t>
            </a:r>
          </a:p>
        </p:txBody>
      </p:sp>
      <p:sp>
        <p:nvSpPr>
          <p:cNvPr id="81" name="TextBox 80"/>
          <p:cNvSpPr txBox="1"/>
          <p:nvPr>
            <p:custDataLst>
              <p:tags r:id="rId27"/>
            </p:custDataLst>
          </p:nvPr>
        </p:nvSpPr>
        <p:spPr>
          <a:xfrm>
            <a:off x="7380458" y="4297458"/>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nérer un résumé de paiements de fin d’exercice</a:t>
            </a:r>
          </a:p>
        </p:txBody>
      </p:sp>
      <p:sp>
        <p:nvSpPr>
          <p:cNvPr id="83" name="TextBox 82"/>
          <p:cNvSpPr txBox="1"/>
          <p:nvPr>
            <p:custDataLst>
              <p:tags r:id="rId28"/>
            </p:custDataLst>
          </p:nvPr>
        </p:nvSpPr>
        <p:spPr>
          <a:xfrm>
            <a:off x="9576949" y="4369215"/>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Financement de la trésorerie</a:t>
            </a:r>
          </a:p>
        </p:txBody>
      </p:sp>
      <p:sp>
        <p:nvSpPr>
          <p:cNvPr id="84" name="Pentagon 83"/>
          <p:cNvSpPr/>
          <p:nvPr>
            <p:custDataLst>
              <p:tags r:id="rId29"/>
            </p:custDataLst>
          </p:nvPr>
        </p:nvSpPr>
        <p:spPr>
          <a:xfrm>
            <a:off x="6921587" y="4980823"/>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85" name="Pentagon 84"/>
          <p:cNvSpPr/>
          <p:nvPr>
            <p:custDataLst>
              <p:tags r:id="rId30"/>
            </p:custDataLst>
          </p:nvPr>
        </p:nvSpPr>
        <p:spPr>
          <a:xfrm>
            <a:off x="4791101" y="4981550"/>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86" name="Pentagon 85"/>
          <p:cNvSpPr/>
          <p:nvPr>
            <p:custDataLst>
              <p:tags r:id="rId31"/>
            </p:custDataLst>
          </p:nvPr>
        </p:nvSpPr>
        <p:spPr>
          <a:xfrm>
            <a:off x="2934508" y="4982277"/>
            <a:ext cx="4188371"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87" name="Pentagon 86"/>
          <p:cNvSpPr/>
          <p:nvPr>
            <p:custDataLst>
              <p:tags r:id="rId32"/>
            </p:custDataLst>
          </p:nvPr>
        </p:nvSpPr>
        <p:spPr>
          <a:xfrm>
            <a:off x="1814518" y="4970698"/>
            <a:ext cx="3365004"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88" name="Pentagon 87"/>
          <p:cNvSpPr/>
          <p:nvPr>
            <p:custDataLst>
              <p:tags r:id="rId33"/>
            </p:custDataLst>
          </p:nvPr>
        </p:nvSpPr>
        <p:spPr>
          <a:xfrm>
            <a:off x="811696" y="4982277"/>
            <a:ext cx="251341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89" name="TextBox 88"/>
          <p:cNvSpPr txBox="1"/>
          <p:nvPr>
            <p:custDataLst>
              <p:tags r:id="rId34"/>
            </p:custDataLst>
          </p:nvPr>
        </p:nvSpPr>
        <p:spPr>
          <a:xfrm>
            <a:off x="1139566" y="5222941"/>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Pièces justificatives des processus salariales</a:t>
            </a:r>
          </a:p>
        </p:txBody>
      </p:sp>
      <p:sp>
        <p:nvSpPr>
          <p:cNvPr id="90" name="TextBox 89"/>
          <p:cNvSpPr txBox="1"/>
          <p:nvPr>
            <p:custDataLst>
              <p:tags r:id="rId35"/>
            </p:custDataLst>
          </p:nvPr>
        </p:nvSpPr>
        <p:spPr>
          <a:xfrm>
            <a:off x="3578379" y="5247393"/>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Modifications à la paie</a:t>
            </a:r>
          </a:p>
        </p:txBody>
      </p:sp>
      <p:sp>
        <p:nvSpPr>
          <p:cNvPr id="91" name="TextBox 90"/>
          <p:cNvSpPr txBox="1"/>
          <p:nvPr>
            <p:custDataLst>
              <p:tags r:id="rId36"/>
            </p:custDataLst>
          </p:nvPr>
        </p:nvSpPr>
        <p:spPr>
          <a:xfrm>
            <a:off x="5534167" y="5246751"/>
            <a:ext cx="1171941" cy="325987"/>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Indemnité de cessation d’emploi</a:t>
            </a:r>
          </a:p>
        </p:txBody>
      </p:sp>
      <p:sp>
        <p:nvSpPr>
          <p:cNvPr id="92" name="TextBox 91"/>
          <p:cNvSpPr txBox="1"/>
          <p:nvPr>
            <p:custDataLst>
              <p:tags r:id="rId37"/>
            </p:custDataLst>
          </p:nvPr>
        </p:nvSpPr>
        <p:spPr>
          <a:xfrm>
            <a:off x="7380458" y="5163871"/>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données sur la paie des employés</a:t>
            </a:r>
          </a:p>
        </p:txBody>
      </p:sp>
      <p:sp>
        <p:nvSpPr>
          <p:cNvPr id="93" name="TextBox 92"/>
          <p:cNvSpPr txBox="1"/>
          <p:nvPr>
            <p:custDataLst>
              <p:tags r:id="rId38"/>
            </p:custDataLst>
          </p:nvPr>
        </p:nvSpPr>
        <p:spPr>
          <a:xfrm>
            <a:off x="9666656" y="5247393"/>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Problèmes non réclamés</a:t>
            </a:r>
          </a:p>
        </p:txBody>
      </p:sp>
      <p:sp>
        <p:nvSpPr>
          <p:cNvPr id="94" name="Pentagon 93"/>
          <p:cNvSpPr/>
          <p:nvPr>
            <p:custDataLst>
              <p:tags r:id="rId39"/>
            </p:custDataLst>
          </p:nvPr>
        </p:nvSpPr>
        <p:spPr>
          <a:xfrm>
            <a:off x="6921587" y="5809622"/>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95" name="Pentagon 94"/>
          <p:cNvSpPr/>
          <p:nvPr>
            <p:custDataLst>
              <p:tags r:id="rId40"/>
            </p:custDataLst>
          </p:nvPr>
        </p:nvSpPr>
        <p:spPr>
          <a:xfrm>
            <a:off x="4791101" y="5810349"/>
            <a:ext cx="4454588"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96" name="Pentagon 95"/>
          <p:cNvSpPr/>
          <p:nvPr>
            <p:custDataLst>
              <p:tags r:id="rId41"/>
            </p:custDataLst>
          </p:nvPr>
        </p:nvSpPr>
        <p:spPr>
          <a:xfrm>
            <a:off x="2934508" y="5811076"/>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97" name="Pentagon 96"/>
          <p:cNvSpPr/>
          <p:nvPr>
            <p:custDataLst>
              <p:tags r:id="rId42"/>
            </p:custDataLst>
          </p:nvPr>
        </p:nvSpPr>
        <p:spPr>
          <a:xfrm>
            <a:off x="1814518" y="5799497"/>
            <a:ext cx="336500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98" name="Pentagon 97"/>
          <p:cNvSpPr/>
          <p:nvPr>
            <p:custDataLst>
              <p:tags r:id="rId43"/>
            </p:custDataLst>
          </p:nvPr>
        </p:nvSpPr>
        <p:spPr>
          <a:xfrm>
            <a:off x="811696" y="5811076"/>
            <a:ext cx="251341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99" name="TextBox 98"/>
          <p:cNvSpPr txBox="1"/>
          <p:nvPr>
            <p:custDataLst>
              <p:tags r:id="rId44"/>
            </p:custDataLst>
          </p:nvPr>
        </p:nvSpPr>
        <p:spPr>
          <a:xfrm>
            <a:off x="1139566" y="6123683"/>
            <a:ext cx="1291258"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Annulations de processus</a:t>
            </a:r>
          </a:p>
        </p:txBody>
      </p:sp>
      <p:sp>
        <p:nvSpPr>
          <p:cNvPr id="100" name="TextBox 99"/>
          <p:cNvSpPr txBox="1"/>
          <p:nvPr>
            <p:custDataLst>
              <p:tags r:id="rId45"/>
            </p:custDataLst>
          </p:nvPr>
        </p:nvSpPr>
        <p:spPr>
          <a:xfrm>
            <a:off x="3578379" y="6076192"/>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change de données entrantes</a:t>
            </a:r>
          </a:p>
        </p:txBody>
      </p:sp>
      <p:sp>
        <p:nvSpPr>
          <p:cNvPr id="101" name="TextBox 100"/>
          <p:cNvSpPr txBox="1"/>
          <p:nvPr>
            <p:custDataLst>
              <p:tags r:id="rId46"/>
            </p:custDataLst>
          </p:nvPr>
        </p:nvSpPr>
        <p:spPr>
          <a:xfrm>
            <a:off x="5534167" y="6076192"/>
            <a:ext cx="1171941"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change de données sortantes</a:t>
            </a:r>
          </a:p>
        </p:txBody>
      </p:sp>
      <p:sp>
        <p:nvSpPr>
          <p:cNvPr id="102" name="TextBox 101"/>
          <p:cNvSpPr txBox="1"/>
          <p:nvPr>
            <p:custDataLst>
              <p:tags r:id="rId47"/>
            </p:custDataLst>
          </p:nvPr>
        </p:nvSpPr>
        <p:spPr>
          <a:xfrm>
            <a:off x="7380458" y="6063971"/>
            <a:ext cx="1045024" cy="325987"/>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Processus/distribution/hors cycle</a:t>
            </a:r>
          </a:p>
        </p:txBody>
      </p:sp>
      <p:sp>
        <p:nvSpPr>
          <p:cNvPr id="103" name="TextBox 102"/>
          <p:cNvSpPr txBox="1"/>
          <p:nvPr>
            <p:custDataLst>
              <p:tags r:id="rId48"/>
            </p:custDataLst>
          </p:nvPr>
        </p:nvSpPr>
        <p:spPr>
          <a:xfrm>
            <a:off x="9816138" y="6075465"/>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Attribution de répartition de coûts</a:t>
            </a:r>
          </a:p>
        </p:txBody>
      </p:sp>
      <p:sp>
        <p:nvSpPr>
          <p:cNvPr id="56" name="Rectangle 1"/>
          <p:cNvSpPr/>
          <p:nvPr>
            <p:custDataLst>
              <p:tags r:id="rId49"/>
            </p:custDataLst>
          </p:nvPr>
        </p:nvSpPr>
        <p:spPr>
          <a:xfrm>
            <a:off x="8471259" y="1504829"/>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7" name="TextBox 2"/>
          <p:cNvSpPr txBox="1"/>
          <p:nvPr>
            <p:custDataLst>
              <p:tags r:id="rId50"/>
            </p:custDataLst>
          </p:nvPr>
        </p:nvSpPr>
        <p:spPr>
          <a:xfrm>
            <a:off x="8471259" y="1588543"/>
            <a:ext cx="3387007" cy="1286506"/>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fr-CA" sz="1200" b="1" u="sng" dirty="0">
                <a:solidFill>
                  <a:schemeClr val="bg1"/>
                </a:solidFill>
              </a:rPr>
              <a:t>Légende</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Tableau du modèle de référence opérationnel des RH</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Recommandation d’EY à ajouter</a:t>
            </a:r>
          </a:p>
        </p:txBody>
      </p:sp>
      <p:sp>
        <p:nvSpPr>
          <p:cNvPr id="58" name="Rectangle 3"/>
          <p:cNvSpPr/>
          <p:nvPr>
            <p:custDataLst>
              <p:tags r:id="rId51"/>
            </p:custDataLst>
          </p:nvPr>
        </p:nvSpPr>
        <p:spPr>
          <a:xfrm>
            <a:off x="8628476" y="2033882"/>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9" name="Rectangle 4"/>
          <p:cNvSpPr/>
          <p:nvPr>
            <p:custDataLst>
              <p:tags r:id="rId52"/>
            </p:custDataLst>
          </p:nvPr>
        </p:nvSpPr>
        <p:spPr>
          <a:xfrm>
            <a:off x="8628476" y="2616132"/>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3914425349"/>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custDataLst>
              <p:tags r:id="rId1"/>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2"/>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29"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3"/>
            </p:custDataLst>
          </p:nvPr>
        </p:nvSpPr>
        <p:spPr>
          <a:xfrm>
            <a:off x="617421" y="660997"/>
            <a:ext cx="6976400" cy="799963"/>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paiements aux employés (suite)</a:t>
            </a:r>
          </a:p>
        </p:txBody>
      </p:sp>
      <p:cxnSp>
        <p:nvCxnSpPr>
          <p:cNvPr id="12" name="Straight Connector 11"/>
          <p:cNvCxnSpPr/>
          <p:nvPr>
            <p:custDataLst>
              <p:tags r:id="rId4"/>
            </p:custDataLst>
          </p:nvPr>
        </p:nvCxnSpPr>
        <p:spPr>
          <a:xfrm>
            <a:off x="617421" y="1460960"/>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p:custDataLst>
              <p:tags r:id="rId5"/>
            </p:custDataLst>
          </p:nvPr>
        </p:nvSpPr>
        <p:spPr>
          <a:xfrm>
            <a:off x="342894" y="1548426"/>
            <a:ext cx="11531600" cy="2930977"/>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19" name="Pentagon 18"/>
          <p:cNvSpPr/>
          <p:nvPr>
            <p:custDataLst>
              <p:tags r:id="rId6"/>
            </p:custDataLst>
          </p:nvPr>
        </p:nvSpPr>
        <p:spPr>
          <a:xfrm>
            <a:off x="9116917" y="2310793"/>
            <a:ext cx="257305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20" name="Pentagon 19"/>
          <p:cNvSpPr/>
          <p:nvPr>
            <p:custDataLst>
              <p:tags r:id="rId7"/>
            </p:custDataLst>
          </p:nvPr>
        </p:nvSpPr>
        <p:spPr>
          <a:xfrm>
            <a:off x="7791210" y="2310794"/>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21" name="Pentagon 20"/>
          <p:cNvSpPr/>
          <p:nvPr>
            <p:custDataLst>
              <p:tags r:id="rId8"/>
            </p:custDataLst>
          </p:nvPr>
        </p:nvSpPr>
        <p:spPr>
          <a:xfrm>
            <a:off x="6491621" y="2310795"/>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22" name="Pentagon 21"/>
          <p:cNvSpPr/>
          <p:nvPr>
            <p:custDataLst>
              <p:tags r:id="rId9"/>
            </p:custDataLst>
          </p:nvPr>
        </p:nvSpPr>
        <p:spPr>
          <a:xfrm>
            <a:off x="5192034" y="231079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25" name="Pentagon 24"/>
          <p:cNvSpPr/>
          <p:nvPr>
            <p:custDataLst>
              <p:tags r:id="rId10"/>
            </p:custDataLst>
          </p:nvPr>
        </p:nvSpPr>
        <p:spPr>
          <a:xfrm>
            <a:off x="3983352" y="2310796"/>
            <a:ext cx="2418254"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27" name="Rectangle 26"/>
          <p:cNvSpPr/>
          <p:nvPr>
            <p:custDataLst>
              <p:tags r:id="rId11"/>
            </p:custDataLst>
          </p:nvPr>
        </p:nvSpPr>
        <p:spPr>
          <a:xfrm>
            <a:off x="525774" y="1605895"/>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Heures et assiduité </a:t>
            </a:r>
          </a:p>
        </p:txBody>
      </p:sp>
      <p:cxnSp>
        <p:nvCxnSpPr>
          <p:cNvPr id="29" name="Straight Connector 28"/>
          <p:cNvCxnSpPr/>
          <p:nvPr>
            <p:custDataLst>
              <p:tags r:id="rId12"/>
            </p:custDataLst>
          </p:nvPr>
        </p:nvCxnSpPr>
        <p:spPr>
          <a:xfrm>
            <a:off x="617421" y="195834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31" name="Pentagon 30"/>
          <p:cNvSpPr/>
          <p:nvPr>
            <p:custDataLst>
              <p:tags r:id="rId13"/>
            </p:custDataLst>
          </p:nvPr>
        </p:nvSpPr>
        <p:spPr>
          <a:xfrm>
            <a:off x="2592858" y="2310796"/>
            <a:ext cx="2509161"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2" name="Pentagon 31"/>
          <p:cNvSpPr/>
          <p:nvPr>
            <p:custDataLst>
              <p:tags r:id="rId14"/>
            </p:custDataLst>
          </p:nvPr>
        </p:nvSpPr>
        <p:spPr>
          <a:xfrm>
            <a:off x="1640775" y="2310794"/>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3" name="Pentagon 32"/>
          <p:cNvSpPr/>
          <p:nvPr>
            <p:custDataLst>
              <p:tags r:id="rId15"/>
            </p:custDataLst>
          </p:nvPr>
        </p:nvSpPr>
        <p:spPr>
          <a:xfrm>
            <a:off x="826136" y="2310798"/>
            <a:ext cx="1675815"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4" name="TextBox 33"/>
          <p:cNvSpPr txBox="1"/>
          <p:nvPr>
            <p:custDataLst>
              <p:tags r:id="rId16"/>
            </p:custDataLst>
          </p:nvPr>
        </p:nvSpPr>
        <p:spPr>
          <a:xfrm>
            <a:off x="855704" y="2928869"/>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réer un horaire de travail</a:t>
            </a:r>
          </a:p>
        </p:txBody>
      </p:sp>
      <p:sp>
        <p:nvSpPr>
          <p:cNvPr id="35" name="TextBox 34"/>
          <p:cNvSpPr txBox="1"/>
          <p:nvPr>
            <p:custDataLst>
              <p:tags r:id="rId17"/>
            </p:custDataLst>
          </p:nvPr>
        </p:nvSpPr>
        <p:spPr>
          <a:xfrm>
            <a:off x="2557639" y="2839211"/>
            <a:ext cx="915031" cy="469872"/>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Répartir l’horaire de travail</a:t>
            </a:r>
          </a:p>
        </p:txBody>
      </p:sp>
      <p:sp>
        <p:nvSpPr>
          <p:cNvPr id="38" name="TextBox 37"/>
          <p:cNvSpPr txBox="1"/>
          <p:nvPr>
            <p:custDataLst>
              <p:tags r:id="rId18"/>
            </p:custDataLst>
          </p:nvPr>
        </p:nvSpPr>
        <p:spPr>
          <a:xfrm>
            <a:off x="3958398" y="2876901"/>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Traiter les demandes de congés</a:t>
            </a:r>
          </a:p>
        </p:txBody>
      </p:sp>
      <p:sp>
        <p:nvSpPr>
          <p:cNvPr id="39" name="TextBox 38"/>
          <p:cNvSpPr txBox="1"/>
          <p:nvPr>
            <p:custDataLst>
              <p:tags r:id="rId19"/>
            </p:custDataLst>
          </p:nvPr>
        </p:nvSpPr>
        <p:spPr>
          <a:xfrm>
            <a:off x="5200323" y="2839852"/>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Recueillir les données sur les heures quotidiennes et l’assiduité</a:t>
            </a:r>
          </a:p>
        </p:txBody>
      </p:sp>
      <p:sp>
        <p:nvSpPr>
          <p:cNvPr id="41" name="TextBox 40"/>
          <p:cNvSpPr txBox="1"/>
          <p:nvPr>
            <p:custDataLst>
              <p:tags r:id="rId20"/>
            </p:custDataLst>
          </p:nvPr>
        </p:nvSpPr>
        <p:spPr>
          <a:xfrm>
            <a:off x="6508101" y="2839852"/>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valuer les données sur les heures et les congés</a:t>
            </a:r>
          </a:p>
        </p:txBody>
      </p:sp>
      <p:sp>
        <p:nvSpPr>
          <p:cNvPr id="42" name="TextBox 41"/>
          <p:cNvSpPr txBox="1"/>
          <p:nvPr>
            <p:custDataLst>
              <p:tags r:id="rId21"/>
            </p:custDataLst>
          </p:nvPr>
        </p:nvSpPr>
        <p:spPr>
          <a:xfrm>
            <a:off x="7833808" y="2876901"/>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Modifier les données sur les heures et l’assiduité</a:t>
            </a:r>
          </a:p>
        </p:txBody>
      </p:sp>
      <p:sp>
        <p:nvSpPr>
          <p:cNvPr id="43" name="TextBox 42"/>
          <p:cNvSpPr txBox="1"/>
          <p:nvPr>
            <p:custDataLst>
              <p:tags r:id="rId22"/>
            </p:custDataLst>
          </p:nvPr>
        </p:nvSpPr>
        <p:spPr>
          <a:xfrm>
            <a:off x="9133708" y="2804960"/>
            <a:ext cx="86317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Envoyer les données sur les heures au fournisseur tiers</a:t>
            </a:r>
          </a:p>
        </p:txBody>
      </p:sp>
      <p:sp>
        <p:nvSpPr>
          <p:cNvPr id="44" name="TextBox 43"/>
          <p:cNvSpPr txBox="1"/>
          <p:nvPr>
            <p:custDataLst>
              <p:tags r:id="rId23"/>
            </p:custDataLst>
          </p:nvPr>
        </p:nvSpPr>
        <p:spPr>
          <a:xfrm>
            <a:off x="10433499" y="2839852"/>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estion de données sur les heures des employés</a:t>
            </a:r>
          </a:p>
        </p:txBody>
      </p:sp>
      <p:sp>
        <p:nvSpPr>
          <p:cNvPr id="28" name="Rectangle 1"/>
          <p:cNvSpPr/>
          <p:nvPr>
            <p:custDataLst>
              <p:tags r:id="rId24"/>
            </p:custDataLst>
          </p:nvPr>
        </p:nvSpPr>
        <p:spPr>
          <a:xfrm>
            <a:off x="8471259" y="4763530"/>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0" name="TextBox 2"/>
          <p:cNvSpPr txBox="1"/>
          <p:nvPr>
            <p:custDataLst>
              <p:tags r:id="rId25"/>
            </p:custDataLst>
          </p:nvPr>
        </p:nvSpPr>
        <p:spPr>
          <a:xfrm>
            <a:off x="8471259" y="4847244"/>
            <a:ext cx="3387007" cy="1286506"/>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fr-CA" sz="1200" b="1" u="sng" dirty="0">
                <a:solidFill>
                  <a:schemeClr val="bg1"/>
                </a:solidFill>
              </a:rPr>
              <a:t>Légende</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Tableau du modèle de référence opérationnel des RH</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Recommandation d’EY à ajouter</a:t>
            </a:r>
          </a:p>
        </p:txBody>
      </p:sp>
      <p:sp>
        <p:nvSpPr>
          <p:cNvPr id="36" name="Rectangle 3"/>
          <p:cNvSpPr/>
          <p:nvPr>
            <p:custDataLst>
              <p:tags r:id="rId26"/>
            </p:custDataLst>
          </p:nvPr>
        </p:nvSpPr>
        <p:spPr>
          <a:xfrm>
            <a:off x="8628476" y="5292583"/>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7" name="Rectangle 4"/>
          <p:cNvSpPr/>
          <p:nvPr>
            <p:custDataLst>
              <p:tags r:id="rId27"/>
            </p:custDataLst>
          </p:nvPr>
        </p:nvSpPr>
        <p:spPr>
          <a:xfrm>
            <a:off x="8628476" y="5846291"/>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533319229"/>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custDataLst>
              <p:tags r:id="rId1"/>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2"/>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48"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49"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3"/>
            </p:custDataLst>
          </p:nvPr>
        </p:nvSpPr>
        <p:spPr>
          <a:xfrm>
            <a:off x="582054" y="836743"/>
            <a:ext cx="8365214" cy="399981"/>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exemples de paiements aux employés </a:t>
            </a:r>
          </a:p>
        </p:txBody>
      </p:sp>
      <p:cxnSp>
        <p:nvCxnSpPr>
          <p:cNvPr id="12" name="Straight Connector 11"/>
          <p:cNvCxnSpPr/>
          <p:nvPr>
            <p:custDataLst>
              <p:tags r:id="rId4"/>
            </p:custDataLst>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4" name="Rectangle 33"/>
          <p:cNvSpPr/>
          <p:nvPr>
            <p:custDataLst>
              <p:tags r:id="rId5"/>
            </p:custDataLst>
          </p:nvPr>
        </p:nvSpPr>
        <p:spPr>
          <a:xfrm>
            <a:off x="261871" y="1432795"/>
            <a:ext cx="11640079"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35" name="Pentagon 34"/>
          <p:cNvSpPr/>
          <p:nvPr>
            <p:custDataLst>
              <p:tags r:id="rId6"/>
            </p:custDataLst>
          </p:nvPr>
        </p:nvSpPr>
        <p:spPr>
          <a:xfrm>
            <a:off x="9305408" y="212796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8" name="Pentagon 37"/>
          <p:cNvSpPr/>
          <p:nvPr>
            <p:custDataLst>
              <p:tags r:id="rId7"/>
            </p:custDataLst>
          </p:nvPr>
        </p:nvSpPr>
        <p:spPr>
          <a:xfrm>
            <a:off x="8294941" y="212796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9" name="Rectangle 38"/>
          <p:cNvSpPr/>
          <p:nvPr>
            <p:custDataLst>
              <p:tags r:id="rId8"/>
            </p:custDataLst>
          </p:nvPr>
        </p:nvSpPr>
        <p:spPr>
          <a:xfrm>
            <a:off x="444751" y="1490264"/>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Comptabiliser dans le grand livre général </a:t>
            </a:r>
          </a:p>
        </p:txBody>
      </p:sp>
      <p:cxnSp>
        <p:nvCxnSpPr>
          <p:cNvPr id="41" name="Straight Connector 40"/>
          <p:cNvCxnSpPr/>
          <p:nvPr>
            <p:custDataLst>
              <p:tags r:id="rId9"/>
            </p:custDataLst>
          </p:nvPr>
        </p:nvCxnSpPr>
        <p:spPr>
          <a:xfrm>
            <a:off x="536398" y="1842712"/>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2" name="Pentagon 41"/>
          <p:cNvSpPr/>
          <p:nvPr>
            <p:custDataLst>
              <p:tags r:id="rId10"/>
            </p:custDataLst>
          </p:nvPr>
        </p:nvSpPr>
        <p:spPr>
          <a:xfrm>
            <a:off x="7074128" y="212796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3" name="Pentagon 42"/>
          <p:cNvSpPr/>
          <p:nvPr>
            <p:custDataLst>
              <p:tags r:id="rId11"/>
            </p:custDataLst>
          </p:nvPr>
        </p:nvSpPr>
        <p:spPr>
          <a:xfrm>
            <a:off x="5836390" y="2127966"/>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4" name="Pentagon 43"/>
          <p:cNvSpPr/>
          <p:nvPr>
            <p:custDataLst>
              <p:tags r:id="rId12"/>
            </p:custDataLst>
          </p:nvPr>
        </p:nvSpPr>
        <p:spPr>
          <a:xfrm>
            <a:off x="4655240" y="212796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5" name="Pentagon 44"/>
          <p:cNvSpPr/>
          <p:nvPr>
            <p:custDataLst>
              <p:tags r:id="rId13"/>
            </p:custDataLst>
          </p:nvPr>
        </p:nvSpPr>
        <p:spPr>
          <a:xfrm>
            <a:off x="3579249" y="2139545"/>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6" name="Pentagon 45"/>
          <p:cNvSpPr/>
          <p:nvPr>
            <p:custDataLst>
              <p:tags r:id="rId14"/>
            </p:custDataLst>
          </p:nvPr>
        </p:nvSpPr>
        <p:spPr>
          <a:xfrm>
            <a:off x="2146079" y="2139545"/>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7" name="Pentagon 46"/>
          <p:cNvSpPr/>
          <p:nvPr>
            <p:custDataLst>
              <p:tags r:id="rId15"/>
            </p:custDataLst>
          </p:nvPr>
        </p:nvSpPr>
        <p:spPr>
          <a:xfrm>
            <a:off x="1144198" y="2139545"/>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8" name="Pentagon 47"/>
          <p:cNvSpPr/>
          <p:nvPr>
            <p:custDataLst>
              <p:tags r:id="rId16"/>
            </p:custDataLst>
          </p:nvPr>
        </p:nvSpPr>
        <p:spPr>
          <a:xfrm>
            <a:off x="536399" y="2139547"/>
            <a:ext cx="166149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9" name="TextBox 48"/>
          <p:cNvSpPr txBox="1"/>
          <p:nvPr>
            <p:custDataLst>
              <p:tags r:id="rId17"/>
            </p:custDataLst>
          </p:nvPr>
        </p:nvSpPr>
        <p:spPr>
          <a:xfrm>
            <a:off x="557495" y="2666617"/>
            <a:ext cx="1291258"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réer et télécharger des rapports finaux de paie </a:t>
            </a:r>
          </a:p>
        </p:txBody>
      </p:sp>
      <p:sp>
        <p:nvSpPr>
          <p:cNvPr id="50" name="TextBox 49"/>
          <p:cNvSpPr txBox="1"/>
          <p:nvPr>
            <p:custDataLst>
              <p:tags r:id="rId18"/>
            </p:custDataLst>
          </p:nvPr>
        </p:nvSpPr>
        <p:spPr>
          <a:xfrm>
            <a:off x="2152697" y="2786462"/>
            <a:ext cx="1044529"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Ouverture de dossiers</a:t>
            </a:r>
          </a:p>
        </p:txBody>
      </p:sp>
      <p:sp>
        <p:nvSpPr>
          <p:cNvPr id="51" name="TextBox 50"/>
          <p:cNvSpPr txBox="1"/>
          <p:nvPr>
            <p:custDataLst>
              <p:tags r:id="rId19"/>
            </p:custDataLst>
          </p:nvPr>
        </p:nvSpPr>
        <p:spPr>
          <a:xfrm>
            <a:off x="3426934" y="2582962"/>
            <a:ext cx="1050871" cy="544765"/>
          </a:xfrm>
          <a:prstGeom prst="rect">
            <a:avLst/>
          </a:prstGeom>
          <a:noFill/>
        </p:spPr>
        <p:txBody>
          <a:bodyPr wrap="square" lIns="0" tIns="36576" rIns="0" bIns="0" rtlCol="0" anchor="ctr">
            <a:spAutoFit/>
          </a:bodyPr>
          <a:lstStyle/>
          <a:p>
            <a:pPr algn="ctr"/>
            <a:r>
              <a:rPr lang="fr-CA" sz="1100" b="1" dirty="0">
                <a:solidFill>
                  <a:srgbClr val="646464">
                    <a:lumMod val="50000"/>
                  </a:srgbClr>
                </a:solidFill>
                <a:latin typeface="EYInterstate Light" panose="02000506000000020004" pitchFamily="2" charset="0"/>
              </a:rPr>
              <a:t>Télécharger et consulter le fichier du grand livre général</a:t>
            </a:r>
          </a:p>
        </p:txBody>
      </p:sp>
      <p:sp>
        <p:nvSpPr>
          <p:cNvPr id="52" name="TextBox 51"/>
          <p:cNvSpPr txBox="1"/>
          <p:nvPr>
            <p:custDataLst>
              <p:tags r:id="rId20"/>
            </p:custDataLst>
          </p:nvPr>
        </p:nvSpPr>
        <p:spPr>
          <a:xfrm>
            <a:off x="4764661" y="2522090"/>
            <a:ext cx="884430" cy="613758"/>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Déterminer si les éléments initiaux sont exacts</a:t>
            </a:r>
          </a:p>
        </p:txBody>
      </p:sp>
      <p:sp>
        <p:nvSpPr>
          <p:cNvPr id="53" name="TextBox 52"/>
          <p:cNvSpPr txBox="1"/>
          <p:nvPr>
            <p:custDataLst>
              <p:tags r:id="rId21"/>
            </p:custDataLst>
          </p:nvPr>
        </p:nvSpPr>
        <p:spPr>
          <a:xfrm>
            <a:off x="5874158" y="2405220"/>
            <a:ext cx="905473" cy="900246"/>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harger le fichier du grand livre général et envoyer le rapport des paiements par centre de coûts</a:t>
            </a:r>
          </a:p>
        </p:txBody>
      </p:sp>
      <p:sp>
        <p:nvSpPr>
          <p:cNvPr id="54" name="TextBox 53"/>
          <p:cNvSpPr txBox="1"/>
          <p:nvPr>
            <p:custDataLst>
              <p:tags r:id="rId22"/>
            </p:custDataLst>
          </p:nvPr>
        </p:nvSpPr>
        <p:spPr>
          <a:xfrm>
            <a:off x="7153478" y="2667600"/>
            <a:ext cx="1062113"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oncilier le grand livre général</a:t>
            </a:r>
          </a:p>
        </p:txBody>
      </p:sp>
      <p:sp>
        <p:nvSpPr>
          <p:cNvPr id="55" name="TextBox 54"/>
          <p:cNvSpPr txBox="1"/>
          <p:nvPr>
            <p:custDataLst>
              <p:tags r:id="rId23"/>
            </p:custDataLst>
          </p:nvPr>
        </p:nvSpPr>
        <p:spPr>
          <a:xfrm>
            <a:off x="8467652" y="2600077"/>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Déterminer si tous les éléments sont conciliés</a:t>
            </a:r>
          </a:p>
        </p:txBody>
      </p:sp>
      <p:sp>
        <p:nvSpPr>
          <p:cNvPr id="56" name="TextBox 55"/>
          <p:cNvSpPr txBox="1"/>
          <p:nvPr>
            <p:custDataLst>
              <p:tags r:id="rId24"/>
            </p:custDataLst>
          </p:nvPr>
        </p:nvSpPr>
        <p:spPr>
          <a:xfrm>
            <a:off x="9621733" y="2607660"/>
            <a:ext cx="949326"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Faire un suivi des éléments inexacts</a:t>
            </a:r>
          </a:p>
        </p:txBody>
      </p:sp>
      <p:sp>
        <p:nvSpPr>
          <p:cNvPr id="57" name="TextBox 56"/>
          <p:cNvSpPr txBox="1"/>
          <p:nvPr>
            <p:custDataLst>
              <p:tags r:id="rId25"/>
            </p:custDataLst>
          </p:nvPr>
        </p:nvSpPr>
        <p:spPr>
          <a:xfrm>
            <a:off x="10783259" y="2535718"/>
            <a:ext cx="81226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Approuver et comptabiliser dans le grand livre général</a:t>
            </a:r>
          </a:p>
        </p:txBody>
      </p:sp>
      <p:sp>
        <p:nvSpPr>
          <p:cNvPr id="58" name="Rectangle 57"/>
          <p:cNvSpPr/>
          <p:nvPr>
            <p:custDataLst>
              <p:tags r:id="rId26"/>
            </p:custDataLst>
          </p:nvPr>
        </p:nvSpPr>
        <p:spPr>
          <a:xfrm>
            <a:off x="240774" y="4046949"/>
            <a:ext cx="11661175"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59" name="Pentagon 58"/>
          <p:cNvSpPr/>
          <p:nvPr>
            <p:custDataLst>
              <p:tags r:id="rId27"/>
            </p:custDataLst>
          </p:nvPr>
        </p:nvSpPr>
        <p:spPr>
          <a:xfrm>
            <a:off x="9284311" y="47421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0" name="Pentagon 59"/>
          <p:cNvSpPr/>
          <p:nvPr>
            <p:custDataLst>
              <p:tags r:id="rId28"/>
            </p:custDataLst>
          </p:nvPr>
        </p:nvSpPr>
        <p:spPr>
          <a:xfrm>
            <a:off x="8273844" y="47421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1" name="Rectangle 60"/>
          <p:cNvSpPr/>
          <p:nvPr>
            <p:custDataLst>
              <p:tags r:id="rId29"/>
            </p:custDataLst>
          </p:nvPr>
        </p:nvSpPr>
        <p:spPr>
          <a:xfrm>
            <a:off x="423654" y="4104418"/>
            <a:ext cx="379872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Gérer les augmentations en fonction du mérite</a:t>
            </a:r>
          </a:p>
        </p:txBody>
      </p:sp>
      <p:cxnSp>
        <p:nvCxnSpPr>
          <p:cNvPr id="62" name="Straight Connector 61"/>
          <p:cNvCxnSpPr/>
          <p:nvPr>
            <p:custDataLst>
              <p:tags r:id="rId30"/>
            </p:custDataLst>
          </p:nvPr>
        </p:nvCxnSpPr>
        <p:spPr>
          <a:xfrm>
            <a:off x="515301" y="4456866"/>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3" name="Pentagon 62"/>
          <p:cNvSpPr/>
          <p:nvPr>
            <p:custDataLst>
              <p:tags r:id="rId31"/>
            </p:custDataLst>
          </p:nvPr>
        </p:nvSpPr>
        <p:spPr>
          <a:xfrm>
            <a:off x="7053031" y="47421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4" name="Pentagon 63"/>
          <p:cNvSpPr/>
          <p:nvPr>
            <p:custDataLst>
              <p:tags r:id="rId32"/>
            </p:custDataLst>
          </p:nvPr>
        </p:nvSpPr>
        <p:spPr>
          <a:xfrm>
            <a:off x="5815293" y="4742120"/>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5" name="Pentagon 64"/>
          <p:cNvSpPr/>
          <p:nvPr>
            <p:custDataLst>
              <p:tags r:id="rId33"/>
            </p:custDataLst>
          </p:nvPr>
        </p:nvSpPr>
        <p:spPr>
          <a:xfrm>
            <a:off x="4634143" y="47421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6" name="Pentagon 65"/>
          <p:cNvSpPr/>
          <p:nvPr>
            <p:custDataLst>
              <p:tags r:id="rId34"/>
            </p:custDataLst>
          </p:nvPr>
        </p:nvSpPr>
        <p:spPr>
          <a:xfrm>
            <a:off x="3558152" y="4753699"/>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7" name="Pentagon 66"/>
          <p:cNvSpPr/>
          <p:nvPr>
            <p:custDataLst>
              <p:tags r:id="rId35"/>
            </p:custDataLst>
          </p:nvPr>
        </p:nvSpPr>
        <p:spPr>
          <a:xfrm>
            <a:off x="2124982" y="475369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8" name="Pentagon 67"/>
          <p:cNvSpPr/>
          <p:nvPr>
            <p:custDataLst>
              <p:tags r:id="rId36"/>
            </p:custDataLst>
          </p:nvPr>
        </p:nvSpPr>
        <p:spPr>
          <a:xfrm>
            <a:off x="1123101" y="4753699"/>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9" name="Pentagon 68"/>
          <p:cNvSpPr/>
          <p:nvPr>
            <p:custDataLst>
              <p:tags r:id="rId37"/>
            </p:custDataLst>
          </p:nvPr>
        </p:nvSpPr>
        <p:spPr>
          <a:xfrm>
            <a:off x="515302" y="4753701"/>
            <a:ext cx="166149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0" name="TextBox 69"/>
          <p:cNvSpPr txBox="1"/>
          <p:nvPr>
            <p:custDataLst>
              <p:tags r:id="rId38"/>
            </p:custDataLst>
          </p:nvPr>
        </p:nvSpPr>
        <p:spPr>
          <a:xfrm>
            <a:off x="536398" y="5208830"/>
            <a:ext cx="1291258"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Déterminer le budget de rémunération recommandé</a:t>
            </a:r>
          </a:p>
        </p:txBody>
      </p:sp>
      <p:sp>
        <p:nvSpPr>
          <p:cNvPr id="71" name="TextBox 70"/>
          <p:cNvSpPr txBox="1"/>
          <p:nvPr>
            <p:custDataLst>
              <p:tags r:id="rId39"/>
            </p:custDataLst>
          </p:nvPr>
        </p:nvSpPr>
        <p:spPr>
          <a:xfrm>
            <a:off x="2131600" y="5184145"/>
            <a:ext cx="1044529" cy="613758"/>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Recevoir la documentation d’approbation sur le mérite</a:t>
            </a:r>
          </a:p>
        </p:txBody>
      </p:sp>
      <p:sp>
        <p:nvSpPr>
          <p:cNvPr id="72" name="TextBox 71"/>
          <p:cNvSpPr txBox="1"/>
          <p:nvPr>
            <p:custDataLst>
              <p:tags r:id="rId40"/>
            </p:custDataLst>
          </p:nvPr>
        </p:nvSpPr>
        <p:spPr>
          <a:xfrm>
            <a:off x="3312341" y="5208695"/>
            <a:ext cx="1050871" cy="544765"/>
          </a:xfrm>
          <a:prstGeom prst="rect">
            <a:avLst/>
          </a:prstGeom>
          <a:noFill/>
        </p:spPr>
        <p:txBody>
          <a:bodyPr wrap="square" lIns="0" tIns="36576" rIns="0" bIns="0" rtlCol="0" anchor="ctr">
            <a:spAutoFit/>
          </a:bodyPr>
          <a:lstStyle/>
          <a:p>
            <a:pPr algn="ctr"/>
            <a:r>
              <a:rPr lang="fr-CA" sz="1100" b="1" dirty="0">
                <a:solidFill>
                  <a:srgbClr val="646464">
                    <a:lumMod val="50000"/>
                  </a:srgbClr>
                </a:solidFill>
                <a:latin typeface="EYInterstate Light" panose="02000506000000020004" pitchFamily="2" charset="0"/>
              </a:rPr>
              <a:t>Créer un budget pour le mérite dans le système</a:t>
            </a:r>
          </a:p>
        </p:txBody>
      </p:sp>
      <p:sp>
        <p:nvSpPr>
          <p:cNvPr id="73" name="TextBox 72"/>
          <p:cNvSpPr txBox="1"/>
          <p:nvPr>
            <p:custDataLst>
              <p:tags r:id="rId41"/>
            </p:custDataLst>
          </p:nvPr>
        </p:nvSpPr>
        <p:spPr>
          <a:xfrm>
            <a:off x="4743564" y="4920418"/>
            <a:ext cx="884430" cy="104541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réer des règles d’admissibilité et des lignes directrices dans le système</a:t>
            </a:r>
          </a:p>
        </p:txBody>
      </p:sp>
      <p:sp>
        <p:nvSpPr>
          <p:cNvPr id="74" name="TextBox 73"/>
          <p:cNvSpPr txBox="1"/>
          <p:nvPr>
            <p:custDataLst>
              <p:tags r:id="rId42"/>
            </p:custDataLst>
          </p:nvPr>
        </p:nvSpPr>
        <p:spPr>
          <a:xfrm>
            <a:off x="6025486" y="5163261"/>
            <a:ext cx="940382"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Donner des conseils sur l’attribution au mérite pour les talents clés</a:t>
            </a:r>
          </a:p>
        </p:txBody>
      </p:sp>
      <p:sp>
        <p:nvSpPr>
          <p:cNvPr id="75" name="TextBox 74"/>
          <p:cNvSpPr txBox="1"/>
          <p:nvPr>
            <p:custDataLst>
              <p:tags r:id="rId43"/>
            </p:custDataLst>
          </p:nvPr>
        </p:nvSpPr>
        <p:spPr>
          <a:xfrm>
            <a:off x="7132381" y="5209811"/>
            <a:ext cx="1062113"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Attribuer une augmentation au mérite aux employés</a:t>
            </a:r>
          </a:p>
        </p:txBody>
      </p:sp>
      <p:sp>
        <p:nvSpPr>
          <p:cNvPr id="76" name="TextBox 75"/>
          <p:cNvSpPr txBox="1"/>
          <p:nvPr>
            <p:custDataLst>
              <p:tags r:id="rId44"/>
            </p:custDataLst>
          </p:nvPr>
        </p:nvSpPr>
        <p:spPr>
          <a:xfrm>
            <a:off x="8446555" y="5286174"/>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Soumettre pour approbation</a:t>
            </a:r>
          </a:p>
        </p:txBody>
      </p:sp>
      <p:sp>
        <p:nvSpPr>
          <p:cNvPr id="77" name="TextBox 76"/>
          <p:cNvSpPr txBox="1"/>
          <p:nvPr>
            <p:custDataLst>
              <p:tags r:id="rId45"/>
            </p:custDataLst>
          </p:nvPr>
        </p:nvSpPr>
        <p:spPr>
          <a:xfrm>
            <a:off x="9600636" y="5077930"/>
            <a:ext cx="949326" cy="756361"/>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Les gestionnaires rencontrent leurs subordonnés directs pour discuter des augmentations</a:t>
            </a:r>
          </a:p>
        </p:txBody>
      </p:sp>
      <p:sp>
        <p:nvSpPr>
          <p:cNvPr id="78" name="TextBox 77"/>
          <p:cNvSpPr txBox="1"/>
          <p:nvPr>
            <p:custDataLst>
              <p:tags r:id="rId46"/>
            </p:custDataLst>
          </p:nvPr>
        </p:nvSpPr>
        <p:spPr>
          <a:xfrm>
            <a:off x="10751658" y="5174839"/>
            <a:ext cx="81226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oncevoir et évaluer des sondages sur le salaire</a:t>
            </a:r>
          </a:p>
        </p:txBody>
      </p:sp>
    </p:spTree>
    <p:extLst>
      <p:ext uri="{BB962C8B-B14F-4D97-AF65-F5344CB8AC3E}">
        <p14:creationId xmlns:p14="http://schemas.microsoft.com/office/powerpoint/2010/main" val="2670032178"/>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custDataLst>
              <p:tags r:id="rId1"/>
            </p:custDataLst>
          </p:nvPr>
        </p:nvPicPr>
        <p:blipFill>
          <a:blip r:embed="rId4" cstate="email">
            <a:extLst>
              <a:ext uri="{28A0092B-C50C-407E-A947-70E740481C1C}">
                <a14:useLocalDpi xmlns:a14="http://schemas.microsoft.com/office/drawing/2010/main"/>
              </a:ext>
            </a:extLst>
          </a:blip>
          <a:stretch>
            <a:fillRect/>
          </a:stretch>
        </p:blipFill>
        <p:spPr>
          <a:xfrm flipH="1">
            <a:off x="3174" y="0"/>
            <a:ext cx="12203342" cy="6858000"/>
          </a:xfrm>
          <a:prstGeom prst="rect">
            <a:avLst/>
          </a:prstGeom>
        </p:spPr>
      </p:pic>
      <p:sp>
        <p:nvSpPr>
          <p:cNvPr id="38" name="TextBox 37"/>
          <p:cNvSpPr txBox="1"/>
          <p:nvPr>
            <p:custDataLst>
              <p:tags r:id="rId2"/>
            </p:custDataLst>
          </p:nvPr>
        </p:nvSpPr>
        <p:spPr>
          <a:xfrm>
            <a:off x="609600" y="534850"/>
            <a:ext cx="4111634" cy="1231106"/>
          </a:xfrm>
          <a:prstGeom prst="rect">
            <a:avLst/>
          </a:prstGeom>
          <a:noFill/>
        </p:spPr>
        <p:txBody>
          <a:bodyPr wrap="square" lIns="0" tIns="0" rIns="0" bIns="0" rtlCol="0" anchor="t" anchorCtr="0">
            <a:spAutoFit/>
          </a:bodyPr>
          <a:lstStyle/>
          <a:p>
            <a:r>
              <a:rPr lang="fr-CA" sz="6000" dirty="0">
                <a:solidFill>
                  <a:srgbClr val="FFFFFF"/>
                </a:solidFill>
                <a:latin typeface="EYInterstate Light" panose="02000506000000020004" pitchFamily="2" charset="0"/>
              </a:rPr>
              <a:t>Dîner </a:t>
            </a:r>
          </a:p>
          <a:p>
            <a:r>
              <a:rPr lang="fr-CA" sz="2000" dirty="0">
                <a:solidFill>
                  <a:srgbClr val="FFFFFF"/>
                </a:solidFill>
                <a:latin typeface="EYInterstate Light" panose="02000506000000020004" pitchFamily="2" charset="0"/>
              </a:rPr>
              <a:t>(60 minutes)</a:t>
            </a:r>
          </a:p>
        </p:txBody>
      </p:sp>
    </p:spTree>
    <p:extLst>
      <p:ext uri="{BB962C8B-B14F-4D97-AF65-F5344CB8AC3E}">
        <p14:creationId xmlns:p14="http://schemas.microsoft.com/office/powerpoint/2010/main" val="1841469278"/>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custDataLst>
              <p:tags r:id="rId1"/>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2"/>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15"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cxnSp>
        <p:nvCxnSpPr>
          <p:cNvPr id="12" name="Straight Connector 11"/>
          <p:cNvCxnSpPr/>
          <p:nvPr>
            <p:custDataLst>
              <p:tags r:id="rId3"/>
            </p:custDataLst>
          </p:nvPr>
        </p:nvCxnSpPr>
        <p:spPr>
          <a:xfrm>
            <a:off x="617421"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43" name="Freeform 9"/>
          <p:cNvSpPr>
            <a:spLocks noChangeAspect="1"/>
          </p:cNvSpPr>
          <p:nvPr>
            <p:custDataLst>
              <p:tags r:id="rId4"/>
            </p:custDataLst>
          </p:nvPr>
        </p:nvSpPr>
        <p:spPr bwMode="auto">
          <a:xfrm>
            <a:off x="6096463" y="1678449"/>
            <a:ext cx="2439733" cy="2218936"/>
          </a:xfrm>
          <a:custGeom>
            <a:avLst/>
            <a:gdLst/>
            <a:ahLst/>
            <a:cxnLst>
              <a:cxn ang="0">
                <a:pos x="0" y="0"/>
              </a:cxn>
              <a:cxn ang="0">
                <a:pos x="56" y="2"/>
              </a:cxn>
              <a:cxn ang="0">
                <a:pos x="111" y="6"/>
              </a:cxn>
              <a:cxn ang="0">
                <a:pos x="167" y="12"/>
              </a:cxn>
              <a:cxn ang="0">
                <a:pos x="221" y="22"/>
              </a:cxn>
              <a:cxn ang="0">
                <a:pos x="276" y="34"/>
              </a:cxn>
              <a:cxn ang="0">
                <a:pos x="329" y="49"/>
              </a:cxn>
              <a:cxn ang="0">
                <a:pos x="382" y="67"/>
              </a:cxn>
              <a:cxn ang="0">
                <a:pos x="408" y="76"/>
              </a:cxn>
              <a:cxn ang="0">
                <a:pos x="460" y="97"/>
              </a:cxn>
              <a:cxn ang="0">
                <a:pos x="510" y="121"/>
              </a:cxn>
              <a:cxn ang="0">
                <a:pos x="559" y="147"/>
              </a:cxn>
              <a:cxn ang="0">
                <a:pos x="608" y="176"/>
              </a:cxn>
              <a:cxn ang="0">
                <a:pos x="654" y="207"/>
              </a:cxn>
              <a:cxn ang="0">
                <a:pos x="699" y="240"/>
              </a:cxn>
              <a:cxn ang="0">
                <a:pos x="742" y="275"/>
              </a:cxn>
              <a:cxn ang="0">
                <a:pos x="773" y="303"/>
              </a:cxn>
              <a:cxn ang="0">
                <a:pos x="803" y="332"/>
              </a:cxn>
              <a:cxn ang="0">
                <a:pos x="841" y="373"/>
              </a:cxn>
              <a:cxn ang="0">
                <a:pos x="878" y="415"/>
              </a:cxn>
              <a:cxn ang="0">
                <a:pos x="912" y="459"/>
              </a:cxn>
              <a:cxn ang="0">
                <a:pos x="944" y="504"/>
              </a:cxn>
              <a:cxn ang="0">
                <a:pos x="974" y="551"/>
              </a:cxn>
              <a:cxn ang="0">
                <a:pos x="1001" y="601"/>
              </a:cxn>
              <a:cxn ang="0">
                <a:pos x="1026" y="650"/>
              </a:cxn>
              <a:cxn ang="0">
                <a:pos x="1049" y="701"/>
              </a:cxn>
              <a:cxn ang="0">
                <a:pos x="1069" y="753"/>
              </a:cxn>
              <a:cxn ang="0">
                <a:pos x="1086" y="806"/>
              </a:cxn>
              <a:cxn ang="0">
                <a:pos x="1101" y="859"/>
              </a:cxn>
              <a:cxn ang="0">
                <a:pos x="1114" y="914"/>
              </a:cxn>
              <a:cxn ang="0">
                <a:pos x="1123" y="969"/>
              </a:cxn>
              <a:cxn ang="0">
                <a:pos x="1130" y="1024"/>
              </a:cxn>
              <a:cxn ang="0">
                <a:pos x="1134" y="1079"/>
              </a:cxn>
              <a:cxn ang="0">
                <a:pos x="1135" y="1135"/>
              </a:cxn>
              <a:cxn ang="0">
                <a:pos x="340" y="1118"/>
              </a:cxn>
              <a:cxn ang="0">
                <a:pos x="338" y="1092"/>
              </a:cxn>
              <a:cxn ang="0">
                <a:pos x="335" y="1075"/>
              </a:cxn>
              <a:cxn ang="0">
                <a:pos x="330" y="1050"/>
              </a:cxn>
              <a:cxn ang="0">
                <a:pos x="320" y="1018"/>
              </a:cxn>
              <a:cxn ang="0">
                <a:pos x="307" y="988"/>
              </a:cxn>
              <a:cxn ang="0">
                <a:pos x="291" y="959"/>
              </a:cxn>
              <a:cxn ang="0">
                <a:pos x="273" y="932"/>
              </a:cxn>
              <a:cxn ang="0">
                <a:pos x="252" y="906"/>
              </a:cxn>
              <a:cxn ang="0">
                <a:pos x="229" y="883"/>
              </a:cxn>
              <a:cxn ang="0">
                <a:pos x="204" y="863"/>
              </a:cxn>
              <a:cxn ang="0">
                <a:pos x="177" y="844"/>
              </a:cxn>
              <a:cxn ang="0">
                <a:pos x="148" y="828"/>
              </a:cxn>
              <a:cxn ang="0">
                <a:pos x="125" y="819"/>
              </a:cxn>
              <a:cxn ang="0">
                <a:pos x="101" y="810"/>
              </a:cxn>
              <a:cxn ang="0">
                <a:pos x="85" y="806"/>
              </a:cxn>
              <a:cxn ang="0">
                <a:pos x="60" y="800"/>
              </a:cxn>
              <a:cxn ang="0">
                <a:pos x="35" y="797"/>
              </a:cxn>
              <a:cxn ang="0">
                <a:pos x="0" y="795"/>
              </a:cxn>
            </a:cxnLst>
            <a:rect l="0" t="0" r="r" b="b"/>
            <a:pathLst>
              <a:path w="1135" h="1135">
                <a:moveTo>
                  <a:pt x="0" y="795"/>
                </a:moveTo>
                <a:lnTo>
                  <a:pt x="0" y="0"/>
                </a:lnTo>
                <a:lnTo>
                  <a:pt x="28" y="1"/>
                </a:lnTo>
                <a:lnTo>
                  <a:pt x="56" y="2"/>
                </a:lnTo>
                <a:lnTo>
                  <a:pt x="84" y="3"/>
                </a:lnTo>
                <a:lnTo>
                  <a:pt x="111" y="6"/>
                </a:lnTo>
                <a:lnTo>
                  <a:pt x="139" y="9"/>
                </a:lnTo>
                <a:lnTo>
                  <a:pt x="167" y="12"/>
                </a:lnTo>
                <a:lnTo>
                  <a:pt x="194" y="17"/>
                </a:lnTo>
                <a:lnTo>
                  <a:pt x="221" y="22"/>
                </a:lnTo>
                <a:lnTo>
                  <a:pt x="249" y="28"/>
                </a:lnTo>
                <a:lnTo>
                  <a:pt x="276" y="34"/>
                </a:lnTo>
                <a:lnTo>
                  <a:pt x="303" y="41"/>
                </a:lnTo>
                <a:lnTo>
                  <a:pt x="329" y="49"/>
                </a:lnTo>
                <a:lnTo>
                  <a:pt x="356" y="58"/>
                </a:lnTo>
                <a:lnTo>
                  <a:pt x="382" y="67"/>
                </a:lnTo>
                <a:lnTo>
                  <a:pt x="395" y="71"/>
                </a:lnTo>
                <a:lnTo>
                  <a:pt x="408" y="76"/>
                </a:lnTo>
                <a:lnTo>
                  <a:pt x="434" y="87"/>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2" y="352"/>
                </a:lnTo>
                <a:lnTo>
                  <a:pt x="841" y="373"/>
                </a:lnTo>
                <a:lnTo>
                  <a:pt x="860" y="393"/>
                </a:lnTo>
                <a:lnTo>
                  <a:pt x="878" y="415"/>
                </a:lnTo>
                <a:lnTo>
                  <a:pt x="895" y="436"/>
                </a:lnTo>
                <a:lnTo>
                  <a:pt x="912" y="459"/>
                </a:lnTo>
                <a:lnTo>
                  <a:pt x="928" y="481"/>
                </a:lnTo>
                <a:lnTo>
                  <a:pt x="944" y="504"/>
                </a:lnTo>
                <a:lnTo>
                  <a:pt x="959" y="528"/>
                </a:lnTo>
                <a:lnTo>
                  <a:pt x="974" y="551"/>
                </a:lnTo>
                <a:lnTo>
                  <a:pt x="988" y="576"/>
                </a:lnTo>
                <a:lnTo>
                  <a:pt x="1001" y="601"/>
                </a:lnTo>
                <a:lnTo>
                  <a:pt x="1014" y="625"/>
                </a:lnTo>
                <a:lnTo>
                  <a:pt x="1026" y="650"/>
                </a:lnTo>
                <a:lnTo>
                  <a:pt x="1038" y="676"/>
                </a:lnTo>
                <a:lnTo>
                  <a:pt x="1049" y="701"/>
                </a:lnTo>
                <a:lnTo>
                  <a:pt x="1059" y="727"/>
                </a:lnTo>
                <a:lnTo>
                  <a:pt x="1069" y="753"/>
                </a:lnTo>
                <a:lnTo>
                  <a:pt x="1078" y="779"/>
                </a:lnTo>
                <a:lnTo>
                  <a:pt x="1086" y="806"/>
                </a:lnTo>
                <a:lnTo>
                  <a:pt x="1094" y="833"/>
                </a:lnTo>
                <a:lnTo>
                  <a:pt x="1101" y="859"/>
                </a:lnTo>
                <a:lnTo>
                  <a:pt x="1108" y="887"/>
                </a:lnTo>
                <a:lnTo>
                  <a:pt x="1114" y="914"/>
                </a:lnTo>
                <a:lnTo>
                  <a:pt x="1119" y="941"/>
                </a:lnTo>
                <a:lnTo>
                  <a:pt x="1123" y="969"/>
                </a:lnTo>
                <a:lnTo>
                  <a:pt x="1127" y="996"/>
                </a:lnTo>
                <a:lnTo>
                  <a:pt x="1130" y="1024"/>
                </a:lnTo>
                <a:lnTo>
                  <a:pt x="1132" y="1052"/>
                </a:lnTo>
                <a:lnTo>
                  <a:pt x="1134" y="1079"/>
                </a:lnTo>
                <a:lnTo>
                  <a:pt x="1135" y="1107"/>
                </a:lnTo>
                <a:lnTo>
                  <a:pt x="1135" y="1135"/>
                </a:lnTo>
                <a:lnTo>
                  <a:pt x="340" y="1135"/>
                </a:lnTo>
                <a:lnTo>
                  <a:pt x="340" y="1118"/>
                </a:lnTo>
                <a:lnTo>
                  <a:pt x="339" y="1100"/>
                </a:lnTo>
                <a:lnTo>
                  <a:pt x="338" y="1092"/>
                </a:lnTo>
                <a:lnTo>
                  <a:pt x="336" y="1083"/>
                </a:lnTo>
                <a:lnTo>
                  <a:pt x="335" y="1075"/>
                </a:lnTo>
                <a:lnTo>
                  <a:pt x="333" y="1067"/>
                </a:lnTo>
                <a:lnTo>
                  <a:pt x="330" y="1050"/>
                </a:lnTo>
                <a:lnTo>
                  <a:pt x="325" y="1034"/>
                </a:lnTo>
                <a:lnTo>
                  <a:pt x="320" y="1018"/>
                </a:lnTo>
                <a:lnTo>
                  <a:pt x="314" y="1003"/>
                </a:lnTo>
                <a:lnTo>
                  <a:pt x="307" y="988"/>
                </a:lnTo>
                <a:lnTo>
                  <a:pt x="299" y="973"/>
                </a:lnTo>
                <a:lnTo>
                  <a:pt x="291" y="959"/>
                </a:lnTo>
                <a:lnTo>
                  <a:pt x="282" y="945"/>
                </a:lnTo>
                <a:lnTo>
                  <a:pt x="273" y="932"/>
                </a:lnTo>
                <a:lnTo>
                  <a:pt x="263" y="919"/>
                </a:lnTo>
                <a:lnTo>
                  <a:pt x="252" y="906"/>
                </a:lnTo>
                <a:lnTo>
                  <a:pt x="241" y="895"/>
                </a:lnTo>
                <a:lnTo>
                  <a:pt x="229" y="883"/>
                </a:lnTo>
                <a:lnTo>
                  <a:pt x="217" y="873"/>
                </a:lnTo>
                <a:lnTo>
                  <a:pt x="204" y="863"/>
                </a:lnTo>
                <a:lnTo>
                  <a:pt x="190" y="853"/>
                </a:lnTo>
                <a:lnTo>
                  <a:pt x="177" y="844"/>
                </a:lnTo>
                <a:lnTo>
                  <a:pt x="162" y="836"/>
                </a:lnTo>
                <a:lnTo>
                  <a:pt x="148" y="828"/>
                </a:lnTo>
                <a:lnTo>
                  <a:pt x="133" y="822"/>
                </a:lnTo>
                <a:lnTo>
                  <a:pt x="125" y="819"/>
                </a:lnTo>
                <a:lnTo>
                  <a:pt x="117" y="816"/>
                </a:lnTo>
                <a:lnTo>
                  <a:pt x="101" y="810"/>
                </a:lnTo>
                <a:lnTo>
                  <a:pt x="93" y="808"/>
                </a:lnTo>
                <a:lnTo>
                  <a:pt x="85" y="806"/>
                </a:lnTo>
                <a:lnTo>
                  <a:pt x="69" y="802"/>
                </a:lnTo>
                <a:lnTo>
                  <a:pt x="60" y="800"/>
                </a:lnTo>
                <a:lnTo>
                  <a:pt x="52" y="799"/>
                </a:lnTo>
                <a:lnTo>
                  <a:pt x="35" y="797"/>
                </a:lnTo>
                <a:lnTo>
                  <a:pt x="18" y="795"/>
                </a:lnTo>
                <a:lnTo>
                  <a:pt x="0" y="795"/>
                </a:lnTo>
                <a:close/>
              </a:path>
            </a:pathLst>
          </a:custGeom>
          <a:solidFill>
            <a:srgbClr val="F2F2F2"/>
          </a:solidFill>
          <a:ln w="12700" cmpd="sng">
            <a:noFill/>
            <a:round/>
            <a:headEnd/>
            <a:tailEnd/>
          </a:ln>
        </p:spPr>
        <p:txBody>
          <a:bodyPr lIns="45720" rIns="45720" anchor="ctr" anchorCtr="1"/>
          <a:lstStyle/>
          <a:p>
            <a:pPr algn="ctr" fontAlgn="base">
              <a:spcBef>
                <a:spcPct val="0"/>
              </a:spcBef>
              <a:spcAft>
                <a:spcPct val="0"/>
              </a:spcAft>
              <a:defRPr/>
            </a:pPr>
            <a:endParaRPr lang="en-CA" sz="1000" b="1" kern="0" dirty="0">
              <a:solidFill>
                <a:srgbClr val="FFFFFF"/>
              </a:solidFill>
              <a:cs typeface="Arial" charset="0"/>
            </a:endParaRPr>
          </a:p>
        </p:txBody>
      </p:sp>
      <p:sp>
        <p:nvSpPr>
          <p:cNvPr id="44" name="Freeform 10"/>
          <p:cNvSpPr>
            <a:spLocks noChangeAspect="1"/>
          </p:cNvSpPr>
          <p:nvPr>
            <p:custDataLst>
              <p:tags r:id="rId5"/>
            </p:custDataLst>
          </p:nvPr>
        </p:nvSpPr>
        <p:spPr bwMode="auto">
          <a:xfrm>
            <a:off x="6096462" y="4026512"/>
            <a:ext cx="2439733" cy="2218936"/>
          </a:xfrm>
          <a:custGeom>
            <a:avLst/>
            <a:gdLst/>
            <a:ahLst/>
            <a:cxnLst>
              <a:cxn ang="0">
                <a:pos x="1135" y="0"/>
              </a:cxn>
              <a:cxn ang="0">
                <a:pos x="1134" y="56"/>
              </a:cxn>
              <a:cxn ang="0">
                <a:pos x="1130" y="111"/>
              </a:cxn>
              <a:cxn ang="0">
                <a:pos x="1123" y="166"/>
              </a:cxn>
              <a:cxn ang="0">
                <a:pos x="1113" y="221"/>
              </a:cxn>
              <a:cxn ang="0">
                <a:pos x="1101" y="276"/>
              </a:cxn>
              <a:cxn ang="0">
                <a:pos x="1086" y="329"/>
              </a:cxn>
              <a:cxn ang="0">
                <a:pos x="1069" y="382"/>
              </a:cxn>
              <a:cxn ang="0">
                <a:pos x="1059" y="408"/>
              </a:cxn>
              <a:cxn ang="0">
                <a:pos x="1038" y="460"/>
              </a:cxn>
              <a:cxn ang="0">
                <a:pos x="1014" y="510"/>
              </a:cxn>
              <a:cxn ang="0">
                <a:pos x="988" y="559"/>
              </a:cxn>
              <a:cxn ang="0">
                <a:pos x="960" y="608"/>
              </a:cxn>
              <a:cxn ang="0">
                <a:pos x="929" y="654"/>
              </a:cxn>
              <a:cxn ang="0">
                <a:pos x="896" y="699"/>
              </a:cxn>
              <a:cxn ang="0">
                <a:pos x="860" y="742"/>
              </a:cxn>
              <a:cxn ang="0">
                <a:pos x="832" y="773"/>
              </a:cxn>
              <a:cxn ang="0">
                <a:pos x="803" y="803"/>
              </a:cxn>
              <a:cxn ang="0">
                <a:pos x="763" y="841"/>
              </a:cxn>
              <a:cxn ang="0">
                <a:pos x="721" y="878"/>
              </a:cxn>
              <a:cxn ang="0">
                <a:pos x="677" y="912"/>
              </a:cxn>
              <a:cxn ang="0">
                <a:pos x="631" y="944"/>
              </a:cxn>
              <a:cxn ang="0">
                <a:pos x="584" y="974"/>
              </a:cxn>
              <a:cxn ang="0">
                <a:pos x="535" y="1001"/>
              </a:cxn>
              <a:cxn ang="0">
                <a:pos x="485" y="1026"/>
              </a:cxn>
              <a:cxn ang="0">
                <a:pos x="434" y="1049"/>
              </a:cxn>
              <a:cxn ang="0">
                <a:pos x="382" y="1069"/>
              </a:cxn>
              <a:cxn ang="0">
                <a:pos x="329" y="1086"/>
              </a:cxn>
              <a:cxn ang="0">
                <a:pos x="276" y="1101"/>
              </a:cxn>
              <a:cxn ang="0">
                <a:pos x="222" y="1114"/>
              </a:cxn>
              <a:cxn ang="0">
                <a:pos x="167" y="1123"/>
              </a:cxn>
              <a:cxn ang="0">
                <a:pos x="112" y="1130"/>
              </a:cxn>
              <a:cxn ang="0">
                <a:pos x="56" y="1134"/>
              </a:cxn>
              <a:cxn ang="0">
                <a:pos x="0" y="1135"/>
              </a:cxn>
              <a:cxn ang="0">
                <a:pos x="18" y="340"/>
              </a:cxn>
              <a:cxn ang="0">
                <a:pos x="44" y="338"/>
              </a:cxn>
              <a:cxn ang="0">
                <a:pos x="60" y="335"/>
              </a:cxn>
              <a:cxn ang="0">
                <a:pos x="85" y="330"/>
              </a:cxn>
              <a:cxn ang="0">
                <a:pos x="117" y="320"/>
              </a:cxn>
              <a:cxn ang="0">
                <a:pos x="148" y="307"/>
              </a:cxn>
              <a:cxn ang="0">
                <a:pos x="177" y="291"/>
              </a:cxn>
              <a:cxn ang="0">
                <a:pos x="204" y="273"/>
              </a:cxn>
              <a:cxn ang="0">
                <a:pos x="229" y="252"/>
              </a:cxn>
              <a:cxn ang="0">
                <a:pos x="252" y="229"/>
              </a:cxn>
              <a:cxn ang="0">
                <a:pos x="273" y="204"/>
              </a:cxn>
              <a:cxn ang="0">
                <a:pos x="291" y="176"/>
              </a:cxn>
              <a:cxn ang="0">
                <a:pos x="307" y="148"/>
              </a:cxn>
              <a:cxn ang="0">
                <a:pos x="317" y="125"/>
              </a:cxn>
              <a:cxn ang="0">
                <a:pos x="325" y="101"/>
              </a:cxn>
              <a:cxn ang="0">
                <a:pos x="330" y="85"/>
              </a:cxn>
              <a:cxn ang="0">
                <a:pos x="335" y="60"/>
              </a:cxn>
              <a:cxn ang="0">
                <a:pos x="339" y="35"/>
              </a:cxn>
              <a:cxn ang="0">
                <a:pos x="340" y="0"/>
              </a:cxn>
            </a:cxnLst>
            <a:rect l="0" t="0" r="r" b="b"/>
            <a:pathLst>
              <a:path w="1135" h="1135">
                <a:moveTo>
                  <a:pt x="340" y="0"/>
                </a:moveTo>
                <a:lnTo>
                  <a:pt x="1135" y="0"/>
                </a:lnTo>
                <a:lnTo>
                  <a:pt x="1135" y="28"/>
                </a:lnTo>
                <a:lnTo>
                  <a:pt x="1134" y="56"/>
                </a:lnTo>
                <a:lnTo>
                  <a:pt x="1132" y="84"/>
                </a:lnTo>
                <a:lnTo>
                  <a:pt x="1130" y="111"/>
                </a:lnTo>
                <a:lnTo>
                  <a:pt x="1127" y="139"/>
                </a:lnTo>
                <a:lnTo>
                  <a:pt x="1123" y="166"/>
                </a:lnTo>
                <a:lnTo>
                  <a:pt x="1118" y="194"/>
                </a:lnTo>
                <a:lnTo>
                  <a:pt x="1113" y="221"/>
                </a:lnTo>
                <a:lnTo>
                  <a:pt x="1108" y="249"/>
                </a:lnTo>
                <a:lnTo>
                  <a:pt x="1101" y="276"/>
                </a:lnTo>
                <a:lnTo>
                  <a:pt x="1094" y="302"/>
                </a:lnTo>
                <a:lnTo>
                  <a:pt x="1086" y="329"/>
                </a:lnTo>
                <a:lnTo>
                  <a:pt x="1078" y="356"/>
                </a:lnTo>
                <a:lnTo>
                  <a:pt x="1069" y="382"/>
                </a:lnTo>
                <a:lnTo>
                  <a:pt x="1064" y="395"/>
                </a:lnTo>
                <a:lnTo>
                  <a:pt x="1059" y="408"/>
                </a:lnTo>
                <a:lnTo>
                  <a:pt x="1049" y="434"/>
                </a:lnTo>
                <a:lnTo>
                  <a:pt x="1038" y="460"/>
                </a:lnTo>
                <a:lnTo>
                  <a:pt x="1026" y="485"/>
                </a:lnTo>
                <a:lnTo>
                  <a:pt x="1014" y="510"/>
                </a:lnTo>
                <a:lnTo>
                  <a:pt x="1001" y="535"/>
                </a:lnTo>
                <a:lnTo>
                  <a:pt x="988" y="559"/>
                </a:lnTo>
                <a:lnTo>
                  <a:pt x="974" y="584"/>
                </a:lnTo>
                <a:lnTo>
                  <a:pt x="960" y="608"/>
                </a:lnTo>
                <a:lnTo>
                  <a:pt x="944" y="631"/>
                </a:lnTo>
                <a:lnTo>
                  <a:pt x="929" y="654"/>
                </a:lnTo>
                <a:lnTo>
                  <a:pt x="912" y="677"/>
                </a:lnTo>
                <a:lnTo>
                  <a:pt x="896" y="699"/>
                </a:lnTo>
                <a:lnTo>
                  <a:pt x="878" y="721"/>
                </a:lnTo>
                <a:lnTo>
                  <a:pt x="860" y="742"/>
                </a:lnTo>
                <a:lnTo>
                  <a:pt x="842" y="763"/>
                </a:lnTo>
                <a:lnTo>
                  <a:pt x="832" y="773"/>
                </a:lnTo>
                <a:lnTo>
                  <a:pt x="823" y="783"/>
                </a:lnTo>
                <a:lnTo>
                  <a:pt x="803" y="803"/>
                </a:lnTo>
                <a:lnTo>
                  <a:pt x="783" y="822"/>
                </a:lnTo>
                <a:lnTo>
                  <a:pt x="763" y="841"/>
                </a:lnTo>
                <a:lnTo>
                  <a:pt x="742" y="860"/>
                </a:lnTo>
                <a:lnTo>
                  <a:pt x="721" y="878"/>
                </a:lnTo>
                <a:lnTo>
                  <a:pt x="699" y="895"/>
                </a:lnTo>
                <a:lnTo>
                  <a:pt x="677" y="912"/>
                </a:lnTo>
                <a:lnTo>
                  <a:pt x="654" y="928"/>
                </a:lnTo>
                <a:lnTo>
                  <a:pt x="631" y="944"/>
                </a:lnTo>
                <a:lnTo>
                  <a:pt x="608" y="959"/>
                </a:lnTo>
                <a:lnTo>
                  <a:pt x="584" y="974"/>
                </a:lnTo>
                <a:lnTo>
                  <a:pt x="559" y="988"/>
                </a:lnTo>
                <a:lnTo>
                  <a:pt x="535" y="1001"/>
                </a:lnTo>
                <a:lnTo>
                  <a:pt x="510" y="1014"/>
                </a:lnTo>
                <a:lnTo>
                  <a:pt x="485" y="1026"/>
                </a:lnTo>
                <a:lnTo>
                  <a:pt x="460" y="1038"/>
                </a:lnTo>
                <a:lnTo>
                  <a:pt x="434" y="1049"/>
                </a:lnTo>
                <a:lnTo>
                  <a:pt x="408" y="1059"/>
                </a:lnTo>
                <a:lnTo>
                  <a:pt x="382" y="1069"/>
                </a:lnTo>
                <a:lnTo>
                  <a:pt x="356" y="1078"/>
                </a:lnTo>
                <a:lnTo>
                  <a:pt x="329" y="1086"/>
                </a:lnTo>
                <a:lnTo>
                  <a:pt x="303" y="1094"/>
                </a:lnTo>
                <a:lnTo>
                  <a:pt x="276" y="1101"/>
                </a:lnTo>
                <a:lnTo>
                  <a:pt x="249" y="1108"/>
                </a:lnTo>
                <a:lnTo>
                  <a:pt x="222" y="1114"/>
                </a:lnTo>
                <a:lnTo>
                  <a:pt x="194" y="1119"/>
                </a:lnTo>
                <a:lnTo>
                  <a:pt x="167" y="1123"/>
                </a:lnTo>
                <a:lnTo>
                  <a:pt x="139" y="1127"/>
                </a:lnTo>
                <a:lnTo>
                  <a:pt x="112" y="1130"/>
                </a:lnTo>
                <a:lnTo>
                  <a:pt x="84" y="1132"/>
                </a:lnTo>
                <a:lnTo>
                  <a:pt x="56" y="1134"/>
                </a:lnTo>
                <a:lnTo>
                  <a:pt x="28" y="1135"/>
                </a:lnTo>
                <a:lnTo>
                  <a:pt x="0" y="1135"/>
                </a:lnTo>
                <a:lnTo>
                  <a:pt x="0" y="340"/>
                </a:lnTo>
                <a:lnTo>
                  <a:pt x="18" y="340"/>
                </a:lnTo>
                <a:lnTo>
                  <a:pt x="35" y="339"/>
                </a:lnTo>
                <a:lnTo>
                  <a:pt x="44" y="338"/>
                </a:lnTo>
                <a:lnTo>
                  <a:pt x="52" y="336"/>
                </a:lnTo>
                <a:lnTo>
                  <a:pt x="60" y="335"/>
                </a:lnTo>
                <a:lnTo>
                  <a:pt x="69" y="333"/>
                </a:lnTo>
                <a:lnTo>
                  <a:pt x="85" y="330"/>
                </a:lnTo>
                <a:lnTo>
                  <a:pt x="101" y="325"/>
                </a:lnTo>
                <a:lnTo>
                  <a:pt x="117" y="320"/>
                </a:lnTo>
                <a:lnTo>
                  <a:pt x="133" y="314"/>
                </a:lnTo>
                <a:lnTo>
                  <a:pt x="148" y="307"/>
                </a:lnTo>
                <a:lnTo>
                  <a:pt x="162" y="299"/>
                </a:lnTo>
                <a:lnTo>
                  <a:pt x="177" y="291"/>
                </a:lnTo>
                <a:lnTo>
                  <a:pt x="190" y="282"/>
                </a:lnTo>
                <a:lnTo>
                  <a:pt x="204" y="273"/>
                </a:lnTo>
                <a:lnTo>
                  <a:pt x="217" y="263"/>
                </a:lnTo>
                <a:lnTo>
                  <a:pt x="229" y="252"/>
                </a:lnTo>
                <a:lnTo>
                  <a:pt x="241" y="241"/>
                </a:lnTo>
                <a:lnTo>
                  <a:pt x="252" y="229"/>
                </a:lnTo>
                <a:lnTo>
                  <a:pt x="263" y="216"/>
                </a:lnTo>
                <a:lnTo>
                  <a:pt x="273" y="204"/>
                </a:lnTo>
                <a:lnTo>
                  <a:pt x="282" y="190"/>
                </a:lnTo>
                <a:lnTo>
                  <a:pt x="291" y="176"/>
                </a:lnTo>
                <a:lnTo>
                  <a:pt x="299" y="162"/>
                </a:lnTo>
                <a:lnTo>
                  <a:pt x="307" y="148"/>
                </a:lnTo>
                <a:lnTo>
                  <a:pt x="314" y="133"/>
                </a:lnTo>
                <a:lnTo>
                  <a:pt x="317" y="125"/>
                </a:lnTo>
                <a:lnTo>
                  <a:pt x="320" y="117"/>
                </a:lnTo>
                <a:lnTo>
                  <a:pt x="325" y="101"/>
                </a:lnTo>
                <a:lnTo>
                  <a:pt x="328" y="93"/>
                </a:lnTo>
                <a:lnTo>
                  <a:pt x="330" y="85"/>
                </a:lnTo>
                <a:lnTo>
                  <a:pt x="333" y="69"/>
                </a:lnTo>
                <a:lnTo>
                  <a:pt x="335" y="60"/>
                </a:lnTo>
                <a:lnTo>
                  <a:pt x="336" y="52"/>
                </a:lnTo>
                <a:lnTo>
                  <a:pt x="339" y="35"/>
                </a:lnTo>
                <a:lnTo>
                  <a:pt x="340" y="18"/>
                </a:lnTo>
                <a:lnTo>
                  <a:pt x="340" y="0"/>
                </a:lnTo>
                <a:close/>
              </a:path>
            </a:pathLst>
          </a:custGeom>
          <a:solidFill>
            <a:srgbClr val="CCCBCD"/>
          </a:solidFill>
          <a:ln w="12700" cmpd="sng">
            <a:noFill/>
            <a:round/>
            <a:headEnd/>
            <a:tailEnd/>
          </a:ln>
        </p:spPr>
        <p:txBody>
          <a:bodyPr lIns="45720" rIns="45720" anchor="ctr" anchorCtr="1"/>
          <a:lstStyle/>
          <a:p>
            <a:pPr algn="ctr" fontAlgn="base">
              <a:spcBef>
                <a:spcPct val="0"/>
              </a:spcBef>
              <a:spcAft>
                <a:spcPct val="0"/>
              </a:spcAft>
              <a:defRPr/>
            </a:pPr>
            <a:endParaRPr lang="en-CA" sz="1000" b="1" kern="0" dirty="0">
              <a:solidFill>
                <a:srgbClr val="FFFFFF"/>
              </a:solidFill>
              <a:cs typeface="Arial" charset="0"/>
            </a:endParaRPr>
          </a:p>
        </p:txBody>
      </p:sp>
      <p:sp>
        <p:nvSpPr>
          <p:cNvPr id="45" name="Freeform 11"/>
          <p:cNvSpPr>
            <a:spLocks noChangeAspect="1"/>
          </p:cNvSpPr>
          <p:nvPr>
            <p:custDataLst>
              <p:tags r:id="rId6"/>
            </p:custDataLst>
          </p:nvPr>
        </p:nvSpPr>
        <p:spPr bwMode="auto">
          <a:xfrm>
            <a:off x="3507745" y="4026512"/>
            <a:ext cx="2439733" cy="2218936"/>
          </a:xfrm>
          <a:custGeom>
            <a:avLst/>
            <a:gdLst/>
            <a:ahLst/>
            <a:cxnLst>
              <a:cxn ang="0">
                <a:pos x="1135" y="1135"/>
              </a:cxn>
              <a:cxn ang="0">
                <a:pos x="1080" y="1134"/>
              </a:cxn>
              <a:cxn ang="0">
                <a:pos x="1024" y="1130"/>
              </a:cxn>
              <a:cxn ang="0">
                <a:pos x="969" y="1123"/>
              </a:cxn>
              <a:cxn ang="0">
                <a:pos x="914" y="1113"/>
              </a:cxn>
              <a:cxn ang="0">
                <a:pos x="860" y="1101"/>
              </a:cxn>
              <a:cxn ang="0">
                <a:pos x="806" y="1086"/>
              </a:cxn>
              <a:cxn ang="0">
                <a:pos x="753" y="1069"/>
              </a:cxn>
              <a:cxn ang="0">
                <a:pos x="727" y="1059"/>
              </a:cxn>
              <a:cxn ang="0">
                <a:pos x="676" y="1038"/>
              </a:cxn>
              <a:cxn ang="0">
                <a:pos x="625" y="1014"/>
              </a:cxn>
              <a:cxn ang="0">
                <a:pos x="576" y="988"/>
              </a:cxn>
              <a:cxn ang="0">
                <a:pos x="528" y="959"/>
              </a:cxn>
              <a:cxn ang="0">
                <a:pos x="481" y="929"/>
              </a:cxn>
              <a:cxn ang="0">
                <a:pos x="436" y="895"/>
              </a:cxn>
              <a:cxn ang="0">
                <a:pos x="393" y="860"/>
              </a:cxn>
              <a:cxn ang="0">
                <a:pos x="362" y="832"/>
              </a:cxn>
              <a:cxn ang="0">
                <a:pos x="332" y="803"/>
              </a:cxn>
              <a:cxn ang="0">
                <a:pos x="294" y="763"/>
              </a:cxn>
              <a:cxn ang="0">
                <a:pos x="258" y="720"/>
              </a:cxn>
              <a:cxn ang="0">
                <a:pos x="223" y="677"/>
              </a:cxn>
              <a:cxn ang="0">
                <a:pos x="191" y="631"/>
              </a:cxn>
              <a:cxn ang="0">
                <a:pos x="162" y="584"/>
              </a:cxn>
              <a:cxn ang="0">
                <a:pos x="134" y="535"/>
              </a:cxn>
              <a:cxn ang="0">
                <a:pos x="109" y="485"/>
              </a:cxn>
              <a:cxn ang="0">
                <a:pos x="87" y="434"/>
              </a:cxn>
              <a:cxn ang="0">
                <a:pos x="67" y="382"/>
              </a:cxn>
              <a:cxn ang="0">
                <a:pos x="49" y="329"/>
              </a:cxn>
              <a:cxn ang="0">
                <a:pos x="34" y="276"/>
              </a:cxn>
              <a:cxn ang="0">
                <a:pos x="22" y="221"/>
              </a:cxn>
              <a:cxn ang="0">
                <a:pos x="12" y="167"/>
              </a:cxn>
              <a:cxn ang="0">
                <a:pos x="5" y="111"/>
              </a:cxn>
              <a:cxn ang="0">
                <a:pos x="1" y="56"/>
              </a:cxn>
              <a:cxn ang="0">
                <a:pos x="0" y="0"/>
              </a:cxn>
              <a:cxn ang="0">
                <a:pos x="796" y="18"/>
              </a:cxn>
              <a:cxn ang="0">
                <a:pos x="798" y="43"/>
              </a:cxn>
              <a:cxn ang="0">
                <a:pos x="800" y="60"/>
              </a:cxn>
              <a:cxn ang="0">
                <a:pos x="806" y="85"/>
              </a:cxn>
              <a:cxn ang="0">
                <a:pos x="816" y="117"/>
              </a:cxn>
              <a:cxn ang="0">
                <a:pos x="829" y="148"/>
              </a:cxn>
              <a:cxn ang="0">
                <a:pos x="844" y="176"/>
              </a:cxn>
              <a:cxn ang="0">
                <a:pos x="863" y="204"/>
              </a:cxn>
              <a:cxn ang="0">
                <a:pos x="883" y="229"/>
              </a:cxn>
              <a:cxn ang="0">
                <a:pos x="907" y="252"/>
              </a:cxn>
              <a:cxn ang="0">
                <a:pos x="932" y="273"/>
              </a:cxn>
              <a:cxn ang="0">
                <a:pos x="959" y="291"/>
              </a:cxn>
              <a:cxn ang="0">
                <a:pos x="988" y="307"/>
              </a:cxn>
              <a:cxn ang="0">
                <a:pos x="1011" y="317"/>
              </a:cxn>
              <a:cxn ang="0">
                <a:pos x="1034" y="325"/>
              </a:cxn>
              <a:cxn ang="0">
                <a:pos x="1050" y="330"/>
              </a:cxn>
              <a:cxn ang="0">
                <a:pos x="1075" y="335"/>
              </a:cxn>
              <a:cxn ang="0">
                <a:pos x="1100" y="339"/>
              </a:cxn>
              <a:cxn ang="0">
                <a:pos x="1135" y="340"/>
              </a:cxn>
            </a:cxnLst>
            <a:rect l="0" t="0" r="r" b="b"/>
            <a:pathLst>
              <a:path w="1135" h="1135">
                <a:moveTo>
                  <a:pt x="1135" y="340"/>
                </a:moveTo>
                <a:lnTo>
                  <a:pt x="1135" y="1135"/>
                </a:lnTo>
                <a:lnTo>
                  <a:pt x="1107" y="1135"/>
                </a:lnTo>
                <a:lnTo>
                  <a:pt x="1080" y="1134"/>
                </a:lnTo>
                <a:lnTo>
                  <a:pt x="1052" y="1132"/>
                </a:lnTo>
                <a:lnTo>
                  <a:pt x="1024" y="1130"/>
                </a:lnTo>
                <a:lnTo>
                  <a:pt x="996" y="1126"/>
                </a:lnTo>
                <a:lnTo>
                  <a:pt x="969" y="1123"/>
                </a:lnTo>
                <a:lnTo>
                  <a:pt x="941" y="1118"/>
                </a:lnTo>
                <a:lnTo>
                  <a:pt x="914" y="1113"/>
                </a:lnTo>
                <a:lnTo>
                  <a:pt x="887" y="1107"/>
                </a:lnTo>
                <a:lnTo>
                  <a:pt x="860" y="1101"/>
                </a:lnTo>
                <a:lnTo>
                  <a:pt x="833" y="1094"/>
                </a:lnTo>
                <a:lnTo>
                  <a:pt x="806" y="1086"/>
                </a:lnTo>
                <a:lnTo>
                  <a:pt x="780" y="1078"/>
                </a:lnTo>
                <a:lnTo>
                  <a:pt x="753" y="1069"/>
                </a:lnTo>
                <a:lnTo>
                  <a:pt x="740" y="1064"/>
                </a:lnTo>
                <a:lnTo>
                  <a:pt x="727" y="1059"/>
                </a:lnTo>
                <a:lnTo>
                  <a:pt x="701" y="1049"/>
                </a:lnTo>
                <a:lnTo>
                  <a:pt x="676" y="1038"/>
                </a:lnTo>
                <a:lnTo>
                  <a:pt x="650" y="1026"/>
                </a:lnTo>
                <a:lnTo>
                  <a:pt x="625" y="1014"/>
                </a:lnTo>
                <a:lnTo>
                  <a:pt x="601" y="1001"/>
                </a:lnTo>
                <a:lnTo>
                  <a:pt x="576" y="988"/>
                </a:lnTo>
                <a:lnTo>
                  <a:pt x="551" y="974"/>
                </a:lnTo>
                <a:lnTo>
                  <a:pt x="528" y="959"/>
                </a:lnTo>
                <a:lnTo>
                  <a:pt x="504" y="944"/>
                </a:lnTo>
                <a:lnTo>
                  <a:pt x="481" y="929"/>
                </a:lnTo>
                <a:lnTo>
                  <a:pt x="459" y="912"/>
                </a:lnTo>
                <a:lnTo>
                  <a:pt x="436" y="895"/>
                </a:lnTo>
                <a:lnTo>
                  <a:pt x="415" y="878"/>
                </a:lnTo>
                <a:lnTo>
                  <a:pt x="393" y="860"/>
                </a:lnTo>
                <a:lnTo>
                  <a:pt x="373" y="842"/>
                </a:lnTo>
                <a:lnTo>
                  <a:pt x="362" y="832"/>
                </a:lnTo>
                <a:lnTo>
                  <a:pt x="352" y="822"/>
                </a:lnTo>
                <a:lnTo>
                  <a:pt x="332" y="803"/>
                </a:lnTo>
                <a:lnTo>
                  <a:pt x="313" y="783"/>
                </a:lnTo>
                <a:lnTo>
                  <a:pt x="294" y="763"/>
                </a:lnTo>
                <a:lnTo>
                  <a:pt x="276" y="742"/>
                </a:lnTo>
                <a:lnTo>
                  <a:pt x="258" y="720"/>
                </a:lnTo>
                <a:lnTo>
                  <a:pt x="240" y="699"/>
                </a:lnTo>
                <a:lnTo>
                  <a:pt x="223" y="677"/>
                </a:lnTo>
                <a:lnTo>
                  <a:pt x="207" y="654"/>
                </a:lnTo>
                <a:lnTo>
                  <a:pt x="191" y="631"/>
                </a:lnTo>
                <a:lnTo>
                  <a:pt x="176" y="608"/>
                </a:lnTo>
                <a:lnTo>
                  <a:pt x="162" y="584"/>
                </a:lnTo>
                <a:lnTo>
                  <a:pt x="148" y="559"/>
                </a:lnTo>
                <a:lnTo>
                  <a:pt x="134" y="535"/>
                </a:lnTo>
                <a:lnTo>
                  <a:pt x="122" y="510"/>
                </a:lnTo>
                <a:lnTo>
                  <a:pt x="109" y="485"/>
                </a:lnTo>
                <a:lnTo>
                  <a:pt x="98" y="460"/>
                </a:lnTo>
                <a:lnTo>
                  <a:pt x="87" y="434"/>
                </a:lnTo>
                <a:lnTo>
                  <a:pt x="76" y="408"/>
                </a:lnTo>
                <a:lnTo>
                  <a:pt x="67" y="382"/>
                </a:lnTo>
                <a:lnTo>
                  <a:pt x="58" y="356"/>
                </a:lnTo>
                <a:lnTo>
                  <a:pt x="49" y="329"/>
                </a:lnTo>
                <a:lnTo>
                  <a:pt x="41" y="303"/>
                </a:lnTo>
                <a:lnTo>
                  <a:pt x="34" y="276"/>
                </a:lnTo>
                <a:lnTo>
                  <a:pt x="28" y="249"/>
                </a:lnTo>
                <a:lnTo>
                  <a:pt x="22" y="221"/>
                </a:lnTo>
                <a:lnTo>
                  <a:pt x="17" y="194"/>
                </a:lnTo>
                <a:lnTo>
                  <a:pt x="12" y="167"/>
                </a:lnTo>
                <a:lnTo>
                  <a:pt x="8" y="139"/>
                </a:lnTo>
                <a:lnTo>
                  <a:pt x="5" y="111"/>
                </a:lnTo>
                <a:lnTo>
                  <a:pt x="3" y="84"/>
                </a:lnTo>
                <a:lnTo>
                  <a:pt x="1" y="56"/>
                </a:lnTo>
                <a:lnTo>
                  <a:pt x="1" y="28"/>
                </a:lnTo>
                <a:lnTo>
                  <a:pt x="0" y="0"/>
                </a:lnTo>
                <a:lnTo>
                  <a:pt x="795" y="0"/>
                </a:lnTo>
                <a:lnTo>
                  <a:pt x="796" y="18"/>
                </a:lnTo>
                <a:lnTo>
                  <a:pt x="797" y="35"/>
                </a:lnTo>
                <a:lnTo>
                  <a:pt x="798" y="43"/>
                </a:lnTo>
                <a:lnTo>
                  <a:pt x="799" y="52"/>
                </a:lnTo>
                <a:lnTo>
                  <a:pt x="800" y="60"/>
                </a:lnTo>
                <a:lnTo>
                  <a:pt x="802" y="69"/>
                </a:lnTo>
                <a:lnTo>
                  <a:pt x="806" y="85"/>
                </a:lnTo>
                <a:lnTo>
                  <a:pt x="810" y="101"/>
                </a:lnTo>
                <a:lnTo>
                  <a:pt x="816" y="117"/>
                </a:lnTo>
                <a:lnTo>
                  <a:pt x="822" y="133"/>
                </a:lnTo>
                <a:lnTo>
                  <a:pt x="829" y="148"/>
                </a:lnTo>
                <a:lnTo>
                  <a:pt x="836" y="162"/>
                </a:lnTo>
                <a:lnTo>
                  <a:pt x="844" y="176"/>
                </a:lnTo>
                <a:lnTo>
                  <a:pt x="853" y="190"/>
                </a:lnTo>
                <a:lnTo>
                  <a:pt x="863" y="204"/>
                </a:lnTo>
                <a:lnTo>
                  <a:pt x="873" y="216"/>
                </a:lnTo>
                <a:lnTo>
                  <a:pt x="883" y="229"/>
                </a:lnTo>
                <a:lnTo>
                  <a:pt x="895" y="241"/>
                </a:lnTo>
                <a:lnTo>
                  <a:pt x="907" y="252"/>
                </a:lnTo>
                <a:lnTo>
                  <a:pt x="919" y="263"/>
                </a:lnTo>
                <a:lnTo>
                  <a:pt x="932" y="273"/>
                </a:lnTo>
                <a:lnTo>
                  <a:pt x="945" y="282"/>
                </a:lnTo>
                <a:lnTo>
                  <a:pt x="959" y="291"/>
                </a:lnTo>
                <a:lnTo>
                  <a:pt x="973" y="299"/>
                </a:lnTo>
                <a:lnTo>
                  <a:pt x="988" y="307"/>
                </a:lnTo>
                <a:lnTo>
                  <a:pt x="1003" y="314"/>
                </a:lnTo>
                <a:lnTo>
                  <a:pt x="1011" y="317"/>
                </a:lnTo>
                <a:lnTo>
                  <a:pt x="1018" y="320"/>
                </a:lnTo>
                <a:lnTo>
                  <a:pt x="1034" y="325"/>
                </a:lnTo>
                <a:lnTo>
                  <a:pt x="1042" y="327"/>
                </a:lnTo>
                <a:lnTo>
                  <a:pt x="1050" y="330"/>
                </a:lnTo>
                <a:lnTo>
                  <a:pt x="1067" y="333"/>
                </a:lnTo>
                <a:lnTo>
                  <a:pt x="1075" y="335"/>
                </a:lnTo>
                <a:lnTo>
                  <a:pt x="1083" y="336"/>
                </a:lnTo>
                <a:lnTo>
                  <a:pt x="1100" y="339"/>
                </a:lnTo>
                <a:lnTo>
                  <a:pt x="1118" y="340"/>
                </a:lnTo>
                <a:lnTo>
                  <a:pt x="1135" y="340"/>
                </a:lnTo>
                <a:close/>
              </a:path>
            </a:pathLst>
          </a:custGeom>
          <a:solidFill>
            <a:srgbClr val="A5A4A7"/>
          </a:solidFill>
          <a:ln w="12700" cmpd="sng">
            <a:noFill/>
            <a:round/>
            <a:headEnd/>
            <a:tailEnd/>
          </a:ln>
        </p:spPr>
        <p:txBody>
          <a:bodyPr lIns="45720" rIns="45720" anchor="ctr" anchorCtr="1"/>
          <a:lstStyle/>
          <a:p>
            <a:pPr algn="ctr" fontAlgn="base">
              <a:spcBef>
                <a:spcPct val="0"/>
              </a:spcBef>
              <a:spcAft>
                <a:spcPct val="0"/>
              </a:spcAft>
              <a:defRPr/>
            </a:pPr>
            <a:endParaRPr lang="en-CA" sz="1000" b="1" kern="0" dirty="0">
              <a:solidFill>
                <a:srgbClr val="FFFFFF"/>
              </a:solidFill>
              <a:cs typeface="Arial" charset="0"/>
            </a:endParaRPr>
          </a:p>
        </p:txBody>
      </p:sp>
      <p:sp>
        <p:nvSpPr>
          <p:cNvPr id="46" name="Freeform 12"/>
          <p:cNvSpPr>
            <a:spLocks noChangeAspect="1"/>
          </p:cNvSpPr>
          <p:nvPr>
            <p:custDataLst>
              <p:tags r:id="rId7"/>
            </p:custDataLst>
          </p:nvPr>
        </p:nvSpPr>
        <p:spPr bwMode="auto">
          <a:xfrm>
            <a:off x="3493468" y="1678449"/>
            <a:ext cx="2439733" cy="2218936"/>
          </a:xfrm>
          <a:custGeom>
            <a:avLst/>
            <a:gdLst/>
            <a:ahLst/>
            <a:cxnLst>
              <a:cxn ang="0">
                <a:pos x="0" y="1135"/>
              </a:cxn>
              <a:cxn ang="0">
                <a:pos x="2" y="1080"/>
              </a:cxn>
              <a:cxn ang="0">
                <a:pos x="6" y="1024"/>
              </a:cxn>
              <a:cxn ang="0">
                <a:pos x="13" y="969"/>
              </a:cxn>
              <a:cxn ang="0">
                <a:pos x="22" y="914"/>
              </a:cxn>
              <a:cxn ang="0">
                <a:pos x="34" y="860"/>
              </a:cxn>
              <a:cxn ang="0">
                <a:pos x="49" y="806"/>
              </a:cxn>
              <a:cxn ang="0">
                <a:pos x="67" y="753"/>
              </a:cxn>
              <a:cxn ang="0">
                <a:pos x="76" y="727"/>
              </a:cxn>
              <a:cxn ang="0">
                <a:pos x="98" y="676"/>
              </a:cxn>
              <a:cxn ang="0">
                <a:pos x="121" y="625"/>
              </a:cxn>
              <a:cxn ang="0">
                <a:pos x="147" y="576"/>
              </a:cxn>
              <a:cxn ang="0">
                <a:pos x="176" y="527"/>
              </a:cxn>
              <a:cxn ang="0">
                <a:pos x="207" y="481"/>
              </a:cxn>
              <a:cxn ang="0">
                <a:pos x="240" y="436"/>
              </a:cxn>
              <a:cxn ang="0">
                <a:pos x="275" y="393"/>
              </a:cxn>
              <a:cxn ang="0">
                <a:pos x="303" y="362"/>
              </a:cxn>
              <a:cxn ang="0">
                <a:pos x="332" y="332"/>
              </a:cxn>
              <a:cxn ang="0">
                <a:pos x="373" y="294"/>
              </a:cxn>
              <a:cxn ang="0">
                <a:pos x="415" y="258"/>
              </a:cxn>
              <a:cxn ang="0">
                <a:pos x="459" y="223"/>
              </a:cxn>
              <a:cxn ang="0">
                <a:pos x="504" y="191"/>
              </a:cxn>
              <a:cxn ang="0">
                <a:pos x="551" y="162"/>
              </a:cxn>
              <a:cxn ang="0">
                <a:pos x="601" y="134"/>
              </a:cxn>
              <a:cxn ang="0">
                <a:pos x="650" y="109"/>
              </a:cxn>
              <a:cxn ang="0">
                <a:pos x="701" y="87"/>
              </a:cxn>
              <a:cxn ang="0">
                <a:pos x="753" y="67"/>
              </a:cxn>
              <a:cxn ang="0">
                <a:pos x="806" y="49"/>
              </a:cxn>
              <a:cxn ang="0">
                <a:pos x="860" y="34"/>
              </a:cxn>
              <a:cxn ang="0">
                <a:pos x="914" y="22"/>
              </a:cxn>
              <a:cxn ang="0">
                <a:pos x="969" y="12"/>
              </a:cxn>
              <a:cxn ang="0">
                <a:pos x="1024" y="5"/>
              </a:cxn>
              <a:cxn ang="0">
                <a:pos x="1079" y="1"/>
              </a:cxn>
              <a:cxn ang="0">
                <a:pos x="1135" y="0"/>
              </a:cxn>
              <a:cxn ang="0">
                <a:pos x="1118" y="795"/>
              </a:cxn>
              <a:cxn ang="0">
                <a:pos x="1092" y="798"/>
              </a:cxn>
              <a:cxn ang="0">
                <a:pos x="1075" y="800"/>
              </a:cxn>
              <a:cxn ang="0">
                <a:pos x="1050" y="806"/>
              </a:cxn>
              <a:cxn ang="0">
                <a:pos x="1018" y="816"/>
              </a:cxn>
              <a:cxn ang="0">
                <a:pos x="988" y="829"/>
              </a:cxn>
              <a:cxn ang="0">
                <a:pos x="959" y="844"/>
              </a:cxn>
              <a:cxn ang="0">
                <a:pos x="932" y="863"/>
              </a:cxn>
              <a:cxn ang="0">
                <a:pos x="906" y="883"/>
              </a:cxn>
              <a:cxn ang="0">
                <a:pos x="883" y="906"/>
              </a:cxn>
              <a:cxn ang="0">
                <a:pos x="863" y="932"/>
              </a:cxn>
              <a:cxn ang="0">
                <a:pos x="844" y="959"/>
              </a:cxn>
              <a:cxn ang="0">
                <a:pos x="829" y="988"/>
              </a:cxn>
              <a:cxn ang="0">
                <a:pos x="819" y="1010"/>
              </a:cxn>
              <a:cxn ang="0">
                <a:pos x="810" y="1034"/>
              </a:cxn>
              <a:cxn ang="0">
                <a:pos x="806" y="1050"/>
              </a:cxn>
              <a:cxn ang="0">
                <a:pos x="800" y="1075"/>
              </a:cxn>
              <a:cxn ang="0">
                <a:pos x="797" y="1100"/>
              </a:cxn>
              <a:cxn ang="0">
                <a:pos x="795" y="1135"/>
              </a:cxn>
            </a:cxnLst>
            <a:rect l="0" t="0" r="r" b="b"/>
            <a:pathLst>
              <a:path w="1135" h="1135">
                <a:moveTo>
                  <a:pt x="795" y="1135"/>
                </a:moveTo>
                <a:lnTo>
                  <a:pt x="0" y="1135"/>
                </a:lnTo>
                <a:lnTo>
                  <a:pt x="1" y="1107"/>
                </a:lnTo>
                <a:lnTo>
                  <a:pt x="2" y="1080"/>
                </a:lnTo>
                <a:lnTo>
                  <a:pt x="3" y="1052"/>
                </a:lnTo>
                <a:lnTo>
                  <a:pt x="6" y="1024"/>
                </a:lnTo>
                <a:lnTo>
                  <a:pt x="9" y="996"/>
                </a:lnTo>
                <a:lnTo>
                  <a:pt x="13" y="969"/>
                </a:lnTo>
                <a:lnTo>
                  <a:pt x="17" y="941"/>
                </a:lnTo>
                <a:lnTo>
                  <a:pt x="22" y="914"/>
                </a:lnTo>
                <a:lnTo>
                  <a:pt x="28" y="887"/>
                </a:lnTo>
                <a:lnTo>
                  <a:pt x="34" y="860"/>
                </a:lnTo>
                <a:lnTo>
                  <a:pt x="41" y="833"/>
                </a:lnTo>
                <a:lnTo>
                  <a:pt x="49" y="806"/>
                </a:lnTo>
                <a:lnTo>
                  <a:pt x="58" y="780"/>
                </a:lnTo>
                <a:lnTo>
                  <a:pt x="67" y="753"/>
                </a:lnTo>
                <a:lnTo>
                  <a:pt x="71" y="740"/>
                </a:lnTo>
                <a:lnTo>
                  <a:pt x="76" y="727"/>
                </a:lnTo>
                <a:lnTo>
                  <a:pt x="87" y="701"/>
                </a:lnTo>
                <a:lnTo>
                  <a:pt x="98" y="676"/>
                </a:lnTo>
                <a:lnTo>
                  <a:pt x="109" y="650"/>
                </a:lnTo>
                <a:lnTo>
                  <a:pt x="121" y="625"/>
                </a:lnTo>
                <a:lnTo>
                  <a:pt x="134" y="601"/>
                </a:lnTo>
                <a:lnTo>
                  <a:pt x="147" y="576"/>
                </a:lnTo>
                <a:lnTo>
                  <a:pt x="161" y="551"/>
                </a:lnTo>
                <a:lnTo>
                  <a:pt x="176" y="527"/>
                </a:lnTo>
                <a:lnTo>
                  <a:pt x="191" y="504"/>
                </a:lnTo>
                <a:lnTo>
                  <a:pt x="207" y="481"/>
                </a:lnTo>
                <a:lnTo>
                  <a:pt x="223" y="459"/>
                </a:lnTo>
                <a:lnTo>
                  <a:pt x="240" y="436"/>
                </a:lnTo>
                <a:lnTo>
                  <a:pt x="257" y="415"/>
                </a:lnTo>
                <a:lnTo>
                  <a:pt x="275" y="393"/>
                </a:lnTo>
                <a:lnTo>
                  <a:pt x="294" y="373"/>
                </a:lnTo>
                <a:lnTo>
                  <a:pt x="303" y="362"/>
                </a:lnTo>
                <a:lnTo>
                  <a:pt x="313" y="352"/>
                </a:lnTo>
                <a:lnTo>
                  <a:pt x="332" y="332"/>
                </a:lnTo>
                <a:lnTo>
                  <a:pt x="352" y="313"/>
                </a:lnTo>
                <a:lnTo>
                  <a:pt x="373" y="294"/>
                </a:lnTo>
                <a:lnTo>
                  <a:pt x="393" y="276"/>
                </a:lnTo>
                <a:lnTo>
                  <a:pt x="415" y="258"/>
                </a:lnTo>
                <a:lnTo>
                  <a:pt x="437" y="240"/>
                </a:lnTo>
                <a:lnTo>
                  <a:pt x="459" y="223"/>
                </a:lnTo>
                <a:lnTo>
                  <a:pt x="481" y="207"/>
                </a:lnTo>
                <a:lnTo>
                  <a:pt x="504" y="191"/>
                </a:lnTo>
                <a:lnTo>
                  <a:pt x="528" y="176"/>
                </a:lnTo>
                <a:lnTo>
                  <a:pt x="551" y="162"/>
                </a:lnTo>
                <a:lnTo>
                  <a:pt x="576" y="148"/>
                </a:lnTo>
                <a:lnTo>
                  <a:pt x="601" y="134"/>
                </a:lnTo>
                <a:lnTo>
                  <a:pt x="625" y="121"/>
                </a:lnTo>
                <a:lnTo>
                  <a:pt x="650" y="109"/>
                </a:lnTo>
                <a:lnTo>
                  <a:pt x="676" y="98"/>
                </a:lnTo>
                <a:lnTo>
                  <a:pt x="701" y="87"/>
                </a:lnTo>
                <a:lnTo>
                  <a:pt x="727" y="76"/>
                </a:lnTo>
                <a:lnTo>
                  <a:pt x="753" y="67"/>
                </a:lnTo>
                <a:lnTo>
                  <a:pt x="779" y="57"/>
                </a:lnTo>
                <a:lnTo>
                  <a:pt x="806" y="49"/>
                </a:lnTo>
                <a:lnTo>
                  <a:pt x="833" y="41"/>
                </a:lnTo>
                <a:lnTo>
                  <a:pt x="860" y="34"/>
                </a:lnTo>
                <a:lnTo>
                  <a:pt x="887" y="28"/>
                </a:lnTo>
                <a:lnTo>
                  <a:pt x="914" y="22"/>
                </a:lnTo>
                <a:lnTo>
                  <a:pt x="941" y="17"/>
                </a:lnTo>
                <a:lnTo>
                  <a:pt x="969" y="12"/>
                </a:lnTo>
                <a:lnTo>
                  <a:pt x="996" y="8"/>
                </a:lnTo>
                <a:lnTo>
                  <a:pt x="1024" y="5"/>
                </a:lnTo>
                <a:lnTo>
                  <a:pt x="1052" y="3"/>
                </a:lnTo>
                <a:lnTo>
                  <a:pt x="1079" y="1"/>
                </a:lnTo>
                <a:lnTo>
                  <a:pt x="1107" y="1"/>
                </a:lnTo>
                <a:lnTo>
                  <a:pt x="1135" y="0"/>
                </a:lnTo>
                <a:lnTo>
                  <a:pt x="1135" y="795"/>
                </a:lnTo>
                <a:lnTo>
                  <a:pt x="1118" y="795"/>
                </a:lnTo>
                <a:lnTo>
                  <a:pt x="1100" y="797"/>
                </a:lnTo>
                <a:lnTo>
                  <a:pt x="1092" y="798"/>
                </a:lnTo>
                <a:lnTo>
                  <a:pt x="1083" y="799"/>
                </a:lnTo>
                <a:lnTo>
                  <a:pt x="1075" y="800"/>
                </a:lnTo>
                <a:lnTo>
                  <a:pt x="1067" y="802"/>
                </a:lnTo>
                <a:lnTo>
                  <a:pt x="1050" y="806"/>
                </a:lnTo>
                <a:lnTo>
                  <a:pt x="1034" y="810"/>
                </a:lnTo>
                <a:lnTo>
                  <a:pt x="1018" y="816"/>
                </a:lnTo>
                <a:lnTo>
                  <a:pt x="1003" y="822"/>
                </a:lnTo>
                <a:lnTo>
                  <a:pt x="988" y="829"/>
                </a:lnTo>
                <a:lnTo>
                  <a:pt x="973" y="836"/>
                </a:lnTo>
                <a:lnTo>
                  <a:pt x="959" y="844"/>
                </a:lnTo>
                <a:lnTo>
                  <a:pt x="945" y="853"/>
                </a:lnTo>
                <a:lnTo>
                  <a:pt x="932" y="863"/>
                </a:lnTo>
                <a:lnTo>
                  <a:pt x="919" y="873"/>
                </a:lnTo>
                <a:lnTo>
                  <a:pt x="906" y="883"/>
                </a:lnTo>
                <a:lnTo>
                  <a:pt x="895" y="895"/>
                </a:lnTo>
                <a:lnTo>
                  <a:pt x="883" y="906"/>
                </a:lnTo>
                <a:lnTo>
                  <a:pt x="873" y="919"/>
                </a:lnTo>
                <a:lnTo>
                  <a:pt x="863" y="932"/>
                </a:lnTo>
                <a:lnTo>
                  <a:pt x="853" y="945"/>
                </a:lnTo>
                <a:lnTo>
                  <a:pt x="844" y="959"/>
                </a:lnTo>
                <a:lnTo>
                  <a:pt x="836" y="973"/>
                </a:lnTo>
                <a:lnTo>
                  <a:pt x="829" y="988"/>
                </a:lnTo>
                <a:lnTo>
                  <a:pt x="822" y="1003"/>
                </a:lnTo>
                <a:lnTo>
                  <a:pt x="819" y="1010"/>
                </a:lnTo>
                <a:lnTo>
                  <a:pt x="816" y="1018"/>
                </a:lnTo>
                <a:lnTo>
                  <a:pt x="810" y="1034"/>
                </a:lnTo>
                <a:lnTo>
                  <a:pt x="808" y="1042"/>
                </a:lnTo>
                <a:lnTo>
                  <a:pt x="806" y="1050"/>
                </a:lnTo>
                <a:lnTo>
                  <a:pt x="802" y="1067"/>
                </a:lnTo>
                <a:lnTo>
                  <a:pt x="800" y="1075"/>
                </a:lnTo>
                <a:lnTo>
                  <a:pt x="799" y="1083"/>
                </a:lnTo>
                <a:lnTo>
                  <a:pt x="797" y="1100"/>
                </a:lnTo>
                <a:lnTo>
                  <a:pt x="795" y="1118"/>
                </a:lnTo>
                <a:lnTo>
                  <a:pt x="795" y="1135"/>
                </a:lnTo>
                <a:close/>
              </a:path>
            </a:pathLst>
          </a:custGeom>
          <a:solidFill>
            <a:srgbClr val="7F7E82"/>
          </a:solidFill>
          <a:ln w="12700" cmpd="sng">
            <a:noFill/>
            <a:round/>
            <a:headEnd/>
            <a:tailEnd/>
          </a:ln>
        </p:spPr>
        <p:txBody>
          <a:bodyPr lIns="45720" rIns="45720" anchor="ctr" anchorCtr="1"/>
          <a:lstStyle/>
          <a:p>
            <a:pPr algn="ctr" fontAlgn="base">
              <a:spcBef>
                <a:spcPct val="0"/>
              </a:spcBef>
              <a:spcAft>
                <a:spcPct val="0"/>
              </a:spcAft>
              <a:defRPr/>
            </a:pPr>
            <a:endParaRPr lang="en-CA" sz="1000" b="1" kern="0" dirty="0">
              <a:solidFill>
                <a:srgbClr val="FFFFFF"/>
              </a:solidFill>
              <a:cs typeface="Arial" charset="0"/>
            </a:endParaRPr>
          </a:p>
        </p:txBody>
      </p:sp>
      <p:sp>
        <p:nvSpPr>
          <p:cNvPr id="47" name="Text Box 13"/>
          <p:cNvSpPr txBox="1">
            <a:spLocks noChangeArrowheads="1"/>
          </p:cNvSpPr>
          <p:nvPr>
            <p:custDataLst>
              <p:tags r:id="rId8"/>
            </p:custDataLst>
          </p:nvPr>
        </p:nvSpPr>
        <p:spPr bwMode="auto">
          <a:xfrm>
            <a:off x="4174178" y="2502358"/>
            <a:ext cx="1386516" cy="609639"/>
          </a:xfrm>
          <a:prstGeom prst="rect">
            <a:avLst/>
          </a:prstGeom>
          <a:noFill/>
          <a:ln w="12700">
            <a:solidFill>
              <a:srgbClr val="7F7E82"/>
            </a:solid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fr-CA" sz="1300" b="1" dirty="0">
                <a:solidFill>
                  <a:srgbClr val="FFFFFF"/>
                </a:solidFill>
                <a:cs typeface="Arial" charset="0"/>
              </a:rPr>
              <a:t>Récompenser la réussite</a:t>
            </a:r>
          </a:p>
        </p:txBody>
      </p:sp>
      <p:sp>
        <p:nvSpPr>
          <p:cNvPr id="48" name="Text Box 14"/>
          <p:cNvSpPr txBox="1">
            <a:spLocks noChangeArrowheads="1"/>
          </p:cNvSpPr>
          <p:nvPr>
            <p:custDataLst>
              <p:tags r:id="rId9"/>
            </p:custDataLst>
          </p:nvPr>
        </p:nvSpPr>
        <p:spPr bwMode="auto">
          <a:xfrm>
            <a:off x="6519413" y="2521926"/>
            <a:ext cx="1267308"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fr-CA" sz="1300" b="1" dirty="0">
                <a:solidFill>
                  <a:srgbClr val="000000"/>
                </a:solidFill>
                <a:cs typeface="Arial" charset="0"/>
              </a:rPr>
              <a:t>Offrir des rétroactions utiles et fréquentes</a:t>
            </a:r>
          </a:p>
        </p:txBody>
      </p:sp>
      <p:sp>
        <p:nvSpPr>
          <p:cNvPr id="49" name="Text Box 15"/>
          <p:cNvSpPr txBox="1">
            <a:spLocks noChangeArrowheads="1"/>
          </p:cNvSpPr>
          <p:nvPr>
            <p:custDataLst>
              <p:tags r:id="rId10"/>
            </p:custDataLst>
          </p:nvPr>
        </p:nvSpPr>
        <p:spPr bwMode="auto">
          <a:xfrm>
            <a:off x="4174178" y="4717507"/>
            <a:ext cx="1386517"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fr-CA" sz="1300" b="1" dirty="0">
                <a:solidFill>
                  <a:srgbClr val="000000"/>
                </a:solidFill>
                <a:cs typeface="Arial" charset="0"/>
              </a:rPr>
              <a:t>Tout documenter</a:t>
            </a:r>
          </a:p>
        </p:txBody>
      </p:sp>
      <p:sp>
        <p:nvSpPr>
          <p:cNvPr id="50" name="Text Box 16"/>
          <p:cNvSpPr txBox="1">
            <a:spLocks noChangeArrowheads="1"/>
          </p:cNvSpPr>
          <p:nvPr>
            <p:custDataLst>
              <p:tags r:id="rId11"/>
            </p:custDataLst>
          </p:nvPr>
        </p:nvSpPr>
        <p:spPr bwMode="auto">
          <a:xfrm>
            <a:off x="6424915" y="4717506"/>
            <a:ext cx="1456304"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fr-CA" sz="1300" b="1" dirty="0">
                <a:solidFill>
                  <a:srgbClr val="000000"/>
                </a:solidFill>
                <a:cs typeface="Arial" charset="0"/>
              </a:rPr>
              <a:t>Offrir des possibilités de formation et d’apprentissage</a:t>
            </a:r>
          </a:p>
        </p:txBody>
      </p:sp>
      <p:sp>
        <p:nvSpPr>
          <p:cNvPr id="51" name="Freeform 16"/>
          <p:cNvSpPr>
            <a:spLocks noEditPoints="1"/>
          </p:cNvSpPr>
          <p:nvPr>
            <p:custDataLst>
              <p:tags r:id="rId12"/>
            </p:custDataLst>
          </p:nvPr>
        </p:nvSpPr>
        <p:spPr bwMode="auto">
          <a:xfrm>
            <a:off x="5640640" y="3617106"/>
            <a:ext cx="734104" cy="735327"/>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000000"/>
              </a:solidFill>
              <a:ea typeface="ＭＳ Ｐゴシック" charset="0"/>
            </a:endParaRPr>
          </a:p>
        </p:txBody>
      </p:sp>
      <p:sp>
        <p:nvSpPr>
          <p:cNvPr id="18" name="TextBox 17"/>
          <p:cNvSpPr txBox="1"/>
          <p:nvPr>
            <p:custDataLst>
              <p:tags r:id="rId13"/>
            </p:custDataLst>
          </p:nvPr>
        </p:nvSpPr>
        <p:spPr>
          <a:xfrm>
            <a:off x="499836" y="373597"/>
            <a:ext cx="6976400" cy="799963"/>
          </a:xfrm>
          <a:prstGeom prst="rect">
            <a:avLst/>
          </a:prstGeom>
          <a:noFill/>
        </p:spPr>
        <p:txBody>
          <a:bodyPr wrap="square" lIns="0" tIns="0" rIns="0" bIns="0" rtlCol="0" anchor="t" anchorCtr="0">
            <a:spAutoFit/>
          </a:bodyPr>
          <a:lstStyle/>
          <a:p>
            <a:r>
              <a:rPr lang="fr-CA" sz="2599" b="1" dirty="0">
                <a:solidFill>
                  <a:srgbClr val="4B4B4B"/>
                </a:solidFill>
                <a:latin typeface="EYInterstate Light" panose="02000506000000020004" pitchFamily="2" charset="0"/>
              </a:rPr>
              <a:t>Pratiques exemplaires : </a:t>
            </a:r>
          </a:p>
          <a:p>
            <a:r>
              <a:rPr lang="fr-CA" sz="2599" dirty="0">
                <a:solidFill>
                  <a:srgbClr val="4B4B4B"/>
                </a:solidFill>
                <a:latin typeface="EYInterstate Light" panose="02000506000000020004" pitchFamily="2" charset="0"/>
              </a:rPr>
              <a:t>rendement et perfectionnement </a:t>
            </a:r>
          </a:p>
        </p:txBody>
      </p:sp>
    </p:spTree>
    <p:extLst>
      <p:ext uri="{BB962C8B-B14F-4D97-AF65-F5344CB8AC3E}">
        <p14:creationId xmlns:p14="http://schemas.microsoft.com/office/powerpoint/2010/main" val="2628290283"/>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custDataLst>
              <p:tags r:id="rId1"/>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2"/>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41"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3"/>
            </p:custDataLst>
          </p:nvPr>
        </p:nvSpPr>
        <p:spPr>
          <a:xfrm>
            <a:off x="617421" y="660997"/>
            <a:ext cx="9058392" cy="399981"/>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rendement et perfectionnement</a:t>
            </a:r>
          </a:p>
        </p:txBody>
      </p:sp>
      <p:cxnSp>
        <p:nvCxnSpPr>
          <p:cNvPr id="12" name="Straight Connector 11"/>
          <p:cNvCxnSpPr/>
          <p:nvPr>
            <p:custDataLst>
              <p:tags r:id="rId4"/>
            </p:custDataLst>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custDataLst>
              <p:tags r:id="rId5"/>
            </p:custDataLst>
          </p:nvPr>
        </p:nvSpPr>
        <p:spPr>
          <a:xfrm>
            <a:off x="335876" y="1467622"/>
            <a:ext cx="11531600" cy="3810435"/>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35" name="Pentagon 34"/>
          <p:cNvSpPr/>
          <p:nvPr>
            <p:custDataLst>
              <p:tags r:id="rId6"/>
            </p:custDataLst>
          </p:nvPr>
        </p:nvSpPr>
        <p:spPr>
          <a:xfrm>
            <a:off x="6817844" y="2372290"/>
            <a:ext cx="425192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6" name="Rectangle 35"/>
          <p:cNvSpPr/>
          <p:nvPr>
            <p:custDataLst>
              <p:tags r:id="rId7"/>
            </p:custDataLst>
          </p:nvPr>
        </p:nvSpPr>
        <p:spPr>
          <a:xfrm>
            <a:off x="467369" y="1640996"/>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Planification et perfectionnement</a:t>
            </a:r>
          </a:p>
        </p:txBody>
      </p:sp>
      <p:cxnSp>
        <p:nvCxnSpPr>
          <p:cNvPr id="37" name="Straight Connector 36"/>
          <p:cNvCxnSpPr/>
          <p:nvPr>
            <p:custDataLst>
              <p:tags r:id="rId8"/>
            </p:custDataLst>
          </p:nvPr>
        </p:nvCxnSpPr>
        <p:spPr>
          <a:xfrm>
            <a:off x="467369" y="2051561"/>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38" name="Pentagon 37"/>
          <p:cNvSpPr/>
          <p:nvPr>
            <p:custDataLst>
              <p:tags r:id="rId9"/>
            </p:custDataLst>
          </p:nvPr>
        </p:nvSpPr>
        <p:spPr>
          <a:xfrm>
            <a:off x="4687358" y="2373017"/>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9" name="Pentagon 38"/>
          <p:cNvSpPr/>
          <p:nvPr>
            <p:custDataLst>
              <p:tags r:id="rId10"/>
            </p:custDataLst>
          </p:nvPr>
        </p:nvSpPr>
        <p:spPr>
          <a:xfrm>
            <a:off x="2830765" y="2373744"/>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0" name="Pentagon 39"/>
          <p:cNvSpPr/>
          <p:nvPr>
            <p:custDataLst>
              <p:tags r:id="rId11"/>
            </p:custDataLst>
          </p:nvPr>
        </p:nvSpPr>
        <p:spPr>
          <a:xfrm>
            <a:off x="1710775" y="2362165"/>
            <a:ext cx="3365004" cy="854936"/>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1" name="Pentagon 40"/>
          <p:cNvSpPr/>
          <p:nvPr>
            <p:custDataLst>
              <p:tags r:id="rId12"/>
            </p:custDataLst>
          </p:nvPr>
        </p:nvSpPr>
        <p:spPr>
          <a:xfrm>
            <a:off x="707953" y="2373744"/>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2" name="TextBox 41"/>
          <p:cNvSpPr txBox="1"/>
          <p:nvPr>
            <p:custDataLst>
              <p:tags r:id="rId13"/>
            </p:custDataLst>
          </p:nvPr>
        </p:nvSpPr>
        <p:spPr>
          <a:xfrm>
            <a:off x="951778" y="2648562"/>
            <a:ext cx="1708179"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valuer les nouveaux besoins en matière de formation</a:t>
            </a:r>
          </a:p>
        </p:txBody>
      </p:sp>
      <p:sp>
        <p:nvSpPr>
          <p:cNvPr id="43" name="TextBox 42"/>
          <p:cNvSpPr txBox="1"/>
          <p:nvPr>
            <p:custDataLst>
              <p:tags r:id="rId14"/>
            </p:custDataLst>
          </p:nvPr>
        </p:nvSpPr>
        <p:spPr>
          <a:xfrm>
            <a:off x="3474636" y="2566917"/>
            <a:ext cx="1291907"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valuer les cours et programmes de formation existants</a:t>
            </a:r>
          </a:p>
        </p:txBody>
      </p:sp>
      <p:sp>
        <p:nvSpPr>
          <p:cNvPr id="44" name="TextBox 43"/>
          <p:cNvSpPr txBox="1"/>
          <p:nvPr>
            <p:custDataLst>
              <p:tags r:id="rId15"/>
            </p:custDataLst>
          </p:nvPr>
        </p:nvSpPr>
        <p:spPr>
          <a:xfrm>
            <a:off x="5430424" y="2566917"/>
            <a:ext cx="1171941"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laborer et modifier les types de cours</a:t>
            </a:r>
          </a:p>
        </p:txBody>
      </p:sp>
      <p:sp>
        <p:nvSpPr>
          <p:cNvPr id="45" name="TextBox 44"/>
          <p:cNvSpPr txBox="1"/>
          <p:nvPr>
            <p:custDataLst>
              <p:tags r:id="rId16"/>
            </p:custDataLst>
          </p:nvPr>
        </p:nvSpPr>
        <p:spPr>
          <a:xfrm>
            <a:off x="7276715" y="2555338"/>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ommuniquer des renseignements sur la formation</a:t>
            </a:r>
          </a:p>
        </p:txBody>
      </p:sp>
      <p:sp>
        <p:nvSpPr>
          <p:cNvPr id="46" name="TextBox 45"/>
          <p:cNvSpPr txBox="1"/>
          <p:nvPr>
            <p:custDataLst>
              <p:tags r:id="rId17"/>
            </p:custDataLst>
          </p:nvPr>
        </p:nvSpPr>
        <p:spPr>
          <a:xfrm>
            <a:off x="9473206" y="2555152"/>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auto-inscription pour tous les cours</a:t>
            </a:r>
          </a:p>
        </p:txBody>
      </p:sp>
      <p:sp>
        <p:nvSpPr>
          <p:cNvPr id="47" name="Pentagon 46"/>
          <p:cNvSpPr/>
          <p:nvPr>
            <p:custDataLst>
              <p:tags r:id="rId18"/>
            </p:custDataLst>
          </p:nvPr>
        </p:nvSpPr>
        <p:spPr>
          <a:xfrm>
            <a:off x="6817844" y="3238703"/>
            <a:ext cx="4251928" cy="854936"/>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8" name="Pentagon 47"/>
          <p:cNvSpPr/>
          <p:nvPr>
            <p:custDataLst>
              <p:tags r:id="rId19"/>
            </p:custDataLst>
          </p:nvPr>
        </p:nvSpPr>
        <p:spPr>
          <a:xfrm>
            <a:off x="4687358" y="3239430"/>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9" name="Pentagon 48"/>
          <p:cNvSpPr/>
          <p:nvPr>
            <p:custDataLst>
              <p:tags r:id="rId20"/>
            </p:custDataLst>
          </p:nvPr>
        </p:nvSpPr>
        <p:spPr>
          <a:xfrm>
            <a:off x="2830765" y="3240157"/>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0" name="Pentagon 49"/>
          <p:cNvSpPr/>
          <p:nvPr>
            <p:custDataLst>
              <p:tags r:id="rId21"/>
            </p:custDataLst>
          </p:nvPr>
        </p:nvSpPr>
        <p:spPr>
          <a:xfrm>
            <a:off x="1710775" y="3228578"/>
            <a:ext cx="336500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1" name="Pentagon 50"/>
          <p:cNvSpPr/>
          <p:nvPr>
            <p:custDataLst>
              <p:tags r:id="rId22"/>
            </p:custDataLst>
          </p:nvPr>
        </p:nvSpPr>
        <p:spPr>
          <a:xfrm>
            <a:off x="707953" y="3240157"/>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2" name="TextBox 51"/>
          <p:cNvSpPr txBox="1"/>
          <p:nvPr>
            <p:custDataLst>
              <p:tags r:id="rId23"/>
            </p:custDataLst>
          </p:nvPr>
        </p:nvSpPr>
        <p:spPr>
          <a:xfrm>
            <a:off x="1035823" y="3480821"/>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demandes de réservations anticipées des employés</a:t>
            </a:r>
          </a:p>
        </p:txBody>
      </p:sp>
      <p:sp>
        <p:nvSpPr>
          <p:cNvPr id="53" name="TextBox 52"/>
          <p:cNvSpPr txBox="1"/>
          <p:nvPr>
            <p:custDataLst>
              <p:tags r:id="rId24"/>
            </p:custDataLst>
          </p:nvPr>
        </p:nvSpPr>
        <p:spPr>
          <a:xfrm>
            <a:off x="3474636" y="3505273"/>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cours d’inscriptions en groupe</a:t>
            </a:r>
          </a:p>
        </p:txBody>
      </p:sp>
      <p:sp>
        <p:nvSpPr>
          <p:cNvPr id="54" name="TextBox 53"/>
          <p:cNvSpPr txBox="1"/>
          <p:nvPr>
            <p:custDataLst>
              <p:tags r:id="rId25"/>
            </p:custDataLst>
          </p:nvPr>
        </p:nvSpPr>
        <p:spPr>
          <a:xfrm>
            <a:off x="5430424" y="3505273"/>
            <a:ext cx="1171941"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listes d’attente pour les employés </a:t>
            </a:r>
          </a:p>
        </p:txBody>
      </p:sp>
      <p:sp>
        <p:nvSpPr>
          <p:cNvPr id="55" name="TextBox 54"/>
          <p:cNvSpPr txBox="1"/>
          <p:nvPr>
            <p:custDataLst>
              <p:tags r:id="rId26"/>
            </p:custDataLst>
          </p:nvPr>
        </p:nvSpPr>
        <p:spPr>
          <a:xfrm>
            <a:off x="7276715" y="3349167"/>
            <a:ext cx="1045024" cy="613758"/>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demandes d’annulation de cours</a:t>
            </a:r>
          </a:p>
        </p:txBody>
      </p:sp>
      <p:sp>
        <p:nvSpPr>
          <p:cNvPr id="56" name="TextBox 55"/>
          <p:cNvSpPr txBox="1"/>
          <p:nvPr>
            <p:custDataLst>
              <p:tags r:id="rId27"/>
            </p:custDataLst>
          </p:nvPr>
        </p:nvSpPr>
        <p:spPr>
          <a:xfrm>
            <a:off x="9562913" y="3577216"/>
            <a:ext cx="1045024"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Offrir la formation</a:t>
            </a:r>
          </a:p>
        </p:txBody>
      </p:sp>
      <p:sp>
        <p:nvSpPr>
          <p:cNvPr id="58" name="Pentagon 57"/>
          <p:cNvSpPr/>
          <p:nvPr>
            <p:custDataLst>
              <p:tags r:id="rId28"/>
            </p:custDataLst>
          </p:nvPr>
        </p:nvSpPr>
        <p:spPr>
          <a:xfrm>
            <a:off x="4687358" y="4068229"/>
            <a:ext cx="4454588" cy="854936"/>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9" name="Pentagon 58"/>
          <p:cNvSpPr/>
          <p:nvPr>
            <p:custDataLst>
              <p:tags r:id="rId29"/>
            </p:custDataLst>
          </p:nvPr>
        </p:nvSpPr>
        <p:spPr>
          <a:xfrm>
            <a:off x="2830765" y="4068956"/>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0" name="Pentagon 59"/>
          <p:cNvSpPr/>
          <p:nvPr>
            <p:custDataLst>
              <p:tags r:id="rId30"/>
            </p:custDataLst>
          </p:nvPr>
        </p:nvSpPr>
        <p:spPr>
          <a:xfrm>
            <a:off x="1710775" y="4057377"/>
            <a:ext cx="336500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1" name="Pentagon 60"/>
          <p:cNvSpPr/>
          <p:nvPr>
            <p:custDataLst>
              <p:tags r:id="rId31"/>
            </p:custDataLst>
          </p:nvPr>
        </p:nvSpPr>
        <p:spPr>
          <a:xfrm>
            <a:off x="707953" y="4068956"/>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2" name="TextBox 61"/>
          <p:cNvSpPr txBox="1"/>
          <p:nvPr>
            <p:custDataLst>
              <p:tags r:id="rId32"/>
            </p:custDataLst>
          </p:nvPr>
        </p:nvSpPr>
        <p:spPr>
          <a:xfrm>
            <a:off x="1035823" y="4381563"/>
            <a:ext cx="1291258"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valuer les cours</a:t>
            </a:r>
          </a:p>
        </p:txBody>
      </p:sp>
      <p:sp>
        <p:nvSpPr>
          <p:cNvPr id="63" name="TextBox 62"/>
          <p:cNvSpPr txBox="1"/>
          <p:nvPr>
            <p:custDataLst>
              <p:tags r:id="rId33"/>
            </p:custDataLst>
          </p:nvPr>
        </p:nvSpPr>
        <p:spPr>
          <a:xfrm>
            <a:off x="3474636" y="4334072"/>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Rembourser la formation</a:t>
            </a:r>
          </a:p>
        </p:txBody>
      </p:sp>
      <p:sp>
        <p:nvSpPr>
          <p:cNvPr id="64" name="TextBox 63"/>
          <p:cNvSpPr txBox="1"/>
          <p:nvPr>
            <p:custDataLst>
              <p:tags r:id="rId34"/>
            </p:custDataLst>
          </p:nvPr>
        </p:nvSpPr>
        <p:spPr>
          <a:xfrm>
            <a:off x="5430424" y="4334072"/>
            <a:ext cx="1171941"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Faire le suivi des formations personnelles des employés </a:t>
            </a:r>
          </a:p>
        </p:txBody>
      </p:sp>
      <p:sp>
        <p:nvSpPr>
          <p:cNvPr id="65" name="TextBox 64"/>
          <p:cNvSpPr txBox="1"/>
          <p:nvPr>
            <p:custDataLst>
              <p:tags r:id="rId35"/>
            </p:custDataLst>
          </p:nvPr>
        </p:nvSpPr>
        <p:spPr>
          <a:xfrm>
            <a:off x="7276715" y="4250550"/>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réer des plans d’apprentissage individuels</a:t>
            </a:r>
          </a:p>
        </p:txBody>
      </p:sp>
      <p:sp>
        <p:nvSpPr>
          <p:cNvPr id="57" name="Rectangle 1"/>
          <p:cNvSpPr/>
          <p:nvPr>
            <p:custDataLst>
              <p:tags r:id="rId36"/>
            </p:custDataLst>
          </p:nvPr>
        </p:nvSpPr>
        <p:spPr>
          <a:xfrm>
            <a:off x="8480469" y="5397666"/>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6" name="TextBox 2"/>
          <p:cNvSpPr txBox="1"/>
          <p:nvPr>
            <p:custDataLst>
              <p:tags r:id="rId37"/>
            </p:custDataLst>
          </p:nvPr>
        </p:nvSpPr>
        <p:spPr>
          <a:xfrm>
            <a:off x="8480469" y="5481380"/>
            <a:ext cx="3387007" cy="1286506"/>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fr-CA" sz="1200" b="1" u="sng" dirty="0">
                <a:solidFill>
                  <a:schemeClr val="bg1"/>
                </a:solidFill>
              </a:rPr>
              <a:t>Légende</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Tableau du modèle de référence opérationnel des RH</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Recommandation d’EY à ajouter</a:t>
            </a:r>
          </a:p>
        </p:txBody>
      </p:sp>
      <p:sp>
        <p:nvSpPr>
          <p:cNvPr id="67" name="Rectangle 3"/>
          <p:cNvSpPr/>
          <p:nvPr>
            <p:custDataLst>
              <p:tags r:id="rId38"/>
            </p:custDataLst>
          </p:nvPr>
        </p:nvSpPr>
        <p:spPr>
          <a:xfrm>
            <a:off x="8637686" y="5926719"/>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8" name="Rectangle 4"/>
          <p:cNvSpPr/>
          <p:nvPr>
            <p:custDataLst>
              <p:tags r:id="rId39"/>
            </p:custDataLst>
          </p:nvPr>
        </p:nvSpPr>
        <p:spPr>
          <a:xfrm>
            <a:off x="8637686" y="6506267"/>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1637607168"/>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p:cNvSpPr/>
          <p:nvPr>
            <p:custDataLst>
              <p:tags r:id="rId1"/>
            </p:custDataLst>
          </p:nvPr>
        </p:nvSpPr>
        <p:spPr>
          <a:xfrm>
            <a:off x="312727" y="4956557"/>
            <a:ext cx="11531600" cy="161085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136" name="Pentagon 135"/>
          <p:cNvSpPr/>
          <p:nvPr>
            <p:custDataLst>
              <p:tags r:id="rId2"/>
            </p:custDataLst>
          </p:nvPr>
        </p:nvSpPr>
        <p:spPr>
          <a:xfrm>
            <a:off x="8318877" y="5568737"/>
            <a:ext cx="2506311"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4" name="Right Triangle 103"/>
          <p:cNvSpPr/>
          <p:nvPr>
            <p:custDataLst>
              <p:tags r:id="rId3"/>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4"/>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47"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48"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5"/>
            </p:custDataLst>
          </p:nvPr>
        </p:nvSpPr>
        <p:spPr>
          <a:xfrm>
            <a:off x="617421" y="754987"/>
            <a:ext cx="9969470" cy="399981"/>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rendement et perfectionnement (suite)</a:t>
            </a:r>
          </a:p>
        </p:txBody>
      </p:sp>
      <p:cxnSp>
        <p:nvCxnSpPr>
          <p:cNvPr id="12" name="Straight Connector 11"/>
          <p:cNvCxnSpPr/>
          <p:nvPr>
            <p:custDataLst>
              <p:tags r:id="rId6"/>
            </p:custDataLst>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65" name="Rectangle 64"/>
          <p:cNvSpPr/>
          <p:nvPr>
            <p:custDataLst>
              <p:tags r:id="rId7"/>
            </p:custDataLst>
          </p:nvPr>
        </p:nvSpPr>
        <p:spPr>
          <a:xfrm>
            <a:off x="312727" y="1432795"/>
            <a:ext cx="11531600" cy="161085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66" name="Pentagon 65"/>
          <p:cNvSpPr/>
          <p:nvPr>
            <p:custDataLst>
              <p:tags r:id="rId8"/>
            </p:custDataLst>
          </p:nvPr>
        </p:nvSpPr>
        <p:spPr>
          <a:xfrm>
            <a:off x="6747620" y="2044975"/>
            <a:ext cx="425192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7" name="Rectangle 66"/>
          <p:cNvSpPr/>
          <p:nvPr>
            <p:custDataLst>
              <p:tags r:id="rId9"/>
            </p:custDataLst>
          </p:nvPr>
        </p:nvSpPr>
        <p:spPr>
          <a:xfrm>
            <a:off x="461074" y="1490276"/>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Suivi et rétroaction sur le rendement</a:t>
            </a:r>
          </a:p>
        </p:txBody>
      </p:sp>
      <p:cxnSp>
        <p:nvCxnSpPr>
          <p:cNvPr id="68" name="Straight Connector 67"/>
          <p:cNvCxnSpPr/>
          <p:nvPr>
            <p:custDataLst>
              <p:tags r:id="rId10"/>
            </p:custDataLst>
          </p:nvPr>
        </p:nvCxnSpPr>
        <p:spPr>
          <a:xfrm>
            <a:off x="461074" y="1900841"/>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9" name="Pentagon 68"/>
          <p:cNvSpPr/>
          <p:nvPr>
            <p:custDataLst>
              <p:tags r:id="rId11"/>
            </p:custDataLst>
          </p:nvPr>
        </p:nvSpPr>
        <p:spPr>
          <a:xfrm>
            <a:off x="4617134" y="2045702"/>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0" name="Pentagon 69"/>
          <p:cNvSpPr/>
          <p:nvPr>
            <p:custDataLst>
              <p:tags r:id="rId12"/>
            </p:custDataLst>
          </p:nvPr>
        </p:nvSpPr>
        <p:spPr>
          <a:xfrm>
            <a:off x="2760541" y="2046429"/>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1" name="Pentagon 70"/>
          <p:cNvSpPr/>
          <p:nvPr>
            <p:custDataLst>
              <p:tags r:id="rId13"/>
            </p:custDataLst>
          </p:nvPr>
        </p:nvSpPr>
        <p:spPr>
          <a:xfrm>
            <a:off x="1640551" y="2034850"/>
            <a:ext cx="3365004"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2" name="Pentagon 71"/>
          <p:cNvSpPr/>
          <p:nvPr>
            <p:custDataLst>
              <p:tags r:id="rId14"/>
            </p:custDataLst>
          </p:nvPr>
        </p:nvSpPr>
        <p:spPr>
          <a:xfrm>
            <a:off x="637729" y="2046429"/>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3" name="TextBox 72"/>
          <p:cNvSpPr txBox="1"/>
          <p:nvPr>
            <p:custDataLst>
              <p:tags r:id="rId15"/>
            </p:custDataLst>
          </p:nvPr>
        </p:nvSpPr>
        <p:spPr>
          <a:xfrm>
            <a:off x="881554" y="2393190"/>
            <a:ext cx="1708179"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buts</a:t>
            </a:r>
          </a:p>
        </p:txBody>
      </p:sp>
      <p:sp>
        <p:nvSpPr>
          <p:cNvPr id="74" name="TextBox 73"/>
          <p:cNvSpPr txBox="1"/>
          <p:nvPr>
            <p:custDataLst>
              <p:tags r:id="rId16"/>
            </p:custDataLst>
          </p:nvPr>
        </p:nvSpPr>
        <p:spPr>
          <a:xfrm>
            <a:off x="3271603" y="2239602"/>
            <a:ext cx="1291907"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Mener des évaluations du rendement</a:t>
            </a:r>
          </a:p>
        </p:txBody>
      </p:sp>
      <p:sp>
        <p:nvSpPr>
          <p:cNvPr id="75" name="TextBox 74"/>
          <p:cNvSpPr txBox="1"/>
          <p:nvPr>
            <p:custDataLst>
              <p:tags r:id="rId17"/>
            </p:custDataLst>
          </p:nvPr>
        </p:nvSpPr>
        <p:spPr>
          <a:xfrm>
            <a:off x="5360200" y="2383488"/>
            <a:ext cx="1171941"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Ajuster les notes</a:t>
            </a:r>
          </a:p>
        </p:txBody>
      </p:sp>
      <p:sp>
        <p:nvSpPr>
          <p:cNvPr id="76" name="TextBox 75"/>
          <p:cNvSpPr txBox="1"/>
          <p:nvPr>
            <p:custDataLst>
              <p:tags r:id="rId18"/>
            </p:custDataLst>
          </p:nvPr>
        </p:nvSpPr>
        <p:spPr>
          <a:xfrm>
            <a:off x="7206491" y="2299966"/>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Offrir une rétroaction complète</a:t>
            </a:r>
          </a:p>
        </p:txBody>
      </p:sp>
      <p:sp>
        <p:nvSpPr>
          <p:cNvPr id="77" name="TextBox 76"/>
          <p:cNvSpPr txBox="1"/>
          <p:nvPr>
            <p:custDataLst>
              <p:tags r:id="rId19"/>
            </p:custDataLst>
          </p:nvPr>
        </p:nvSpPr>
        <p:spPr>
          <a:xfrm>
            <a:off x="9253931" y="2249303"/>
            <a:ext cx="125665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plans d’amélioration du rendement</a:t>
            </a:r>
          </a:p>
        </p:txBody>
      </p:sp>
      <p:sp>
        <p:nvSpPr>
          <p:cNvPr id="96" name="Rectangle 95"/>
          <p:cNvSpPr/>
          <p:nvPr>
            <p:custDataLst>
              <p:tags r:id="rId20"/>
            </p:custDataLst>
          </p:nvPr>
        </p:nvSpPr>
        <p:spPr>
          <a:xfrm>
            <a:off x="312727" y="3144051"/>
            <a:ext cx="7058893" cy="1717317"/>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98" name="Rectangle 97"/>
          <p:cNvSpPr/>
          <p:nvPr>
            <p:custDataLst>
              <p:tags r:id="rId21"/>
            </p:custDataLst>
          </p:nvPr>
        </p:nvSpPr>
        <p:spPr>
          <a:xfrm>
            <a:off x="461074" y="3194434"/>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Évaluation du rendement</a:t>
            </a:r>
          </a:p>
        </p:txBody>
      </p:sp>
      <p:cxnSp>
        <p:nvCxnSpPr>
          <p:cNvPr id="99" name="Straight Connector 98"/>
          <p:cNvCxnSpPr/>
          <p:nvPr>
            <p:custDataLst>
              <p:tags r:id="rId22"/>
            </p:custDataLst>
          </p:nvPr>
        </p:nvCxnSpPr>
        <p:spPr>
          <a:xfrm>
            <a:off x="461074" y="3604999"/>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101" name="Pentagon 100"/>
          <p:cNvSpPr/>
          <p:nvPr>
            <p:custDataLst>
              <p:tags r:id="rId23"/>
            </p:custDataLst>
          </p:nvPr>
        </p:nvSpPr>
        <p:spPr>
          <a:xfrm>
            <a:off x="2760541" y="3811207"/>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2" name="Pentagon 101"/>
          <p:cNvSpPr/>
          <p:nvPr>
            <p:custDataLst>
              <p:tags r:id="rId24"/>
            </p:custDataLst>
          </p:nvPr>
        </p:nvSpPr>
        <p:spPr>
          <a:xfrm>
            <a:off x="1640551" y="3799628"/>
            <a:ext cx="336500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3" name="Pentagon 102"/>
          <p:cNvSpPr/>
          <p:nvPr>
            <p:custDataLst>
              <p:tags r:id="rId25"/>
            </p:custDataLst>
          </p:nvPr>
        </p:nvSpPr>
        <p:spPr>
          <a:xfrm>
            <a:off x="637729" y="3811207"/>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5" name="TextBox 104"/>
          <p:cNvSpPr txBox="1"/>
          <p:nvPr>
            <p:custDataLst>
              <p:tags r:id="rId26"/>
            </p:custDataLst>
          </p:nvPr>
        </p:nvSpPr>
        <p:spPr>
          <a:xfrm>
            <a:off x="881554" y="4157968"/>
            <a:ext cx="1708179"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Tenir un registre des qualifications</a:t>
            </a:r>
          </a:p>
        </p:txBody>
      </p:sp>
      <p:sp>
        <p:nvSpPr>
          <p:cNvPr id="106" name="TextBox 105"/>
          <p:cNvSpPr txBox="1"/>
          <p:nvPr>
            <p:custDataLst>
              <p:tags r:id="rId27"/>
            </p:custDataLst>
          </p:nvPr>
        </p:nvSpPr>
        <p:spPr>
          <a:xfrm>
            <a:off x="3271603" y="4076323"/>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Évaluer les profils des employés</a:t>
            </a:r>
          </a:p>
        </p:txBody>
      </p:sp>
      <p:sp>
        <p:nvSpPr>
          <p:cNvPr id="107" name="TextBox 106"/>
          <p:cNvSpPr txBox="1"/>
          <p:nvPr>
            <p:custDataLst>
              <p:tags r:id="rId28"/>
            </p:custDataLst>
          </p:nvPr>
        </p:nvSpPr>
        <p:spPr>
          <a:xfrm>
            <a:off x="5360200" y="4076323"/>
            <a:ext cx="1171941"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Mettre à jour les profils des employés</a:t>
            </a:r>
          </a:p>
        </p:txBody>
      </p:sp>
      <p:sp>
        <p:nvSpPr>
          <p:cNvPr id="124" name="Pentagon 123"/>
          <p:cNvSpPr/>
          <p:nvPr>
            <p:custDataLst>
              <p:tags r:id="rId29"/>
            </p:custDataLst>
          </p:nvPr>
        </p:nvSpPr>
        <p:spPr>
          <a:xfrm>
            <a:off x="6747620" y="5568737"/>
            <a:ext cx="250631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25" name="Rectangle 124"/>
          <p:cNvSpPr/>
          <p:nvPr>
            <p:custDataLst>
              <p:tags r:id="rId30"/>
            </p:custDataLst>
          </p:nvPr>
        </p:nvSpPr>
        <p:spPr>
          <a:xfrm>
            <a:off x="461074" y="5014038"/>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Planification pour la relève</a:t>
            </a:r>
          </a:p>
        </p:txBody>
      </p:sp>
      <p:cxnSp>
        <p:nvCxnSpPr>
          <p:cNvPr id="126" name="Straight Connector 125"/>
          <p:cNvCxnSpPr/>
          <p:nvPr>
            <p:custDataLst>
              <p:tags r:id="rId31"/>
            </p:custDataLst>
          </p:nvPr>
        </p:nvCxnSpPr>
        <p:spPr>
          <a:xfrm>
            <a:off x="461074" y="542460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127" name="Pentagon 126"/>
          <p:cNvSpPr/>
          <p:nvPr>
            <p:custDataLst>
              <p:tags r:id="rId32"/>
            </p:custDataLst>
          </p:nvPr>
        </p:nvSpPr>
        <p:spPr>
          <a:xfrm>
            <a:off x="4617135" y="5569464"/>
            <a:ext cx="3013757"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28" name="Pentagon 127"/>
          <p:cNvSpPr/>
          <p:nvPr>
            <p:custDataLst>
              <p:tags r:id="rId33"/>
            </p:custDataLst>
          </p:nvPr>
        </p:nvSpPr>
        <p:spPr>
          <a:xfrm>
            <a:off x="2760541" y="5570191"/>
            <a:ext cx="314230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29" name="Pentagon 128"/>
          <p:cNvSpPr/>
          <p:nvPr>
            <p:custDataLst>
              <p:tags r:id="rId34"/>
            </p:custDataLst>
          </p:nvPr>
        </p:nvSpPr>
        <p:spPr>
          <a:xfrm>
            <a:off x="1640552" y="5558612"/>
            <a:ext cx="2691033"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30" name="Pentagon 129"/>
          <p:cNvSpPr/>
          <p:nvPr>
            <p:custDataLst>
              <p:tags r:id="rId35"/>
            </p:custDataLst>
          </p:nvPr>
        </p:nvSpPr>
        <p:spPr>
          <a:xfrm>
            <a:off x="637730" y="5570191"/>
            <a:ext cx="212281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31" name="TextBox 130"/>
          <p:cNvSpPr txBox="1"/>
          <p:nvPr>
            <p:custDataLst>
              <p:tags r:id="rId36"/>
            </p:custDataLst>
          </p:nvPr>
        </p:nvSpPr>
        <p:spPr>
          <a:xfrm>
            <a:off x="826600" y="5810297"/>
            <a:ext cx="1708179"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Se préparer à la planification de la relève</a:t>
            </a:r>
          </a:p>
        </p:txBody>
      </p:sp>
      <p:sp>
        <p:nvSpPr>
          <p:cNvPr id="132" name="TextBox 131"/>
          <p:cNvSpPr txBox="1"/>
          <p:nvPr>
            <p:custDataLst>
              <p:tags r:id="rId37"/>
            </p:custDataLst>
          </p:nvPr>
        </p:nvSpPr>
        <p:spPr>
          <a:xfrm>
            <a:off x="2780539" y="5845008"/>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ibler les potentiels élevés</a:t>
            </a:r>
          </a:p>
        </p:txBody>
      </p:sp>
      <p:sp>
        <p:nvSpPr>
          <p:cNvPr id="133" name="TextBox 132"/>
          <p:cNvSpPr txBox="1"/>
          <p:nvPr>
            <p:custDataLst>
              <p:tags r:id="rId38"/>
            </p:custDataLst>
          </p:nvPr>
        </p:nvSpPr>
        <p:spPr>
          <a:xfrm>
            <a:off x="4340928" y="5792656"/>
            <a:ext cx="1355777"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Effectuer des évaluations obtenues par consensus sur les talents</a:t>
            </a:r>
          </a:p>
        </p:txBody>
      </p:sp>
      <p:sp>
        <p:nvSpPr>
          <p:cNvPr id="134" name="TextBox 133"/>
          <p:cNvSpPr txBox="1"/>
          <p:nvPr>
            <p:custDataLst>
              <p:tags r:id="rId39"/>
            </p:custDataLst>
          </p:nvPr>
        </p:nvSpPr>
        <p:spPr>
          <a:xfrm>
            <a:off x="5887135" y="5751785"/>
            <a:ext cx="148448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Effectuer un audit des talents et déterminer les lacunes pour la relève</a:t>
            </a:r>
          </a:p>
        </p:txBody>
      </p:sp>
      <p:sp>
        <p:nvSpPr>
          <p:cNvPr id="135" name="TextBox 134"/>
          <p:cNvSpPr txBox="1"/>
          <p:nvPr>
            <p:custDataLst>
              <p:tags r:id="rId40"/>
            </p:custDataLst>
          </p:nvPr>
        </p:nvSpPr>
        <p:spPr>
          <a:xfrm>
            <a:off x="7630891" y="5833853"/>
            <a:ext cx="125665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Suivi et évaluation</a:t>
            </a:r>
          </a:p>
        </p:txBody>
      </p:sp>
      <p:sp>
        <p:nvSpPr>
          <p:cNvPr id="137" name="TextBox 136"/>
          <p:cNvSpPr txBox="1"/>
          <p:nvPr>
            <p:custDataLst>
              <p:tags r:id="rId41"/>
            </p:custDataLst>
          </p:nvPr>
        </p:nvSpPr>
        <p:spPr>
          <a:xfrm>
            <a:off x="9253930" y="5689969"/>
            <a:ext cx="1256654"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Créer une gestion de la relève et la mettre en œuvre</a:t>
            </a:r>
          </a:p>
        </p:txBody>
      </p:sp>
      <p:sp>
        <p:nvSpPr>
          <p:cNvPr id="45" name="Rectangle 1"/>
          <p:cNvSpPr/>
          <p:nvPr>
            <p:custDataLst>
              <p:tags r:id="rId42"/>
            </p:custDataLst>
          </p:nvPr>
        </p:nvSpPr>
        <p:spPr>
          <a:xfrm>
            <a:off x="8457320" y="3227063"/>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6" name="TextBox 2"/>
          <p:cNvSpPr txBox="1"/>
          <p:nvPr>
            <p:custDataLst>
              <p:tags r:id="rId43"/>
            </p:custDataLst>
          </p:nvPr>
        </p:nvSpPr>
        <p:spPr>
          <a:xfrm>
            <a:off x="8457320" y="3310777"/>
            <a:ext cx="3387007" cy="1286506"/>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fr-CA" sz="1200" b="1" u="sng" dirty="0">
                <a:solidFill>
                  <a:schemeClr val="bg1"/>
                </a:solidFill>
              </a:rPr>
              <a:t>Légende</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Tableau du modèle de référence opérationnel des RH</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Recommandation d’EY à ajouter</a:t>
            </a:r>
          </a:p>
        </p:txBody>
      </p:sp>
      <p:sp>
        <p:nvSpPr>
          <p:cNvPr id="47" name="Rectangle 3"/>
          <p:cNvSpPr/>
          <p:nvPr>
            <p:custDataLst>
              <p:tags r:id="rId44"/>
            </p:custDataLst>
          </p:nvPr>
        </p:nvSpPr>
        <p:spPr>
          <a:xfrm>
            <a:off x="8614537" y="3756116"/>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8" name="Rectangle 4"/>
          <p:cNvSpPr/>
          <p:nvPr>
            <p:custDataLst>
              <p:tags r:id="rId45"/>
            </p:custDataLst>
          </p:nvPr>
        </p:nvSpPr>
        <p:spPr>
          <a:xfrm>
            <a:off x="8614537" y="4338787"/>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90023656"/>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custDataLst>
              <p:tags r:id="rId1"/>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2"/>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29"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3"/>
            </p:custDataLst>
          </p:nvPr>
        </p:nvSpPr>
        <p:spPr>
          <a:xfrm>
            <a:off x="617421" y="755851"/>
            <a:ext cx="9713231" cy="399981"/>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exemple de rendement et de perfectionnement </a:t>
            </a:r>
          </a:p>
        </p:txBody>
      </p:sp>
      <p:cxnSp>
        <p:nvCxnSpPr>
          <p:cNvPr id="12" name="Straight Connector 11"/>
          <p:cNvCxnSpPr/>
          <p:nvPr>
            <p:custDataLst>
              <p:tags r:id="rId4"/>
            </p:custDataLst>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59" name="Rectangle 58"/>
          <p:cNvSpPr/>
          <p:nvPr>
            <p:custDataLst>
              <p:tags r:id="rId5"/>
            </p:custDataLst>
          </p:nvPr>
        </p:nvSpPr>
        <p:spPr>
          <a:xfrm>
            <a:off x="240774" y="1456149"/>
            <a:ext cx="11212035"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61" name="Pentagon 60"/>
          <p:cNvSpPr/>
          <p:nvPr>
            <p:custDataLst>
              <p:tags r:id="rId6"/>
            </p:custDataLst>
          </p:nvPr>
        </p:nvSpPr>
        <p:spPr>
          <a:xfrm>
            <a:off x="8273844" y="2151320"/>
            <a:ext cx="30485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2" name="Rectangle 61"/>
          <p:cNvSpPr/>
          <p:nvPr>
            <p:custDataLst>
              <p:tags r:id="rId7"/>
            </p:custDataLst>
          </p:nvPr>
        </p:nvSpPr>
        <p:spPr>
          <a:xfrm>
            <a:off x="423654" y="1513618"/>
            <a:ext cx="4591359"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Suivre la gestion de la relève et la mettre en œuvre </a:t>
            </a:r>
          </a:p>
        </p:txBody>
      </p:sp>
      <p:cxnSp>
        <p:nvCxnSpPr>
          <p:cNvPr id="63" name="Straight Connector 62"/>
          <p:cNvCxnSpPr/>
          <p:nvPr>
            <p:custDataLst>
              <p:tags r:id="rId8"/>
            </p:custDataLst>
          </p:nvPr>
        </p:nvCxnSpPr>
        <p:spPr>
          <a:xfrm>
            <a:off x="515301" y="1866066"/>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4" name="Pentagon 63"/>
          <p:cNvSpPr/>
          <p:nvPr>
            <p:custDataLst>
              <p:tags r:id="rId9"/>
            </p:custDataLst>
          </p:nvPr>
        </p:nvSpPr>
        <p:spPr>
          <a:xfrm>
            <a:off x="7053032" y="2151320"/>
            <a:ext cx="2478692"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5" name="Pentagon 64"/>
          <p:cNvSpPr/>
          <p:nvPr>
            <p:custDataLst>
              <p:tags r:id="rId10"/>
            </p:custDataLst>
          </p:nvPr>
        </p:nvSpPr>
        <p:spPr>
          <a:xfrm>
            <a:off x="5815293" y="2151320"/>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6" name="Pentagon 65"/>
          <p:cNvSpPr/>
          <p:nvPr>
            <p:custDataLst>
              <p:tags r:id="rId11"/>
            </p:custDataLst>
          </p:nvPr>
        </p:nvSpPr>
        <p:spPr>
          <a:xfrm>
            <a:off x="4634143" y="21513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7" name="Pentagon 66"/>
          <p:cNvSpPr/>
          <p:nvPr>
            <p:custDataLst>
              <p:tags r:id="rId12"/>
            </p:custDataLst>
          </p:nvPr>
        </p:nvSpPr>
        <p:spPr>
          <a:xfrm>
            <a:off x="3558152" y="2162899"/>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8" name="Pentagon 67"/>
          <p:cNvSpPr/>
          <p:nvPr>
            <p:custDataLst>
              <p:tags r:id="rId13"/>
            </p:custDataLst>
          </p:nvPr>
        </p:nvSpPr>
        <p:spPr>
          <a:xfrm>
            <a:off x="2124982" y="216289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9" name="Pentagon 68"/>
          <p:cNvSpPr/>
          <p:nvPr>
            <p:custDataLst>
              <p:tags r:id="rId14"/>
            </p:custDataLst>
          </p:nvPr>
        </p:nvSpPr>
        <p:spPr>
          <a:xfrm>
            <a:off x="1123101" y="2162899"/>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r">
              <a:defRPr/>
            </a:pPr>
            <a:endParaRPr lang="en-CA" sz="1200" kern="0" dirty="0">
              <a:solidFill>
                <a:srgbClr val="000000"/>
              </a:solidFill>
            </a:endParaRPr>
          </a:p>
        </p:txBody>
      </p:sp>
      <p:sp>
        <p:nvSpPr>
          <p:cNvPr id="70" name="Pentagon 69"/>
          <p:cNvSpPr/>
          <p:nvPr>
            <p:custDataLst>
              <p:tags r:id="rId15"/>
            </p:custDataLst>
          </p:nvPr>
        </p:nvSpPr>
        <p:spPr>
          <a:xfrm>
            <a:off x="515302" y="2162901"/>
            <a:ext cx="166149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 name="TextBox 1"/>
          <p:cNvSpPr txBox="1"/>
          <p:nvPr>
            <p:custDataLst>
              <p:tags r:id="rId16"/>
            </p:custDataLst>
          </p:nvPr>
        </p:nvSpPr>
        <p:spPr>
          <a:xfrm>
            <a:off x="2265198" y="2598480"/>
            <a:ext cx="914484" cy="56015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CA" sz="1000" dirty="0">
                <a:latin typeface="EYInterstate Light" panose="02000506000000020004" pitchFamily="2" charset="0"/>
              </a:rPr>
              <a:t>Examiner les candidats ayant un potentiel élevé et les rôles essentiels</a:t>
            </a:r>
          </a:p>
        </p:txBody>
      </p:sp>
      <p:sp>
        <p:nvSpPr>
          <p:cNvPr id="5" name="TextBox 3"/>
          <p:cNvSpPr txBox="1"/>
          <p:nvPr>
            <p:custDataLst>
              <p:tags r:id="rId17"/>
            </p:custDataLst>
          </p:nvPr>
        </p:nvSpPr>
        <p:spPr>
          <a:xfrm>
            <a:off x="3262859" y="2346251"/>
            <a:ext cx="1012587" cy="118647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CA" sz="1000" dirty="0">
                <a:solidFill>
                  <a:srgbClr val="000000"/>
                </a:solidFill>
                <a:latin typeface="EYInterstate Light" panose="02000506000000020004" pitchFamily="2" charset="0"/>
              </a:rPr>
              <a:t>Faire correspondre les candidats ayant un potentiel élevé aux postes essentiels et déterminer les écarts en matière de perfectionnement </a:t>
            </a:r>
          </a:p>
          <a:p>
            <a:pPr marL="356616" indent="-356616">
              <a:lnSpc>
                <a:spcPct val="85000"/>
              </a:lnSpc>
              <a:spcAft>
                <a:spcPts val="600"/>
              </a:spcAft>
              <a:buClr>
                <a:schemeClr val="accent2"/>
              </a:buClr>
              <a:buSzPct val="70000"/>
              <a:buFont typeface="Arial" pitchFamily="34" charset="0"/>
              <a:buChar char="►"/>
            </a:pPr>
            <a:endParaRPr lang="en-CA" sz="1200" dirty="0">
              <a:solidFill>
                <a:schemeClr val="bg1"/>
              </a:solidFill>
              <a:latin typeface="EYInterstate Light" panose="02000506000000020004" pitchFamily="2" charset="0"/>
            </a:endParaRPr>
          </a:p>
        </p:txBody>
      </p:sp>
      <p:sp>
        <p:nvSpPr>
          <p:cNvPr id="6" name="TextBox 8"/>
          <p:cNvSpPr txBox="1"/>
          <p:nvPr>
            <p:custDataLst>
              <p:tags r:id="rId18"/>
            </p:custDataLst>
          </p:nvPr>
        </p:nvSpPr>
        <p:spPr>
          <a:xfrm>
            <a:off x="4598121" y="2410145"/>
            <a:ext cx="1261483" cy="806375"/>
          </a:xfrm>
          <a:prstGeom prst="rect">
            <a:avLst/>
          </a:prstGeom>
          <a:noFill/>
        </p:spPr>
        <p:txBody>
          <a:bodyPr wrap="square" lIns="0" tIns="36576" rIns="0" bIns="0" rtlCol="0">
            <a:spAutoFit/>
          </a:bodyPr>
          <a:lstStyle/>
          <a:p>
            <a:pPr>
              <a:defRPr/>
            </a:pPr>
            <a:r>
              <a:rPr lang="fr-CA" sz="1000" dirty="0">
                <a:solidFill>
                  <a:srgbClr val="000000"/>
                </a:solidFill>
                <a:latin typeface="EYInterstate Light" panose="02000506000000020004" pitchFamily="2" charset="0"/>
              </a:rPr>
              <a:t>Évaluer les capacités et les compétences nécessaires au poste essentiel</a:t>
            </a:r>
          </a:p>
        </p:txBody>
      </p:sp>
      <p:sp>
        <p:nvSpPr>
          <p:cNvPr id="7" name="TextBox 14"/>
          <p:cNvSpPr txBox="1"/>
          <p:nvPr>
            <p:custDataLst>
              <p:tags r:id="rId19"/>
            </p:custDataLst>
          </p:nvPr>
        </p:nvSpPr>
        <p:spPr>
          <a:xfrm>
            <a:off x="745541" y="2609869"/>
            <a:ext cx="1184352" cy="42934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CA" sz="1000" dirty="0">
                <a:latin typeface="EYInterstate Light" panose="02000506000000020004" pitchFamily="2" charset="0"/>
              </a:rPr>
              <a:t>Plans d’action créés pour les candidats ayant un potentiel élevé</a:t>
            </a:r>
          </a:p>
        </p:txBody>
      </p:sp>
      <p:sp>
        <p:nvSpPr>
          <p:cNvPr id="8" name="TextBox 16"/>
          <p:cNvSpPr txBox="1"/>
          <p:nvPr>
            <p:custDataLst>
              <p:tags r:id="rId20"/>
            </p:custDataLst>
          </p:nvPr>
        </p:nvSpPr>
        <p:spPr>
          <a:xfrm>
            <a:off x="5976406" y="2538070"/>
            <a:ext cx="1055622" cy="806375"/>
          </a:xfrm>
          <a:prstGeom prst="rect">
            <a:avLst/>
          </a:prstGeom>
          <a:noFill/>
        </p:spPr>
        <p:txBody>
          <a:bodyPr wrap="square" lIns="0" tIns="36576" rIns="0" bIns="0" rtlCol="0">
            <a:spAutoFit/>
          </a:bodyPr>
          <a:lstStyle/>
          <a:p>
            <a:pPr>
              <a:defRPr/>
            </a:pPr>
            <a:r>
              <a:rPr lang="fr-CA" sz="1000" dirty="0">
                <a:solidFill>
                  <a:srgbClr val="000000"/>
                </a:solidFill>
                <a:latin typeface="EYInterstate" panose="02000503020000020004" pitchFamily="2" charset="0"/>
              </a:rPr>
              <a:t>Confirmer les compétences, la disponibilité et l’expérience des employés</a:t>
            </a:r>
          </a:p>
        </p:txBody>
      </p:sp>
      <p:sp>
        <p:nvSpPr>
          <p:cNvPr id="10" name="TextBox 17"/>
          <p:cNvSpPr txBox="1"/>
          <p:nvPr>
            <p:custDataLst>
              <p:tags r:id="rId21"/>
            </p:custDataLst>
          </p:nvPr>
        </p:nvSpPr>
        <p:spPr>
          <a:xfrm>
            <a:off x="7195336" y="2593435"/>
            <a:ext cx="1179814" cy="69211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CA" sz="1000" dirty="0">
                <a:latin typeface="EYInterstate Light" panose="02000506000000020004" pitchFamily="2" charset="0"/>
              </a:rPr>
              <a:t>Créer un rapport pour les candidats qui ne correspondent pas aux besoins ou qui ne sont pas prêts </a:t>
            </a:r>
          </a:p>
        </p:txBody>
      </p:sp>
      <p:sp>
        <p:nvSpPr>
          <p:cNvPr id="13" name="TextBox 18"/>
          <p:cNvSpPr txBox="1"/>
          <p:nvPr>
            <p:custDataLst>
              <p:tags r:id="rId22"/>
            </p:custDataLst>
          </p:nvPr>
        </p:nvSpPr>
        <p:spPr>
          <a:xfrm>
            <a:off x="8433750" y="2569930"/>
            <a:ext cx="881706" cy="806375"/>
          </a:xfrm>
          <a:prstGeom prst="rect">
            <a:avLst/>
          </a:prstGeom>
          <a:noFill/>
        </p:spPr>
        <p:txBody>
          <a:bodyPr wrap="square" lIns="0" tIns="36576" rIns="0" bIns="0" rtlCol="0">
            <a:spAutoFit/>
          </a:bodyPr>
          <a:lstStyle/>
          <a:p>
            <a:pPr>
              <a:defRPr/>
            </a:pPr>
            <a:r>
              <a:rPr lang="fr-CA" sz="1000" dirty="0">
                <a:latin typeface="EYInterstate Light" panose="02000506000000020004" pitchFamily="2" charset="0"/>
              </a:rPr>
              <a:t>Saisir et gérer les résultats finaux (rapports, système, etc.)</a:t>
            </a:r>
          </a:p>
        </p:txBody>
      </p:sp>
      <p:sp>
        <p:nvSpPr>
          <p:cNvPr id="14" name="TextBox 19"/>
          <p:cNvSpPr txBox="1"/>
          <p:nvPr>
            <p:custDataLst>
              <p:tags r:id="rId23"/>
            </p:custDataLst>
          </p:nvPr>
        </p:nvSpPr>
        <p:spPr>
          <a:xfrm>
            <a:off x="9610902" y="2675270"/>
            <a:ext cx="1126968" cy="43050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CA" sz="1000" dirty="0">
                <a:latin typeface="EYInterstate Light" panose="02000506000000020004" pitchFamily="2" charset="0"/>
              </a:rPr>
              <a:t>Mettre à jour les résultats finaux dans le système</a:t>
            </a:r>
          </a:p>
        </p:txBody>
      </p:sp>
      <p:sp>
        <p:nvSpPr>
          <p:cNvPr id="50" name="Rectangle 20"/>
          <p:cNvSpPr/>
          <p:nvPr>
            <p:custDataLst>
              <p:tags r:id="rId24"/>
            </p:custDataLst>
          </p:nvPr>
        </p:nvSpPr>
        <p:spPr>
          <a:xfrm>
            <a:off x="276355" y="4110417"/>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1" name="TextBox 21"/>
          <p:cNvSpPr txBox="1"/>
          <p:nvPr>
            <p:custDataLst>
              <p:tags r:id="rId25"/>
            </p:custDataLst>
          </p:nvPr>
        </p:nvSpPr>
        <p:spPr>
          <a:xfrm>
            <a:off x="276355" y="4194131"/>
            <a:ext cx="3387007" cy="1286506"/>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fr-CA" sz="1200" b="1" u="sng" dirty="0">
                <a:solidFill>
                  <a:schemeClr val="bg1"/>
                </a:solidFill>
              </a:rPr>
              <a:t>Légende</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Tableau du modèle de référence opérationnel des RH</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Recommandation d’EY à ajouter</a:t>
            </a:r>
          </a:p>
        </p:txBody>
      </p:sp>
      <p:sp>
        <p:nvSpPr>
          <p:cNvPr id="52" name="Rectangle 24"/>
          <p:cNvSpPr/>
          <p:nvPr>
            <p:custDataLst>
              <p:tags r:id="rId26"/>
            </p:custDataLst>
          </p:nvPr>
        </p:nvSpPr>
        <p:spPr>
          <a:xfrm>
            <a:off x="433572" y="4639470"/>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3" name="Rectangle 25"/>
          <p:cNvSpPr/>
          <p:nvPr>
            <p:custDataLst>
              <p:tags r:id="rId27"/>
            </p:custDataLst>
          </p:nvPr>
        </p:nvSpPr>
        <p:spPr>
          <a:xfrm>
            <a:off x="433572" y="5193178"/>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1425977525"/>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6980034"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Équipe d’EY </a:t>
            </a:r>
          </a:p>
        </p:txBody>
      </p:sp>
      <p:cxnSp>
        <p:nvCxnSpPr>
          <p:cNvPr id="65" name="Straight Connector 64"/>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grpSp>
        <p:nvGrpSpPr>
          <p:cNvPr id="85" name="Group 84"/>
          <p:cNvGrpSpPr/>
          <p:nvPr/>
        </p:nvGrpSpPr>
        <p:grpSpPr>
          <a:xfrm>
            <a:off x="11002100" y="159871"/>
            <a:ext cx="546054" cy="612325"/>
            <a:chOff x="2754722" y="3916375"/>
            <a:chExt cx="6115741" cy="6858000"/>
          </a:xfrm>
        </p:grpSpPr>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87" name="Picture 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grpSp>
        <p:nvGrpSpPr>
          <p:cNvPr id="5" name="Group 4"/>
          <p:cNvGrpSpPr/>
          <p:nvPr/>
        </p:nvGrpSpPr>
        <p:grpSpPr>
          <a:xfrm>
            <a:off x="1602622" y="1515693"/>
            <a:ext cx="2346823" cy="2430236"/>
            <a:chOff x="1935069" y="1515693"/>
            <a:chExt cx="2346823" cy="2430236"/>
          </a:xfrm>
        </p:grpSpPr>
        <p:grpSp>
          <p:nvGrpSpPr>
            <p:cNvPr id="2" name="Group 1"/>
            <p:cNvGrpSpPr/>
            <p:nvPr/>
          </p:nvGrpSpPr>
          <p:grpSpPr>
            <a:xfrm>
              <a:off x="2206485" y="1515693"/>
              <a:ext cx="1800000" cy="2430236"/>
              <a:chOff x="2206485" y="1515693"/>
              <a:chExt cx="1800000" cy="2430236"/>
            </a:xfrm>
          </p:grpSpPr>
          <p:sp>
            <p:nvSpPr>
              <p:cNvPr id="21" name="TextBox 20"/>
              <p:cNvSpPr txBox="1"/>
              <p:nvPr/>
            </p:nvSpPr>
            <p:spPr>
              <a:xfrm>
                <a:off x="2206485" y="1515693"/>
                <a:ext cx="1800000" cy="2430236"/>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pic>
            <p:nvPicPr>
              <p:cNvPr id="4" name="Picture 3"/>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2459965" y="1592118"/>
                <a:ext cx="1296000" cy="1658880"/>
              </a:xfrm>
              <a:prstGeom prst="rect">
                <a:avLst/>
              </a:prstGeom>
              <a:ln>
                <a:solidFill>
                  <a:srgbClr val="C00000"/>
                </a:solidFill>
              </a:ln>
            </p:spPr>
          </p:pic>
        </p:grpSp>
        <p:sp>
          <p:nvSpPr>
            <p:cNvPr id="22" name="TextBox 21"/>
            <p:cNvSpPr txBox="1"/>
            <p:nvPr/>
          </p:nvSpPr>
          <p:spPr>
            <a:xfrm>
              <a:off x="1935069" y="3246406"/>
              <a:ext cx="2346823" cy="646331"/>
            </a:xfrm>
            <a:prstGeom prst="rect">
              <a:avLst/>
            </a:prstGeom>
            <a:noFill/>
          </p:spPr>
          <p:txBody>
            <a:bodyPr wrap="square" rtlCol="0" anchor="ctr">
              <a:spAutoFit/>
            </a:bodyPr>
            <a:lstStyle/>
            <a:p>
              <a:pPr algn="ctr"/>
              <a:r>
                <a:rPr lang="en-CA" sz="1200" b="1" dirty="0">
                  <a:latin typeface="EYInterstate Light" panose="02000506000000020004" pitchFamily="2" charset="0"/>
                </a:rPr>
                <a:t>Kirsten Tisdale </a:t>
              </a:r>
              <a:endParaRPr lang="en-CA" sz="1200" b="1" i="1" dirty="0">
                <a:latin typeface="EYInterstate Light" panose="02000506000000020004" pitchFamily="2" charset="0"/>
              </a:endParaRPr>
            </a:p>
            <a:p>
              <a:pPr algn="ctr"/>
              <a:r>
                <a:rPr lang="fr-CA" sz="1200" i="1" dirty="0">
                  <a:latin typeface="EYInterstate Light" panose="02000506000000020004" pitchFamily="2" charset="0"/>
                </a:rPr>
                <a:t>Associée responsable de la mission</a:t>
              </a:r>
            </a:p>
          </p:txBody>
        </p:sp>
      </p:grpSp>
      <p:grpSp>
        <p:nvGrpSpPr>
          <p:cNvPr id="3" name="Group 2"/>
          <p:cNvGrpSpPr/>
          <p:nvPr/>
        </p:nvGrpSpPr>
        <p:grpSpPr>
          <a:xfrm>
            <a:off x="4305042" y="1488347"/>
            <a:ext cx="2653888" cy="2461311"/>
            <a:chOff x="4305042" y="1488347"/>
            <a:chExt cx="2653888" cy="2461311"/>
          </a:xfrm>
        </p:grpSpPr>
        <p:sp>
          <p:nvSpPr>
            <p:cNvPr id="26" name="TextBox 25"/>
            <p:cNvSpPr txBox="1"/>
            <p:nvPr/>
          </p:nvSpPr>
          <p:spPr>
            <a:xfrm>
              <a:off x="4750922" y="1488347"/>
              <a:ext cx="1800000" cy="2451855"/>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pic>
          <p:nvPicPr>
            <p:cNvPr id="6" name="Picture 5"/>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5000719" y="1592118"/>
              <a:ext cx="1296000" cy="1667520"/>
            </a:xfrm>
            <a:prstGeom prst="rect">
              <a:avLst/>
            </a:prstGeom>
            <a:ln w="3175">
              <a:solidFill>
                <a:srgbClr val="C00000"/>
              </a:solidFill>
            </a:ln>
          </p:spPr>
        </p:pic>
        <p:sp>
          <p:nvSpPr>
            <p:cNvPr id="23" name="TextBox 22"/>
            <p:cNvSpPr txBox="1"/>
            <p:nvPr/>
          </p:nvSpPr>
          <p:spPr>
            <a:xfrm>
              <a:off x="4305042" y="3303327"/>
              <a:ext cx="2653888" cy="646331"/>
            </a:xfrm>
            <a:prstGeom prst="rect">
              <a:avLst/>
            </a:prstGeom>
            <a:noFill/>
          </p:spPr>
          <p:txBody>
            <a:bodyPr wrap="square" rtlCol="0" anchor="ctr">
              <a:spAutoFit/>
            </a:bodyPr>
            <a:lstStyle/>
            <a:p>
              <a:pPr algn="ctr"/>
              <a:r>
                <a:rPr lang="en-CA" sz="1200" b="1" dirty="0">
                  <a:latin typeface="EYInterstate Light" panose="02000506000000020004" pitchFamily="2" charset="0"/>
                </a:rPr>
                <a:t>Paul Tucker </a:t>
              </a:r>
              <a:endParaRPr lang="en-CA" sz="1200" b="1" i="1" dirty="0">
                <a:latin typeface="EYInterstate Light" panose="02000506000000020004" pitchFamily="2" charset="0"/>
              </a:endParaRPr>
            </a:p>
            <a:p>
              <a:pPr algn="ctr"/>
              <a:r>
                <a:rPr lang="fr-CA" sz="1200" i="1" dirty="0">
                  <a:latin typeface="EYInterstate Light" panose="02000506000000020004" pitchFamily="2" charset="0"/>
                </a:rPr>
                <a:t>CHD, RH, Technologie, Paie, Processus</a:t>
              </a:r>
            </a:p>
          </p:txBody>
        </p:sp>
      </p:grpSp>
      <p:grpSp>
        <p:nvGrpSpPr>
          <p:cNvPr id="9" name="Group 8"/>
          <p:cNvGrpSpPr/>
          <p:nvPr/>
        </p:nvGrpSpPr>
        <p:grpSpPr>
          <a:xfrm>
            <a:off x="7170179" y="1488347"/>
            <a:ext cx="2346823" cy="2466709"/>
            <a:chOff x="7170179" y="1488347"/>
            <a:chExt cx="2346823" cy="2466709"/>
          </a:xfrm>
        </p:grpSpPr>
        <p:sp>
          <p:nvSpPr>
            <p:cNvPr id="30" name="TextBox 29"/>
            <p:cNvSpPr txBox="1"/>
            <p:nvPr/>
          </p:nvSpPr>
          <p:spPr>
            <a:xfrm>
              <a:off x="7420427" y="1488347"/>
              <a:ext cx="1800000" cy="2466709"/>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12019" r="12387" b="4003"/>
            <a:stretch/>
          </p:blipFill>
          <p:spPr>
            <a:xfrm>
              <a:off x="7686067" y="1592118"/>
              <a:ext cx="1296000" cy="1667520"/>
            </a:xfrm>
            <a:prstGeom prst="rect">
              <a:avLst/>
            </a:prstGeom>
            <a:ln>
              <a:solidFill>
                <a:srgbClr val="C00000"/>
              </a:solidFill>
            </a:ln>
          </p:spPr>
        </p:pic>
        <p:sp>
          <p:nvSpPr>
            <p:cNvPr id="24" name="TextBox 23"/>
            <p:cNvSpPr txBox="1"/>
            <p:nvPr/>
          </p:nvSpPr>
          <p:spPr>
            <a:xfrm>
              <a:off x="7170179" y="3276416"/>
              <a:ext cx="2346823" cy="646331"/>
            </a:xfrm>
            <a:prstGeom prst="rect">
              <a:avLst/>
            </a:prstGeom>
            <a:noFill/>
          </p:spPr>
          <p:txBody>
            <a:bodyPr wrap="square" rtlCol="0" anchor="ctr">
              <a:spAutoFit/>
            </a:bodyPr>
            <a:lstStyle/>
            <a:p>
              <a:pPr algn="ctr"/>
              <a:r>
                <a:rPr lang="en-CA" sz="1200" b="1" dirty="0">
                  <a:latin typeface="EYInterstate Light" panose="02000506000000020004" pitchFamily="2" charset="0"/>
                </a:rPr>
                <a:t>Warren Tomlin</a:t>
              </a:r>
              <a:endParaRPr lang="en-CA" sz="1200" b="1" i="1" dirty="0">
                <a:latin typeface="EYInterstate Light" panose="02000506000000020004" pitchFamily="2" charset="0"/>
              </a:endParaRPr>
            </a:p>
            <a:p>
              <a:pPr algn="ctr"/>
              <a:r>
                <a:rPr lang="fr-CA" sz="1200" i="1" dirty="0">
                  <a:latin typeface="EYInterstate Light" panose="02000506000000020004" pitchFamily="2" charset="0"/>
                </a:rPr>
                <a:t>CHD, Expérience utilisateur numérique</a:t>
              </a:r>
            </a:p>
          </p:txBody>
        </p:sp>
      </p:grpSp>
      <p:grpSp>
        <p:nvGrpSpPr>
          <p:cNvPr id="11" name="Group 10"/>
          <p:cNvGrpSpPr/>
          <p:nvPr/>
        </p:nvGrpSpPr>
        <p:grpSpPr>
          <a:xfrm>
            <a:off x="1954340" y="4157535"/>
            <a:ext cx="2752355" cy="2469882"/>
            <a:chOff x="1954340" y="4157535"/>
            <a:chExt cx="2752355" cy="2469882"/>
          </a:xfrm>
        </p:grpSpPr>
        <p:sp>
          <p:nvSpPr>
            <p:cNvPr id="31" name="TextBox 30"/>
            <p:cNvSpPr txBox="1"/>
            <p:nvPr/>
          </p:nvSpPr>
          <p:spPr>
            <a:xfrm>
              <a:off x="2408675" y="4157535"/>
              <a:ext cx="1800000" cy="2466709"/>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grpSp>
          <p:nvGrpSpPr>
            <p:cNvPr id="10" name="Group 9"/>
            <p:cNvGrpSpPr/>
            <p:nvPr/>
          </p:nvGrpSpPr>
          <p:grpSpPr>
            <a:xfrm>
              <a:off x="1954340" y="4261306"/>
              <a:ext cx="2752355" cy="2366111"/>
              <a:chOff x="1954340" y="4261306"/>
              <a:chExt cx="2752355" cy="2366111"/>
            </a:xfrm>
          </p:grpSpPr>
          <p:pic>
            <p:nvPicPr>
              <p:cNvPr id="8" name="Picture 7"/>
              <p:cNvPicPr>
                <a:picLocks noChangeAspect="1"/>
              </p:cNvPicPr>
              <p:nvPr/>
            </p:nvPicPr>
            <p:blipFill rotWithShape="1">
              <a:blip r:embed="rId8" cstate="print">
                <a:grayscl/>
                <a:extLst>
                  <a:ext uri="{28A0092B-C50C-407E-A947-70E740481C1C}">
                    <a14:useLocalDpi xmlns:a14="http://schemas.microsoft.com/office/drawing/2010/main" val="0"/>
                  </a:ext>
                </a:extLst>
              </a:blip>
              <a:srcRect b="8582"/>
              <a:stretch/>
            </p:blipFill>
            <p:spPr>
              <a:xfrm>
                <a:off x="2653445" y="4261306"/>
                <a:ext cx="1296000" cy="1682765"/>
              </a:xfrm>
              <a:prstGeom prst="rect">
                <a:avLst/>
              </a:prstGeom>
              <a:ln>
                <a:solidFill>
                  <a:srgbClr val="C00000"/>
                </a:solidFill>
              </a:ln>
            </p:spPr>
          </p:pic>
          <p:sp>
            <p:nvSpPr>
              <p:cNvPr id="25" name="TextBox 24"/>
              <p:cNvSpPr txBox="1"/>
              <p:nvPr/>
            </p:nvSpPr>
            <p:spPr>
              <a:xfrm>
                <a:off x="1954340" y="5981086"/>
                <a:ext cx="2752355" cy="646331"/>
              </a:xfrm>
              <a:prstGeom prst="rect">
                <a:avLst/>
              </a:prstGeom>
              <a:noFill/>
            </p:spPr>
            <p:txBody>
              <a:bodyPr wrap="square" rtlCol="0" anchor="ctr">
                <a:spAutoFit/>
              </a:bodyPr>
              <a:lstStyle/>
              <a:p>
                <a:pPr algn="ctr"/>
                <a:r>
                  <a:rPr lang="en-CA" sz="1200" b="1" dirty="0">
                    <a:latin typeface="EYInterstate Light" panose="02000506000000020004" pitchFamily="2" charset="0"/>
                  </a:rPr>
                  <a:t>Atir Syed</a:t>
                </a:r>
                <a:endParaRPr lang="en-CA" sz="1200" b="1" i="1" dirty="0">
                  <a:latin typeface="EYInterstate Light" panose="02000506000000020004" pitchFamily="2" charset="0"/>
                </a:endParaRPr>
              </a:p>
              <a:p>
                <a:pPr algn="ctr"/>
                <a:r>
                  <a:rPr lang="fr-CA" sz="1200" i="1" dirty="0">
                    <a:latin typeface="EYInterstate Light" panose="02000506000000020004" pitchFamily="2" charset="0"/>
                  </a:rPr>
                  <a:t>CHD, RH, Technologie, Paie, Processus</a:t>
                </a:r>
              </a:p>
            </p:txBody>
          </p:sp>
        </p:grpSp>
      </p:grpSp>
      <p:grpSp>
        <p:nvGrpSpPr>
          <p:cNvPr id="17" name="Group 16"/>
          <p:cNvGrpSpPr/>
          <p:nvPr/>
        </p:nvGrpSpPr>
        <p:grpSpPr>
          <a:xfrm>
            <a:off x="7653068" y="4175772"/>
            <a:ext cx="2346823" cy="2430236"/>
            <a:chOff x="7653068" y="4175772"/>
            <a:chExt cx="2346823" cy="2430236"/>
          </a:xfrm>
        </p:grpSpPr>
        <p:sp>
          <p:nvSpPr>
            <p:cNvPr id="34" name="TextBox 33"/>
            <p:cNvSpPr txBox="1"/>
            <p:nvPr/>
          </p:nvSpPr>
          <p:spPr>
            <a:xfrm>
              <a:off x="7936005" y="4175772"/>
              <a:ext cx="1800000" cy="2430236"/>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grpSp>
          <p:nvGrpSpPr>
            <p:cNvPr id="14" name="Group 13"/>
            <p:cNvGrpSpPr/>
            <p:nvPr/>
          </p:nvGrpSpPr>
          <p:grpSpPr>
            <a:xfrm>
              <a:off x="7653068" y="4305974"/>
              <a:ext cx="2346823" cy="2229108"/>
              <a:chOff x="7653068" y="4305974"/>
              <a:chExt cx="2346823" cy="2229108"/>
            </a:xfrm>
          </p:grpSpPr>
          <p:pic>
            <p:nvPicPr>
              <p:cNvPr id="16" name="Picture 15"/>
              <p:cNvPicPr>
                <a:picLocks/>
              </p:cNvPicPr>
              <p:nvPr/>
            </p:nvPicPr>
            <p:blipFill rotWithShape="1">
              <a:blip r:embed="rId9" cstate="print">
                <a:extLst>
                  <a:ext uri="{28A0092B-C50C-407E-A947-70E740481C1C}">
                    <a14:useLocalDpi xmlns:a14="http://schemas.microsoft.com/office/drawing/2010/main" val="0"/>
                  </a:ext>
                </a:extLst>
              </a:blip>
              <a:srcRect l="22741" r="9588" b="13529"/>
              <a:stretch/>
            </p:blipFill>
            <p:spPr>
              <a:xfrm>
                <a:off x="8178480" y="4305974"/>
                <a:ext cx="1296000" cy="1656000"/>
              </a:xfrm>
              <a:prstGeom prst="rect">
                <a:avLst/>
              </a:prstGeom>
              <a:ln>
                <a:solidFill>
                  <a:srgbClr val="FF0000"/>
                </a:solidFill>
              </a:ln>
            </p:spPr>
          </p:pic>
          <p:sp>
            <p:nvSpPr>
              <p:cNvPr id="28" name="TextBox 27"/>
              <p:cNvSpPr txBox="1"/>
              <p:nvPr/>
            </p:nvSpPr>
            <p:spPr>
              <a:xfrm>
                <a:off x="7653068" y="6073417"/>
                <a:ext cx="2346823" cy="461665"/>
              </a:xfrm>
              <a:prstGeom prst="rect">
                <a:avLst/>
              </a:prstGeom>
              <a:noFill/>
            </p:spPr>
            <p:txBody>
              <a:bodyPr wrap="square" rtlCol="0" anchor="ctr">
                <a:spAutoFit/>
              </a:bodyPr>
              <a:lstStyle/>
              <a:p>
                <a:pPr algn="ctr"/>
                <a:r>
                  <a:rPr lang="en-CA" sz="1200" b="1" dirty="0">
                    <a:latin typeface="EYInterstate Light" panose="02000506000000020004" pitchFamily="2" charset="0"/>
                  </a:rPr>
                  <a:t>Brittany Smith</a:t>
                </a:r>
                <a:endParaRPr lang="en-CA" sz="1200" b="1" i="1" dirty="0">
                  <a:latin typeface="EYInterstate Light" panose="02000506000000020004" pitchFamily="2" charset="0"/>
                </a:endParaRPr>
              </a:p>
              <a:p>
                <a:pPr algn="ctr"/>
                <a:r>
                  <a:rPr lang="fr-CA" sz="1200" i="1" dirty="0">
                    <a:latin typeface="EYInterstate Light" panose="02000506000000020004" pitchFamily="2" charset="0"/>
                  </a:rPr>
                  <a:t>Consultante principale </a:t>
                </a:r>
              </a:p>
            </p:txBody>
          </p:sp>
        </p:grpSp>
      </p:grpSp>
      <p:grpSp>
        <p:nvGrpSpPr>
          <p:cNvPr id="13" name="Group 12"/>
          <p:cNvGrpSpPr/>
          <p:nvPr/>
        </p:nvGrpSpPr>
        <p:grpSpPr>
          <a:xfrm>
            <a:off x="4868703" y="4175772"/>
            <a:ext cx="2346823" cy="2430236"/>
            <a:chOff x="4868703" y="4175772"/>
            <a:chExt cx="2346823" cy="2430236"/>
          </a:xfrm>
        </p:grpSpPr>
        <p:sp>
          <p:nvSpPr>
            <p:cNvPr id="33" name="TextBox 32"/>
            <p:cNvSpPr txBox="1"/>
            <p:nvPr/>
          </p:nvSpPr>
          <p:spPr>
            <a:xfrm>
              <a:off x="5168570" y="4175772"/>
              <a:ext cx="1800000" cy="2430236"/>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grpSp>
          <p:nvGrpSpPr>
            <p:cNvPr id="12" name="Group 11"/>
            <p:cNvGrpSpPr/>
            <p:nvPr/>
          </p:nvGrpSpPr>
          <p:grpSpPr>
            <a:xfrm>
              <a:off x="4868703" y="4302160"/>
              <a:ext cx="2346823" cy="2232923"/>
              <a:chOff x="4868703" y="4302160"/>
              <a:chExt cx="2346823" cy="2232923"/>
            </a:xfrm>
          </p:grpSpPr>
          <p:sp>
            <p:nvSpPr>
              <p:cNvPr id="27" name="TextBox 26"/>
              <p:cNvSpPr txBox="1"/>
              <p:nvPr/>
            </p:nvSpPr>
            <p:spPr>
              <a:xfrm>
                <a:off x="4868703" y="6073418"/>
                <a:ext cx="2346823" cy="461665"/>
              </a:xfrm>
              <a:prstGeom prst="rect">
                <a:avLst/>
              </a:prstGeom>
              <a:noFill/>
            </p:spPr>
            <p:txBody>
              <a:bodyPr wrap="square" rtlCol="0" anchor="ctr">
                <a:spAutoFit/>
              </a:bodyPr>
              <a:lstStyle/>
              <a:p>
                <a:pPr algn="ctr"/>
                <a:r>
                  <a:rPr lang="en-CA" sz="1200" b="1" dirty="0">
                    <a:latin typeface="EYInterstate Light" panose="02000506000000020004" pitchFamily="2" charset="0"/>
                  </a:rPr>
                  <a:t>Julie Barac</a:t>
                </a:r>
                <a:endParaRPr lang="en-CA" sz="1200" b="1" i="1" dirty="0">
                  <a:latin typeface="EYInterstate Light" panose="02000506000000020004" pitchFamily="2" charset="0"/>
                </a:endParaRPr>
              </a:p>
              <a:p>
                <a:pPr algn="ctr"/>
                <a:r>
                  <a:rPr lang="fr-CA" sz="1200" i="1" dirty="0">
                    <a:latin typeface="EYInterstate Light" panose="02000506000000020004" pitchFamily="2" charset="0"/>
                  </a:rPr>
                  <a:t>Consultante principale </a:t>
                </a:r>
              </a:p>
            </p:txBody>
          </p:sp>
          <p:pic>
            <p:nvPicPr>
              <p:cNvPr id="11266" name="Picture 2" descr="phot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27727" y="4302160"/>
                <a:ext cx="1241226" cy="1682006"/>
              </a:xfrm>
              <a:prstGeom prst="rect">
                <a:avLst/>
              </a:prstGeom>
              <a:ln>
                <a:solidFill>
                  <a:srgbClr val="FF0000"/>
                </a:solidFill>
              </a:ln>
              <a:extLst>
                <a:ext uri="{909E8E84-426E-40dd-AFC4-6F175D3DCCD1}">
                  <a14:hiddenFill xmlns="" xmlns:a14="http://schemas.microsoft.com/office/drawing/2010/main">
                    <a:solidFill>
                      <a:srgbClr val="FFFFFF"/>
                    </a:solidFill>
                  </a14:hiddenFill>
                </a:ext>
              </a:extLst>
            </p:spPr>
          </p:pic>
        </p:grpSp>
      </p:grpSp>
    </p:spTree>
    <p:extLst>
      <p:ext uri="{BB962C8B-B14F-4D97-AF65-F5344CB8AC3E}">
        <p14:creationId xmlns:p14="http://schemas.microsoft.com/office/powerpoint/2010/main" val="2256389652"/>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custDataLst>
              <p:tags r:id="rId1"/>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2"/>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15"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cxnSp>
        <p:nvCxnSpPr>
          <p:cNvPr id="12" name="Straight Connector 11"/>
          <p:cNvCxnSpPr/>
          <p:nvPr>
            <p:custDataLst>
              <p:tags r:id="rId3"/>
            </p:custDataLst>
          </p:nvPr>
        </p:nvCxnSpPr>
        <p:spPr>
          <a:xfrm>
            <a:off x="617421"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43" name="Freeform 9"/>
          <p:cNvSpPr>
            <a:spLocks noChangeAspect="1"/>
          </p:cNvSpPr>
          <p:nvPr>
            <p:custDataLst>
              <p:tags r:id="rId4"/>
            </p:custDataLst>
          </p:nvPr>
        </p:nvSpPr>
        <p:spPr bwMode="auto">
          <a:xfrm>
            <a:off x="6096463" y="1678449"/>
            <a:ext cx="2439733" cy="2218936"/>
          </a:xfrm>
          <a:custGeom>
            <a:avLst/>
            <a:gdLst/>
            <a:ahLst/>
            <a:cxnLst>
              <a:cxn ang="0">
                <a:pos x="0" y="0"/>
              </a:cxn>
              <a:cxn ang="0">
                <a:pos x="56" y="2"/>
              </a:cxn>
              <a:cxn ang="0">
                <a:pos x="111" y="6"/>
              </a:cxn>
              <a:cxn ang="0">
                <a:pos x="167" y="12"/>
              </a:cxn>
              <a:cxn ang="0">
                <a:pos x="221" y="22"/>
              </a:cxn>
              <a:cxn ang="0">
                <a:pos x="276" y="34"/>
              </a:cxn>
              <a:cxn ang="0">
                <a:pos x="329" y="49"/>
              </a:cxn>
              <a:cxn ang="0">
                <a:pos x="382" y="67"/>
              </a:cxn>
              <a:cxn ang="0">
                <a:pos x="408" y="76"/>
              </a:cxn>
              <a:cxn ang="0">
                <a:pos x="460" y="97"/>
              </a:cxn>
              <a:cxn ang="0">
                <a:pos x="510" y="121"/>
              </a:cxn>
              <a:cxn ang="0">
                <a:pos x="559" y="147"/>
              </a:cxn>
              <a:cxn ang="0">
                <a:pos x="608" y="176"/>
              </a:cxn>
              <a:cxn ang="0">
                <a:pos x="654" y="207"/>
              </a:cxn>
              <a:cxn ang="0">
                <a:pos x="699" y="240"/>
              </a:cxn>
              <a:cxn ang="0">
                <a:pos x="742" y="275"/>
              </a:cxn>
              <a:cxn ang="0">
                <a:pos x="773" y="303"/>
              </a:cxn>
              <a:cxn ang="0">
                <a:pos x="803" y="332"/>
              </a:cxn>
              <a:cxn ang="0">
                <a:pos x="841" y="373"/>
              </a:cxn>
              <a:cxn ang="0">
                <a:pos x="878" y="415"/>
              </a:cxn>
              <a:cxn ang="0">
                <a:pos x="912" y="459"/>
              </a:cxn>
              <a:cxn ang="0">
                <a:pos x="944" y="504"/>
              </a:cxn>
              <a:cxn ang="0">
                <a:pos x="974" y="551"/>
              </a:cxn>
              <a:cxn ang="0">
                <a:pos x="1001" y="601"/>
              </a:cxn>
              <a:cxn ang="0">
                <a:pos x="1026" y="650"/>
              </a:cxn>
              <a:cxn ang="0">
                <a:pos x="1049" y="701"/>
              </a:cxn>
              <a:cxn ang="0">
                <a:pos x="1069" y="753"/>
              </a:cxn>
              <a:cxn ang="0">
                <a:pos x="1086" y="806"/>
              </a:cxn>
              <a:cxn ang="0">
                <a:pos x="1101" y="859"/>
              </a:cxn>
              <a:cxn ang="0">
                <a:pos x="1114" y="914"/>
              </a:cxn>
              <a:cxn ang="0">
                <a:pos x="1123" y="969"/>
              </a:cxn>
              <a:cxn ang="0">
                <a:pos x="1130" y="1024"/>
              </a:cxn>
              <a:cxn ang="0">
                <a:pos x="1134" y="1079"/>
              </a:cxn>
              <a:cxn ang="0">
                <a:pos x="1135" y="1135"/>
              </a:cxn>
              <a:cxn ang="0">
                <a:pos x="340" y="1118"/>
              </a:cxn>
              <a:cxn ang="0">
                <a:pos x="338" y="1092"/>
              </a:cxn>
              <a:cxn ang="0">
                <a:pos x="335" y="1075"/>
              </a:cxn>
              <a:cxn ang="0">
                <a:pos x="330" y="1050"/>
              </a:cxn>
              <a:cxn ang="0">
                <a:pos x="320" y="1018"/>
              </a:cxn>
              <a:cxn ang="0">
                <a:pos x="307" y="988"/>
              </a:cxn>
              <a:cxn ang="0">
                <a:pos x="291" y="959"/>
              </a:cxn>
              <a:cxn ang="0">
                <a:pos x="273" y="932"/>
              </a:cxn>
              <a:cxn ang="0">
                <a:pos x="252" y="906"/>
              </a:cxn>
              <a:cxn ang="0">
                <a:pos x="229" y="883"/>
              </a:cxn>
              <a:cxn ang="0">
                <a:pos x="204" y="863"/>
              </a:cxn>
              <a:cxn ang="0">
                <a:pos x="177" y="844"/>
              </a:cxn>
              <a:cxn ang="0">
                <a:pos x="148" y="828"/>
              </a:cxn>
              <a:cxn ang="0">
                <a:pos x="125" y="819"/>
              </a:cxn>
              <a:cxn ang="0">
                <a:pos x="101" y="810"/>
              </a:cxn>
              <a:cxn ang="0">
                <a:pos x="85" y="806"/>
              </a:cxn>
              <a:cxn ang="0">
                <a:pos x="60" y="800"/>
              </a:cxn>
              <a:cxn ang="0">
                <a:pos x="35" y="797"/>
              </a:cxn>
              <a:cxn ang="0">
                <a:pos x="0" y="795"/>
              </a:cxn>
            </a:cxnLst>
            <a:rect l="0" t="0" r="r" b="b"/>
            <a:pathLst>
              <a:path w="1135" h="1135">
                <a:moveTo>
                  <a:pt x="0" y="795"/>
                </a:moveTo>
                <a:lnTo>
                  <a:pt x="0" y="0"/>
                </a:lnTo>
                <a:lnTo>
                  <a:pt x="28" y="1"/>
                </a:lnTo>
                <a:lnTo>
                  <a:pt x="56" y="2"/>
                </a:lnTo>
                <a:lnTo>
                  <a:pt x="84" y="3"/>
                </a:lnTo>
                <a:lnTo>
                  <a:pt x="111" y="6"/>
                </a:lnTo>
                <a:lnTo>
                  <a:pt x="139" y="9"/>
                </a:lnTo>
                <a:lnTo>
                  <a:pt x="167" y="12"/>
                </a:lnTo>
                <a:lnTo>
                  <a:pt x="194" y="17"/>
                </a:lnTo>
                <a:lnTo>
                  <a:pt x="221" y="22"/>
                </a:lnTo>
                <a:lnTo>
                  <a:pt x="249" y="28"/>
                </a:lnTo>
                <a:lnTo>
                  <a:pt x="276" y="34"/>
                </a:lnTo>
                <a:lnTo>
                  <a:pt x="303" y="41"/>
                </a:lnTo>
                <a:lnTo>
                  <a:pt x="329" y="49"/>
                </a:lnTo>
                <a:lnTo>
                  <a:pt x="356" y="58"/>
                </a:lnTo>
                <a:lnTo>
                  <a:pt x="382" y="67"/>
                </a:lnTo>
                <a:lnTo>
                  <a:pt x="395" y="71"/>
                </a:lnTo>
                <a:lnTo>
                  <a:pt x="408" y="76"/>
                </a:lnTo>
                <a:lnTo>
                  <a:pt x="434" y="87"/>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2" y="352"/>
                </a:lnTo>
                <a:lnTo>
                  <a:pt x="841" y="373"/>
                </a:lnTo>
                <a:lnTo>
                  <a:pt x="860" y="393"/>
                </a:lnTo>
                <a:lnTo>
                  <a:pt x="878" y="415"/>
                </a:lnTo>
                <a:lnTo>
                  <a:pt x="895" y="436"/>
                </a:lnTo>
                <a:lnTo>
                  <a:pt x="912" y="459"/>
                </a:lnTo>
                <a:lnTo>
                  <a:pt x="928" y="481"/>
                </a:lnTo>
                <a:lnTo>
                  <a:pt x="944" y="504"/>
                </a:lnTo>
                <a:lnTo>
                  <a:pt x="959" y="528"/>
                </a:lnTo>
                <a:lnTo>
                  <a:pt x="974" y="551"/>
                </a:lnTo>
                <a:lnTo>
                  <a:pt x="988" y="576"/>
                </a:lnTo>
                <a:lnTo>
                  <a:pt x="1001" y="601"/>
                </a:lnTo>
                <a:lnTo>
                  <a:pt x="1014" y="625"/>
                </a:lnTo>
                <a:lnTo>
                  <a:pt x="1026" y="650"/>
                </a:lnTo>
                <a:lnTo>
                  <a:pt x="1038" y="676"/>
                </a:lnTo>
                <a:lnTo>
                  <a:pt x="1049" y="701"/>
                </a:lnTo>
                <a:lnTo>
                  <a:pt x="1059" y="727"/>
                </a:lnTo>
                <a:lnTo>
                  <a:pt x="1069" y="753"/>
                </a:lnTo>
                <a:lnTo>
                  <a:pt x="1078" y="779"/>
                </a:lnTo>
                <a:lnTo>
                  <a:pt x="1086" y="806"/>
                </a:lnTo>
                <a:lnTo>
                  <a:pt x="1094" y="833"/>
                </a:lnTo>
                <a:lnTo>
                  <a:pt x="1101" y="859"/>
                </a:lnTo>
                <a:lnTo>
                  <a:pt x="1108" y="887"/>
                </a:lnTo>
                <a:lnTo>
                  <a:pt x="1114" y="914"/>
                </a:lnTo>
                <a:lnTo>
                  <a:pt x="1119" y="941"/>
                </a:lnTo>
                <a:lnTo>
                  <a:pt x="1123" y="969"/>
                </a:lnTo>
                <a:lnTo>
                  <a:pt x="1127" y="996"/>
                </a:lnTo>
                <a:lnTo>
                  <a:pt x="1130" y="1024"/>
                </a:lnTo>
                <a:lnTo>
                  <a:pt x="1132" y="1052"/>
                </a:lnTo>
                <a:lnTo>
                  <a:pt x="1134" y="1079"/>
                </a:lnTo>
                <a:lnTo>
                  <a:pt x="1135" y="1107"/>
                </a:lnTo>
                <a:lnTo>
                  <a:pt x="1135" y="1135"/>
                </a:lnTo>
                <a:lnTo>
                  <a:pt x="340" y="1135"/>
                </a:lnTo>
                <a:lnTo>
                  <a:pt x="340" y="1118"/>
                </a:lnTo>
                <a:lnTo>
                  <a:pt x="339" y="1100"/>
                </a:lnTo>
                <a:lnTo>
                  <a:pt x="338" y="1092"/>
                </a:lnTo>
                <a:lnTo>
                  <a:pt x="336" y="1083"/>
                </a:lnTo>
                <a:lnTo>
                  <a:pt x="335" y="1075"/>
                </a:lnTo>
                <a:lnTo>
                  <a:pt x="333" y="1067"/>
                </a:lnTo>
                <a:lnTo>
                  <a:pt x="330" y="1050"/>
                </a:lnTo>
                <a:lnTo>
                  <a:pt x="325" y="1034"/>
                </a:lnTo>
                <a:lnTo>
                  <a:pt x="320" y="1018"/>
                </a:lnTo>
                <a:lnTo>
                  <a:pt x="314" y="1003"/>
                </a:lnTo>
                <a:lnTo>
                  <a:pt x="307" y="988"/>
                </a:lnTo>
                <a:lnTo>
                  <a:pt x="299" y="973"/>
                </a:lnTo>
                <a:lnTo>
                  <a:pt x="291" y="959"/>
                </a:lnTo>
                <a:lnTo>
                  <a:pt x="282" y="945"/>
                </a:lnTo>
                <a:lnTo>
                  <a:pt x="273" y="932"/>
                </a:lnTo>
                <a:lnTo>
                  <a:pt x="263" y="919"/>
                </a:lnTo>
                <a:lnTo>
                  <a:pt x="252" y="906"/>
                </a:lnTo>
                <a:lnTo>
                  <a:pt x="241" y="895"/>
                </a:lnTo>
                <a:lnTo>
                  <a:pt x="229" y="883"/>
                </a:lnTo>
                <a:lnTo>
                  <a:pt x="217" y="873"/>
                </a:lnTo>
                <a:lnTo>
                  <a:pt x="204" y="863"/>
                </a:lnTo>
                <a:lnTo>
                  <a:pt x="190" y="853"/>
                </a:lnTo>
                <a:lnTo>
                  <a:pt x="177" y="844"/>
                </a:lnTo>
                <a:lnTo>
                  <a:pt x="162" y="836"/>
                </a:lnTo>
                <a:lnTo>
                  <a:pt x="148" y="828"/>
                </a:lnTo>
                <a:lnTo>
                  <a:pt x="133" y="822"/>
                </a:lnTo>
                <a:lnTo>
                  <a:pt x="125" y="819"/>
                </a:lnTo>
                <a:lnTo>
                  <a:pt x="117" y="816"/>
                </a:lnTo>
                <a:lnTo>
                  <a:pt x="101" y="810"/>
                </a:lnTo>
                <a:lnTo>
                  <a:pt x="93" y="808"/>
                </a:lnTo>
                <a:lnTo>
                  <a:pt x="85" y="806"/>
                </a:lnTo>
                <a:lnTo>
                  <a:pt x="69" y="802"/>
                </a:lnTo>
                <a:lnTo>
                  <a:pt x="60" y="800"/>
                </a:lnTo>
                <a:lnTo>
                  <a:pt x="52" y="799"/>
                </a:lnTo>
                <a:lnTo>
                  <a:pt x="35" y="797"/>
                </a:lnTo>
                <a:lnTo>
                  <a:pt x="18" y="795"/>
                </a:lnTo>
                <a:lnTo>
                  <a:pt x="0" y="795"/>
                </a:lnTo>
                <a:close/>
              </a:path>
            </a:pathLst>
          </a:custGeom>
          <a:solidFill>
            <a:srgbClr val="F2F2F2"/>
          </a:solidFill>
          <a:ln w="12700" cmpd="sng">
            <a:noFill/>
            <a:round/>
            <a:headEnd/>
            <a:tailEnd/>
          </a:ln>
        </p:spPr>
        <p:txBody>
          <a:bodyPr lIns="45720" rIns="45720" anchor="ctr" anchorCtr="1"/>
          <a:lstStyle/>
          <a:p>
            <a:pPr algn="ctr" fontAlgn="base">
              <a:spcBef>
                <a:spcPct val="0"/>
              </a:spcBef>
              <a:spcAft>
                <a:spcPct val="0"/>
              </a:spcAft>
              <a:defRPr/>
            </a:pPr>
            <a:endParaRPr lang="en-CA" sz="1000" b="1" kern="0" dirty="0">
              <a:solidFill>
                <a:srgbClr val="FFFFFF"/>
              </a:solidFill>
              <a:cs typeface="Arial" charset="0"/>
            </a:endParaRPr>
          </a:p>
        </p:txBody>
      </p:sp>
      <p:sp>
        <p:nvSpPr>
          <p:cNvPr id="44" name="Freeform 10"/>
          <p:cNvSpPr>
            <a:spLocks noChangeAspect="1"/>
          </p:cNvSpPr>
          <p:nvPr>
            <p:custDataLst>
              <p:tags r:id="rId5"/>
            </p:custDataLst>
          </p:nvPr>
        </p:nvSpPr>
        <p:spPr bwMode="auto">
          <a:xfrm>
            <a:off x="6096462" y="4026512"/>
            <a:ext cx="2439733" cy="2218936"/>
          </a:xfrm>
          <a:custGeom>
            <a:avLst/>
            <a:gdLst/>
            <a:ahLst/>
            <a:cxnLst>
              <a:cxn ang="0">
                <a:pos x="1135" y="0"/>
              </a:cxn>
              <a:cxn ang="0">
                <a:pos x="1134" y="56"/>
              </a:cxn>
              <a:cxn ang="0">
                <a:pos x="1130" y="111"/>
              </a:cxn>
              <a:cxn ang="0">
                <a:pos x="1123" y="166"/>
              </a:cxn>
              <a:cxn ang="0">
                <a:pos x="1113" y="221"/>
              </a:cxn>
              <a:cxn ang="0">
                <a:pos x="1101" y="276"/>
              </a:cxn>
              <a:cxn ang="0">
                <a:pos x="1086" y="329"/>
              </a:cxn>
              <a:cxn ang="0">
                <a:pos x="1069" y="382"/>
              </a:cxn>
              <a:cxn ang="0">
                <a:pos x="1059" y="408"/>
              </a:cxn>
              <a:cxn ang="0">
                <a:pos x="1038" y="460"/>
              </a:cxn>
              <a:cxn ang="0">
                <a:pos x="1014" y="510"/>
              </a:cxn>
              <a:cxn ang="0">
                <a:pos x="988" y="559"/>
              </a:cxn>
              <a:cxn ang="0">
                <a:pos x="960" y="608"/>
              </a:cxn>
              <a:cxn ang="0">
                <a:pos x="929" y="654"/>
              </a:cxn>
              <a:cxn ang="0">
                <a:pos x="896" y="699"/>
              </a:cxn>
              <a:cxn ang="0">
                <a:pos x="860" y="742"/>
              </a:cxn>
              <a:cxn ang="0">
                <a:pos x="832" y="773"/>
              </a:cxn>
              <a:cxn ang="0">
                <a:pos x="803" y="803"/>
              </a:cxn>
              <a:cxn ang="0">
                <a:pos x="763" y="841"/>
              </a:cxn>
              <a:cxn ang="0">
                <a:pos x="721" y="878"/>
              </a:cxn>
              <a:cxn ang="0">
                <a:pos x="677" y="912"/>
              </a:cxn>
              <a:cxn ang="0">
                <a:pos x="631" y="944"/>
              </a:cxn>
              <a:cxn ang="0">
                <a:pos x="584" y="974"/>
              </a:cxn>
              <a:cxn ang="0">
                <a:pos x="535" y="1001"/>
              </a:cxn>
              <a:cxn ang="0">
                <a:pos x="485" y="1026"/>
              </a:cxn>
              <a:cxn ang="0">
                <a:pos x="434" y="1049"/>
              </a:cxn>
              <a:cxn ang="0">
                <a:pos x="382" y="1069"/>
              </a:cxn>
              <a:cxn ang="0">
                <a:pos x="329" y="1086"/>
              </a:cxn>
              <a:cxn ang="0">
                <a:pos x="276" y="1101"/>
              </a:cxn>
              <a:cxn ang="0">
                <a:pos x="222" y="1114"/>
              </a:cxn>
              <a:cxn ang="0">
                <a:pos x="167" y="1123"/>
              </a:cxn>
              <a:cxn ang="0">
                <a:pos x="112" y="1130"/>
              </a:cxn>
              <a:cxn ang="0">
                <a:pos x="56" y="1134"/>
              </a:cxn>
              <a:cxn ang="0">
                <a:pos x="0" y="1135"/>
              </a:cxn>
              <a:cxn ang="0">
                <a:pos x="18" y="340"/>
              </a:cxn>
              <a:cxn ang="0">
                <a:pos x="44" y="338"/>
              </a:cxn>
              <a:cxn ang="0">
                <a:pos x="60" y="335"/>
              </a:cxn>
              <a:cxn ang="0">
                <a:pos x="85" y="330"/>
              </a:cxn>
              <a:cxn ang="0">
                <a:pos x="117" y="320"/>
              </a:cxn>
              <a:cxn ang="0">
                <a:pos x="148" y="307"/>
              </a:cxn>
              <a:cxn ang="0">
                <a:pos x="177" y="291"/>
              </a:cxn>
              <a:cxn ang="0">
                <a:pos x="204" y="273"/>
              </a:cxn>
              <a:cxn ang="0">
                <a:pos x="229" y="252"/>
              </a:cxn>
              <a:cxn ang="0">
                <a:pos x="252" y="229"/>
              </a:cxn>
              <a:cxn ang="0">
                <a:pos x="273" y="204"/>
              </a:cxn>
              <a:cxn ang="0">
                <a:pos x="291" y="176"/>
              </a:cxn>
              <a:cxn ang="0">
                <a:pos x="307" y="148"/>
              </a:cxn>
              <a:cxn ang="0">
                <a:pos x="317" y="125"/>
              </a:cxn>
              <a:cxn ang="0">
                <a:pos x="325" y="101"/>
              </a:cxn>
              <a:cxn ang="0">
                <a:pos x="330" y="85"/>
              </a:cxn>
              <a:cxn ang="0">
                <a:pos x="335" y="60"/>
              </a:cxn>
              <a:cxn ang="0">
                <a:pos x="339" y="35"/>
              </a:cxn>
              <a:cxn ang="0">
                <a:pos x="340" y="0"/>
              </a:cxn>
            </a:cxnLst>
            <a:rect l="0" t="0" r="r" b="b"/>
            <a:pathLst>
              <a:path w="1135" h="1135">
                <a:moveTo>
                  <a:pt x="340" y="0"/>
                </a:moveTo>
                <a:lnTo>
                  <a:pt x="1135" y="0"/>
                </a:lnTo>
                <a:lnTo>
                  <a:pt x="1135" y="28"/>
                </a:lnTo>
                <a:lnTo>
                  <a:pt x="1134" y="56"/>
                </a:lnTo>
                <a:lnTo>
                  <a:pt x="1132" y="84"/>
                </a:lnTo>
                <a:lnTo>
                  <a:pt x="1130" y="111"/>
                </a:lnTo>
                <a:lnTo>
                  <a:pt x="1127" y="139"/>
                </a:lnTo>
                <a:lnTo>
                  <a:pt x="1123" y="166"/>
                </a:lnTo>
                <a:lnTo>
                  <a:pt x="1118" y="194"/>
                </a:lnTo>
                <a:lnTo>
                  <a:pt x="1113" y="221"/>
                </a:lnTo>
                <a:lnTo>
                  <a:pt x="1108" y="249"/>
                </a:lnTo>
                <a:lnTo>
                  <a:pt x="1101" y="276"/>
                </a:lnTo>
                <a:lnTo>
                  <a:pt x="1094" y="302"/>
                </a:lnTo>
                <a:lnTo>
                  <a:pt x="1086" y="329"/>
                </a:lnTo>
                <a:lnTo>
                  <a:pt x="1078" y="356"/>
                </a:lnTo>
                <a:lnTo>
                  <a:pt x="1069" y="382"/>
                </a:lnTo>
                <a:lnTo>
                  <a:pt x="1064" y="395"/>
                </a:lnTo>
                <a:lnTo>
                  <a:pt x="1059" y="408"/>
                </a:lnTo>
                <a:lnTo>
                  <a:pt x="1049" y="434"/>
                </a:lnTo>
                <a:lnTo>
                  <a:pt x="1038" y="460"/>
                </a:lnTo>
                <a:lnTo>
                  <a:pt x="1026" y="485"/>
                </a:lnTo>
                <a:lnTo>
                  <a:pt x="1014" y="510"/>
                </a:lnTo>
                <a:lnTo>
                  <a:pt x="1001" y="535"/>
                </a:lnTo>
                <a:lnTo>
                  <a:pt x="988" y="559"/>
                </a:lnTo>
                <a:lnTo>
                  <a:pt x="974" y="584"/>
                </a:lnTo>
                <a:lnTo>
                  <a:pt x="960" y="608"/>
                </a:lnTo>
                <a:lnTo>
                  <a:pt x="944" y="631"/>
                </a:lnTo>
                <a:lnTo>
                  <a:pt x="929" y="654"/>
                </a:lnTo>
                <a:lnTo>
                  <a:pt x="912" y="677"/>
                </a:lnTo>
                <a:lnTo>
                  <a:pt x="896" y="699"/>
                </a:lnTo>
                <a:lnTo>
                  <a:pt x="878" y="721"/>
                </a:lnTo>
                <a:lnTo>
                  <a:pt x="860" y="742"/>
                </a:lnTo>
                <a:lnTo>
                  <a:pt x="842" y="763"/>
                </a:lnTo>
                <a:lnTo>
                  <a:pt x="832" y="773"/>
                </a:lnTo>
                <a:lnTo>
                  <a:pt x="823" y="783"/>
                </a:lnTo>
                <a:lnTo>
                  <a:pt x="803" y="803"/>
                </a:lnTo>
                <a:lnTo>
                  <a:pt x="783" y="822"/>
                </a:lnTo>
                <a:lnTo>
                  <a:pt x="763" y="841"/>
                </a:lnTo>
                <a:lnTo>
                  <a:pt x="742" y="860"/>
                </a:lnTo>
                <a:lnTo>
                  <a:pt x="721" y="878"/>
                </a:lnTo>
                <a:lnTo>
                  <a:pt x="699" y="895"/>
                </a:lnTo>
                <a:lnTo>
                  <a:pt x="677" y="912"/>
                </a:lnTo>
                <a:lnTo>
                  <a:pt x="654" y="928"/>
                </a:lnTo>
                <a:lnTo>
                  <a:pt x="631" y="944"/>
                </a:lnTo>
                <a:lnTo>
                  <a:pt x="608" y="959"/>
                </a:lnTo>
                <a:lnTo>
                  <a:pt x="584" y="974"/>
                </a:lnTo>
                <a:lnTo>
                  <a:pt x="559" y="988"/>
                </a:lnTo>
                <a:lnTo>
                  <a:pt x="535" y="1001"/>
                </a:lnTo>
                <a:lnTo>
                  <a:pt x="510" y="1014"/>
                </a:lnTo>
                <a:lnTo>
                  <a:pt x="485" y="1026"/>
                </a:lnTo>
                <a:lnTo>
                  <a:pt x="460" y="1038"/>
                </a:lnTo>
                <a:lnTo>
                  <a:pt x="434" y="1049"/>
                </a:lnTo>
                <a:lnTo>
                  <a:pt x="408" y="1059"/>
                </a:lnTo>
                <a:lnTo>
                  <a:pt x="382" y="1069"/>
                </a:lnTo>
                <a:lnTo>
                  <a:pt x="356" y="1078"/>
                </a:lnTo>
                <a:lnTo>
                  <a:pt x="329" y="1086"/>
                </a:lnTo>
                <a:lnTo>
                  <a:pt x="303" y="1094"/>
                </a:lnTo>
                <a:lnTo>
                  <a:pt x="276" y="1101"/>
                </a:lnTo>
                <a:lnTo>
                  <a:pt x="249" y="1108"/>
                </a:lnTo>
                <a:lnTo>
                  <a:pt x="222" y="1114"/>
                </a:lnTo>
                <a:lnTo>
                  <a:pt x="194" y="1119"/>
                </a:lnTo>
                <a:lnTo>
                  <a:pt x="167" y="1123"/>
                </a:lnTo>
                <a:lnTo>
                  <a:pt x="139" y="1127"/>
                </a:lnTo>
                <a:lnTo>
                  <a:pt x="112" y="1130"/>
                </a:lnTo>
                <a:lnTo>
                  <a:pt x="84" y="1132"/>
                </a:lnTo>
                <a:lnTo>
                  <a:pt x="56" y="1134"/>
                </a:lnTo>
                <a:lnTo>
                  <a:pt x="28" y="1135"/>
                </a:lnTo>
                <a:lnTo>
                  <a:pt x="0" y="1135"/>
                </a:lnTo>
                <a:lnTo>
                  <a:pt x="0" y="340"/>
                </a:lnTo>
                <a:lnTo>
                  <a:pt x="18" y="340"/>
                </a:lnTo>
                <a:lnTo>
                  <a:pt x="35" y="339"/>
                </a:lnTo>
                <a:lnTo>
                  <a:pt x="44" y="338"/>
                </a:lnTo>
                <a:lnTo>
                  <a:pt x="52" y="336"/>
                </a:lnTo>
                <a:lnTo>
                  <a:pt x="60" y="335"/>
                </a:lnTo>
                <a:lnTo>
                  <a:pt x="69" y="333"/>
                </a:lnTo>
                <a:lnTo>
                  <a:pt x="85" y="330"/>
                </a:lnTo>
                <a:lnTo>
                  <a:pt x="101" y="325"/>
                </a:lnTo>
                <a:lnTo>
                  <a:pt x="117" y="320"/>
                </a:lnTo>
                <a:lnTo>
                  <a:pt x="133" y="314"/>
                </a:lnTo>
                <a:lnTo>
                  <a:pt x="148" y="307"/>
                </a:lnTo>
                <a:lnTo>
                  <a:pt x="162" y="299"/>
                </a:lnTo>
                <a:lnTo>
                  <a:pt x="177" y="291"/>
                </a:lnTo>
                <a:lnTo>
                  <a:pt x="190" y="282"/>
                </a:lnTo>
                <a:lnTo>
                  <a:pt x="204" y="273"/>
                </a:lnTo>
                <a:lnTo>
                  <a:pt x="217" y="263"/>
                </a:lnTo>
                <a:lnTo>
                  <a:pt x="229" y="252"/>
                </a:lnTo>
                <a:lnTo>
                  <a:pt x="241" y="241"/>
                </a:lnTo>
                <a:lnTo>
                  <a:pt x="252" y="229"/>
                </a:lnTo>
                <a:lnTo>
                  <a:pt x="263" y="216"/>
                </a:lnTo>
                <a:lnTo>
                  <a:pt x="273" y="204"/>
                </a:lnTo>
                <a:lnTo>
                  <a:pt x="282" y="190"/>
                </a:lnTo>
                <a:lnTo>
                  <a:pt x="291" y="176"/>
                </a:lnTo>
                <a:lnTo>
                  <a:pt x="299" y="162"/>
                </a:lnTo>
                <a:lnTo>
                  <a:pt x="307" y="148"/>
                </a:lnTo>
                <a:lnTo>
                  <a:pt x="314" y="133"/>
                </a:lnTo>
                <a:lnTo>
                  <a:pt x="317" y="125"/>
                </a:lnTo>
                <a:lnTo>
                  <a:pt x="320" y="117"/>
                </a:lnTo>
                <a:lnTo>
                  <a:pt x="325" y="101"/>
                </a:lnTo>
                <a:lnTo>
                  <a:pt x="328" y="93"/>
                </a:lnTo>
                <a:lnTo>
                  <a:pt x="330" y="85"/>
                </a:lnTo>
                <a:lnTo>
                  <a:pt x="333" y="69"/>
                </a:lnTo>
                <a:lnTo>
                  <a:pt x="335" y="60"/>
                </a:lnTo>
                <a:lnTo>
                  <a:pt x="336" y="52"/>
                </a:lnTo>
                <a:lnTo>
                  <a:pt x="339" y="35"/>
                </a:lnTo>
                <a:lnTo>
                  <a:pt x="340" y="18"/>
                </a:lnTo>
                <a:lnTo>
                  <a:pt x="340" y="0"/>
                </a:lnTo>
                <a:close/>
              </a:path>
            </a:pathLst>
          </a:custGeom>
          <a:solidFill>
            <a:srgbClr val="CCCBCD"/>
          </a:solidFill>
          <a:ln w="12700" cmpd="sng">
            <a:noFill/>
            <a:round/>
            <a:headEnd/>
            <a:tailEnd/>
          </a:ln>
        </p:spPr>
        <p:txBody>
          <a:bodyPr lIns="45720" rIns="45720" anchor="ctr" anchorCtr="1"/>
          <a:lstStyle/>
          <a:p>
            <a:pPr algn="ctr" fontAlgn="base">
              <a:spcBef>
                <a:spcPct val="0"/>
              </a:spcBef>
              <a:spcAft>
                <a:spcPct val="0"/>
              </a:spcAft>
              <a:defRPr/>
            </a:pPr>
            <a:endParaRPr lang="en-CA" sz="1000" b="1" kern="0" dirty="0">
              <a:solidFill>
                <a:srgbClr val="FFFFFF"/>
              </a:solidFill>
              <a:cs typeface="Arial" charset="0"/>
            </a:endParaRPr>
          </a:p>
        </p:txBody>
      </p:sp>
      <p:sp>
        <p:nvSpPr>
          <p:cNvPr id="46" name="Freeform 12"/>
          <p:cNvSpPr>
            <a:spLocks noChangeAspect="1"/>
          </p:cNvSpPr>
          <p:nvPr>
            <p:custDataLst>
              <p:tags r:id="rId6"/>
            </p:custDataLst>
          </p:nvPr>
        </p:nvSpPr>
        <p:spPr bwMode="auto">
          <a:xfrm>
            <a:off x="3493468" y="1678449"/>
            <a:ext cx="2439733" cy="2218936"/>
          </a:xfrm>
          <a:custGeom>
            <a:avLst/>
            <a:gdLst/>
            <a:ahLst/>
            <a:cxnLst>
              <a:cxn ang="0">
                <a:pos x="0" y="1135"/>
              </a:cxn>
              <a:cxn ang="0">
                <a:pos x="2" y="1080"/>
              </a:cxn>
              <a:cxn ang="0">
                <a:pos x="6" y="1024"/>
              </a:cxn>
              <a:cxn ang="0">
                <a:pos x="13" y="969"/>
              </a:cxn>
              <a:cxn ang="0">
                <a:pos x="22" y="914"/>
              </a:cxn>
              <a:cxn ang="0">
                <a:pos x="34" y="860"/>
              </a:cxn>
              <a:cxn ang="0">
                <a:pos x="49" y="806"/>
              </a:cxn>
              <a:cxn ang="0">
                <a:pos x="67" y="753"/>
              </a:cxn>
              <a:cxn ang="0">
                <a:pos x="76" y="727"/>
              </a:cxn>
              <a:cxn ang="0">
                <a:pos x="98" y="676"/>
              </a:cxn>
              <a:cxn ang="0">
                <a:pos x="121" y="625"/>
              </a:cxn>
              <a:cxn ang="0">
                <a:pos x="147" y="576"/>
              </a:cxn>
              <a:cxn ang="0">
                <a:pos x="176" y="527"/>
              </a:cxn>
              <a:cxn ang="0">
                <a:pos x="207" y="481"/>
              </a:cxn>
              <a:cxn ang="0">
                <a:pos x="240" y="436"/>
              </a:cxn>
              <a:cxn ang="0">
                <a:pos x="275" y="393"/>
              </a:cxn>
              <a:cxn ang="0">
                <a:pos x="303" y="362"/>
              </a:cxn>
              <a:cxn ang="0">
                <a:pos x="332" y="332"/>
              </a:cxn>
              <a:cxn ang="0">
                <a:pos x="373" y="294"/>
              </a:cxn>
              <a:cxn ang="0">
                <a:pos x="415" y="258"/>
              </a:cxn>
              <a:cxn ang="0">
                <a:pos x="459" y="223"/>
              </a:cxn>
              <a:cxn ang="0">
                <a:pos x="504" y="191"/>
              </a:cxn>
              <a:cxn ang="0">
                <a:pos x="551" y="162"/>
              </a:cxn>
              <a:cxn ang="0">
                <a:pos x="601" y="134"/>
              </a:cxn>
              <a:cxn ang="0">
                <a:pos x="650" y="109"/>
              </a:cxn>
              <a:cxn ang="0">
                <a:pos x="701" y="87"/>
              </a:cxn>
              <a:cxn ang="0">
                <a:pos x="753" y="67"/>
              </a:cxn>
              <a:cxn ang="0">
                <a:pos x="806" y="49"/>
              </a:cxn>
              <a:cxn ang="0">
                <a:pos x="860" y="34"/>
              </a:cxn>
              <a:cxn ang="0">
                <a:pos x="914" y="22"/>
              </a:cxn>
              <a:cxn ang="0">
                <a:pos x="969" y="12"/>
              </a:cxn>
              <a:cxn ang="0">
                <a:pos x="1024" y="5"/>
              </a:cxn>
              <a:cxn ang="0">
                <a:pos x="1079" y="1"/>
              </a:cxn>
              <a:cxn ang="0">
                <a:pos x="1135" y="0"/>
              </a:cxn>
              <a:cxn ang="0">
                <a:pos x="1118" y="795"/>
              </a:cxn>
              <a:cxn ang="0">
                <a:pos x="1092" y="798"/>
              </a:cxn>
              <a:cxn ang="0">
                <a:pos x="1075" y="800"/>
              </a:cxn>
              <a:cxn ang="0">
                <a:pos x="1050" y="806"/>
              </a:cxn>
              <a:cxn ang="0">
                <a:pos x="1018" y="816"/>
              </a:cxn>
              <a:cxn ang="0">
                <a:pos x="988" y="829"/>
              </a:cxn>
              <a:cxn ang="0">
                <a:pos x="959" y="844"/>
              </a:cxn>
              <a:cxn ang="0">
                <a:pos x="932" y="863"/>
              </a:cxn>
              <a:cxn ang="0">
                <a:pos x="906" y="883"/>
              </a:cxn>
              <a:cxn ang="0">
                <a:pos x="883" y="906"/>
              </a:cxn>
              <a:cxn ang="0">
                <a:pos x="863" y="932"/>
              </a:cxn>
              <a:cxn ang="0">
                <a:pos x="844" y="959"/>
              </a:cxn>
              <a:cxn ang="0">
                <a:pos x="829" y="988"/>
              </a:cxn>
              <a:cxn ang="0">
                <a:pos x="819" y="1010"/>
              </a:cxn>
              <a:cxn ang="0">
                <a:pos x="810" y="1034"/>
              </a:cxn>
              <a:cxn ang="0">
                <a:pos x="806" y="1050"/>
              </a:cxn>
              <a:cxn ang="0">
                <a:pos x="800" y="1075"/>
              </a:cxn>
              <a:cxn ang="0">
                <a:pos x="797" y="1100"/>
              </a:cxn>
              <a:cxn ang="0">
                <a:pos x="795" y="1135"/>
              </a:cxn>
            </a:cxnLst>
            <a:rect l="0" t="0" r="r" b="b"/>
            <a:pathLst>
              <a:path w="1135" h="1135">
                <a:moveTo>
                  <a:pt x="795" y="1135"/>
                </a:moveTo>
                <a:lnTo>
                  <a:pt x="0" y="1135"/>
                </a:lnTo>
                <a:lnTo>
                  <a:pt x="1" y="1107"/>
                </a:lnTo>
                <a:lnTo>
                  <a:pt x="2" y="1080"/>
                </a:lnTo>
                <a:lnTo>
                  <a:pt x="3" y="1052"/>
                </a:lnTo>
                <a:lnTo>
                  <a:pt x="6" y="1024"/>
                </a:lnTo>
                <a:lnTo>
                  <a:pt x="9" y="996"/>
                </a:lnTo>
                <a:lnTo>
                  <a:pt x="13" y="969"/>
                </a:lnTo>
                <a:lnTo>
                  <a:pt x="17" y="941"/>
                </a:lnTo>
                <a:lnTo>
                  <a:pt x="22" y="914"/>
                </a:lnTo>
                <a:lnTo>
                  <a:pt x="28" y="887"/>
                </a:lnTo>
                <a:lnTo>
                  <a:pt x="34" y="860"/>
                </a:lnTo>
                <a:lnTo>
                  <a:pt x="41" y="833"/>
                </a:lnTo>
                <a:lnTo>
                  <a:pt x="49" y="806"/>
                </a:lnTo>
                <a:lnTo>
                  <a:pt x="58" y="780"/>
                </a:lnTo>
                <a:lnTo>
                  <a:pt x="67" y="753"/>
                </a:lnTo>
                <a:lnTo>
                  <a:pt x="71" y="740"/>
                </a:lnTo>
                <a:lnTo>
                  <a:pt x="76" y="727"/>
                </a:lnTo>
                <a:lnTo>
                  <a:pt x="87" y="701"/>
                </a:lnTo>
                <a:lnTo>
                  <a:pt x="98" y="676"/>
                </a:lnTo>
                <a:lnTo>
                  <a:pt x="109" y="650"/>
                </a:lnTo>
                <a:lnTo>
                  <a:pt x="121" y="625"/>
                </a:lnTo>
                <a:lnTo>
                  <a:pt x="134" y="601"/>
                </a:lnTo>
                <a:lnTo>
                  <a:pt x="147" y="576"/>
                </a:lnTo>
                <a:lnTo>
                  <a:pt x="161" y="551"/>
                </a:lnTo>
                <a:lnTo>
                  <a:pt x="176" y="527"/>
                </a:lnTo>
                <a:lnTo>
                  <a:pt x="191" y="504"/>
                </a:lnTo>
                <a:lnTo>
                  <a:pt x="207" y="481"/>
                </a:lnTo>
                <a:lnTo>
                  <a:pt x="223" y="459"/>
                </a:lnTo>
                <a:lnTo>
                  <a:pt x="240" y="436"/>
                </a:lnTo>
                <a:lnTo>
                  <a:pt x="257" y="415"/>
                </a:lnTo>
                <a:lnTo>
                  <a:pt x="275" y="393"/>
                </a:lnTo>
                <a:lnTo>
                  <a:pt x="294" y="373"/>
                </a:lnTo>
                <a:lnTo>
                  <a:pt x="303" y="362"/>
                </a:lnTo>
                <a:lnTo>
                  <a:pt x="313" y="352"/>
                </a:lnTo>
                <a:lnTo>
                  <a:pt x="332" y="332"/>
                </a:lnTo>
                <a:lnTo>
                  <a:pt x="352" y="313"/>
                </a:lnTo>
                <a:lnTo>
                  <a:pt x="373" y="294"/>
                </a:lnTo>
                <a:lnTo>
                  <a:pt x="393" y="276"/>
                </a:lnTo>
                <a:lnTo>
                  <a:pt x="415" y="258"/>
                </a:lnTo>
                <a:lnTo>
                  <a:pt x="437" y="240"/>
                </a:lnTo>
                <a:lnTo>
                  <a:pt x="459" y="223"/>
                </a:lnTo>
                <a:lnTo>
                  <a:pt x="481" y="207"/>
                </a:lnTo>
                <a:lnTo>
                  <a:pt x="504" y="191"/>
                </a:lnTo>
                <a:lnTo>
                  <a:pt x="528" y="176"/>
                </a:lnTo>
                <a:lnTo>
                  <a:pt x="551" y="162"/>
                </a:lnTo>
                <a:lnTo>
                  <a:pt x="576" y="148"/>
                </a:lnTo>
                <a:lnTo>
                  <a:pt x="601" y="134"/>
                </a:lnTo>
                <a:lnTo>
                  <a:pt x="625" y="121"/>
                </a:lnTo>
                <a:lnTo>
                  <a:pt x="650" y="109"/>
                </a:lnTo>
                <a:lnTo>
                  <a:pt x="676" y="98"/>
                </a:lnTo>
                <a:lnTo>
                  <a:pt x="701" y="87"/>
                </a:lnTo>
                <a:lnTo>
                  <a:pt x="727" y="76"/>
                </a:lnTo>
                <a:lnTo>
                  <a:pt x="753" y="67"/>
                </a:lnTo>
                <a:lnTo>
                  <a:pt x="779" y="57"/>
                </a:lnTo>
                <a:lnTo>
                  <a:pt x="806" y="49"/>
                </a:lnTo>
                <a:lnTo>
                  <a:pt x="833" y="41"/>
                </a:lnTo>
                <a:lnTo>
                  <a:pt x="860" y="34"/>
                </a:lnTo>
                <a:lnTo>
                  <a:pt x="887" y="28"/>
                </a:lnTo>
                <a:lnTo>
                  <a:pt x="914" y="22"/>
                </a:lnTo>
                <a:lnTo>
                  <a:pt x="941" y="17"/>
                </a:lnTo>
                <a:lnTo>
                  <a:pt x="969" y="12"/>
                </a:lnTo>
                <a:lnTo>
                  <a:pt x="996" y="8"/>
                </a:lnTo>
                <a:lnTo>
                  <a:pt x="1024" y="5"/>
                </a:lnTo>
                <a:lnTo>
                  <a:pt x="1052" y="3"/>
                </a:lnTo>
                <a:lnTo>
                  <a:pt x="1079" y="1"/>
                </a:lnTo>
                <a:lnTo>
                  <a:pt x="1107" y="1"/>
                </a:lnTo>
                <a:lnTo>
                  <a:pt x="1135" y="0"/>
                </a:lnTo>
                <a:lnTo>
                  <a:pt x="1135" y="795"/>
                </a:lnTo>
                <a:lnTo>
                  <a:pt x="1118" y="795"/>
                </a:lnTo>
                <a:lnTo>
                  <a:pt x="1100" y="797"/>
                </a:lnTo>
                <a:lnTo>
                  <a:pt x="1092" y="798"/>
                </a:lnTo>
                <a:lnTo>
                  <a:pt x="1083" y="799"/>
                </a:lnTo>
                <a:lnTo>
                  <a:pt x="1075" y="800"/>
                </a:lnTo>
                <a:lnTo>
                  <a:pt x="1067" y="802"/>
                </a:lnTo>
                <a:lnTo>
                  <a:pt x="1050" y="806"/>
                </a:lnTo>
                <a:lnTo>
                  <a:pt x="1034" y="810"/>
                </a:lnTo>
                <a:lnTo>
                  <a:pt x="1018" y="816"/>
                </a:lnTo>
                <a:lnTo>
                  <a:pt x="1003" y="822"/>
                </a:lnTo>
                <a:lnTo>
                  <a:pt x="988" y="829"/>
                </a:lnTo>
                <a:lnTo>
                  <a:pt x="973" y="836"/>
                </a:lnTo>
                <a:lnTo>
                  <a:pt x="959" y="844"/>
                </a:lnTo>
                <a:lnTo>
                  <a:pt x="945" y="853"/>
                </a:lnTo>
                <a:lnTo>
                  <a:pt x="932" y="863"/>
                </a:lnTo>
                <a:lnTo>
                  <a:pt x="919" y="873"/>
                </a:lnTo>
                <a:lnTo>
                  <a:pt x="906" y="883"/>
                </a:lnTo>
                <a:lnTo>
                  <a:pt x="895" y="895"/>
                </a:lnTo>
                <a:lnTo>
                  <a:pt x="883" y="906"/>
                </a:lnTo>
                <a:lnTo>
                  <a:pt x="873" y="919"/>
                </a:lnTo>
                <a:lnTo>
                  <a:pt x="863" y="932"/>
                </a:lnTo>
                <a:lnTo>
                  <a:pt x="853" y="945"/>
                </a:lnTo>
                <a:lnTo>
                  <a:pt x="844" y="959"/>
                </a:lnTo>
                <a:lnTo>
                  <a:pt x="836" y="973"/>
                </a:lnTo>
                <a:lnTo>
                  <a:pt x="829" y="988"/>
                </a:lnTo>
                <a:lnTo>
                  <a:pt x="822" y="1003"/>
                </a:lnTo>
                <a:lnTo>
                  <a:pt x="819" y="1010"/>
                </a:lnTo>
                <a:lnTo>
                  <a:pt x="816" y="1018"/>
                </a:lnTo>
                <a:lnTo>
                  <a:pt x="810" y="1034"/>
                </a:lnTo>
                <a:lnTo>
                  <a:pt x="808" y="1042"/>
                </a:lnTo>
                <a:lnTo>
                  <a:pt x="806" y="1050"/>
                </a:lnTo>
                <a:lnTo>
                  <a:pt x="802" y="1067"/>
                </a:lnTo>
                <a:lnTo>
                  <a:pt x="800" y="1075"/>
                </a:lnTo>
                <a:lnTo>
                  <a:pt x="799" y="1083"/>
                </a:lnTo>
                <a:lnTo>
                  <a:pt x="797" y="1100"/>
                </a:lnTo>
                <a:lnTo>
                  <a:pt x="795" y="1118"/>
                </a:lnTo>
                <a:lnTo>
                  <a:pt x="795" y="1135"/>
                </a:lnTo>
                <a:close/>
              </a:path>
            </a:pathLst>
          </a:custGeom>
          <a:solidFill>
            <a:srgbClr val="7F7E82"/>
          </a:solidFill>
          <a:ln w="12700" cmpd="sng">
            <a:noFill/>
            <a:round/>
            <a:headEnd/>
            <a:tailEnd/>
          </a:ln>
        </p:spPr>
        <p:txBody>
          <a:bodyPr lIns="45720" rIns="45720" anchor="ctr" anchorCtr="1"/>
          <a:lstStyle/>
          <a:p>
            <a:pPr algn="ctr" fontAlgn="base">
              <a:spcBef>
                <a:spcPct val="0"/>
              </a:spcBef>
              <a:spcAft>
                <a:spcPct val="0"/>
              </a:spcAft>
              <a:defRPr/>
            </a:pPr>
            <a:endParaRPr lang="en-CA" sz="1000" b="1" kern="0" dirty="0">
              <a:solidFill>
                <a:srgbClr val="FFFFFF"/>
              </a:solidFill>
              <a:cs typeface="Arial" charset="0"/>
            </a:endParaRPr>
          </a:p>
        </p:txBody>
      </p:sp>
      <p:sp>
        <p:nvSpPr>
          <p:cNvPr id="47" name="Text Box 13"/>
          <p:cNvSpPr txBox="1">
            <a:spLocks noChangeArrowheads="1"/>
          </p:cNvSpPr>
          <p:nvPr>
            <p:custDataLst>
              <p:tags r:id="rId7"/>
            </p:custDataLst>
          </p:nvPr>
        </p:nvSpPr>
        <p:spPr bwMode="auto">
          <a:xfrm>
            <a:off x="4174178" y="2502358"/>
            <a:ext cx="1386516" cy="609639"/>
          </a:xfrm>
          <a:prstGeom prst="rect">
            <a:avLst/>
          </a:prstGeom>
          <a:noFill/>
          <a:ln w="12700">
            <a:solidFill>
              <a:srgbClr val="7F7E82"/>
            </a:solid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fr-CA" sz="1300" b="1" dirty="0">
                <a:solidFill>
                  <a:srgbClr val="FFFFFF"/>
                </a:solidFill>
                <a:cs typeface="Arial" charset="0"/>
              </a:rPr>
              <a:t>Ne pas tout garder pour le sondage de départ</a:t>
            </a:r>
          </a:p>
        </p:txBody>
      </p:sp>
      <p:sp>
        <p:nvSpPr>
          <p:cNvPr id="48" name="Text Box 14"/>
          <p:cNvSpPr txBox="1">
            <a:spLocks noChangeArrowheads="1"/>
          </p:cNvSpPr>
          <p:nvPr>
            <p:custDataLst>
              <p:tags r:id="rId8"/>
            </p:custDataLst>
          </p:nvPr>
        </p:nvSpPr>
        <p:spPr bwMode="auto">
          <a:xfrm>
            <a:off x="6519413" y="2521926"/>
            <a:ext cx="1267308"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fr-CA" sz="1300" b="1" dirty="0">
                <a:solidFill>
                  <a:srgbClr val="000000"/>
                </a:solidFill>
                <a:cs typeface="Arial" charset="0"/>
              </a:rPr>
              <a:t>Faire participer les anciens employés</a:t>
            </a:r>
          </a:p>
        </p:txBody>
      </p:sp>
      <p:sp>
        <p:nvSpPr>
          <p:cNvPr id="50" name="Text Box 16"/>
          <p:cNvSpPr txBox="1">
            <a:spLocks noChangeArrowheads="1"/>
          </p:cNvSpPr>
          <p:nvPr>
            <p:custDataLst>
              <p:tags r:id="rId9"/>
            </p:custDataLst>
          </p:nvPr>
        </p:nvSpPr>
        <p:spPr bwMode="auto">
          <a:xfrm>
            <a:off x="6436490" y="4717506"/>
            <a:ext cx="1456304"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fr-CA" sz="1300" b="1" dirty="0">
                <a:solidFill>
                  <a:srgbClr val="000000"/>
                </a:solidFill>
                <a:cs typeface="Arial" charset="0"/>
              </a:rPr>
              <a:t>Augmentation d’analyses sur les personnes </a:t>
            </a:r>
          </a:p>
        </p:txBody>
      </p:sp>
      <p:sp>
        <p:nvSpPr>
          <p:cNvPr id="51" name="Freeform 16"/>
          <p:cNvSpPr>
            <a:spLocks noEditPoints="1"/>
          </p:cNvSpPr>
          <p:nvPr>
            <p:custDataLst>
              <p:tags r:id="rId10"/>
            </p:custDataLst>
          </p:nvPr>
        </p:nvSpPr>
        <p:spPr bwMode="auto">
          <a:xfrm>
            <a:off x="5640640" y="3617106"/>
            <a:ext cx="734104" cy="735327"/>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000000"/>
              </a:solidFill>
              <a:ea typeface="ＭＳ Ｐゴシック" charset="0"/>
            </a:endParaRPr>
          </a:p>
        </p:txBody>
      </p:sp>
      <p:sp>
        <p:nvSpPr>
          <p:cNvPr id="18" name="TextBox 17"/>
          <p:cNvSpPr txBox="1"/>
          <p:nvPr>
            <p:custDataLst>
              <p:tags r:id="rId11"/>
            </p:custDataLst>
          </p:nvPr>
        </p:nvSpPr>
        <p:spPr>
          <a:xfrm>
            <a:off x="499836" y="373597"/>
            <a:ext cx="6976400" cy="799963"/>
          </a:xfrm>
          <a:prstGeom prst="rect">
            <a:avLst/>
          </a:prstGeom>
          <a:noFill/>
        </p:spPr>
        <p:txBody>
          <a:bodyPr wrap="square" lIns="0" tIns="0" rIns="0" bIns="0" rtlCol="0" anchor="t" anchorCtr="0">
            <a:spAutoFit/>
          </a:bodyPr>
          <a:lstStyle/>
          <a:p>
            <a:r>
              <a:rPr lang="fr-CA" sz="2599" b="1" dirty="0">
                <a:solidFill>
                  <a:srgbClr val="4B4B4B"/>
                </a:solidFill>
                <a:latin typeface="EYInterstate Light" panose="02000506000000020004" pitchFamily="2" charset="0"/>
              </a:rPr>
              <a:t>Pratiques exemplaires : </a:t>
            </a:r>
          </a:p>
          <a:p>
            <a:r>
              <a:rPr lang="fr-CA" sz="2599" dirty="0">
                <a:solidFill>
                  <a:srgbClr val="4B4B4B"/>
                </a:solidFill>
                <a:latin typeface="EYInterstate Light" panose="02000506000000020004" pitchFamily="2" charset="0"/>
              </a:rPr>
              <a:t>départ</a:t>
            </a:r>
          </a:p>
        </p:txBody>
      </p:sp>
      <p:sp>
        <p:nvSpPr>
          <p:cNvPr id="17" name="Freeform 9"/>
          <p:cNvSpPr>
            <a:spLocks noChangeAspect="1"/>
          </p:cNvSpPr>
          <p:nvPr>
            <p:custDataLst>
              <p:tags r:id="rId12"/>
            </p:custDataLst>
          </p:nvPr>
        </p:nvSpPr>
        <p:spPr bwMode="auto">
          <a:xfrm rot="10800000">
            <a:off x="3511222" y="4047474"/>
            <a:ext cx="2439733" cy="2218936"/>
          </a:xfrm>
          <a:custGeom>
            <a:avLst/>
            <a:gdLst/>
            <a:ahLst/>
            <a:cxnLst>
              <a:cxn ang="0">
                <a:pos x="0" y="0"/>
              </a:cxn>
              <a:cxn ang="0">
                <a:pos x="56" y="2"/>
              </a:cxn>
              <a:cxn ang="0">
                <a:pos x="111" y="6"/>
              </a:cxn>
              <a:cxn ang="0">
                <a:pos x="167" y="12"/>
              </a:cxn>
              <a:cxn ang="0">
                <a:pos x="221" y="22"/>
              </a:cxn>
              <a:cxn ang="0">
                <a:pos x="276" y="34"/>
              </a:cxn>
              <a:cxn ang="0">
                <a:pos x="329" y="49"/>
              </a:cxn>
              <a:cxn ang="0">
                <a:pos x="382" y="67"/>
              </a:cxn>
              <a:cxn ang="0">
                <a:pos x="408" y="76"/>
              </a:cxn>
              <a:cxn ang="0">
                <a:pos x="460" y="97"/>
              </a:cxn>
              <a:cxn ang="0">
                <a:pos x="510" y="121"/>
              </a:cxn>
              <a:cxn ang="0">
                <a:pos x="559" y="147"/>
              </a:cxn>
              <a:cxn ang="0">
                <a:pos x="608" y="176"/>
              </a:cxn>
              <a:cxn ang="0">
                <a:pos x="654" y="207"/>
              </a:cxn>
              <a:cxn ang="0">
                <a:pos x="699" y="240"/>
              </a:cxn>
              <a:cxn ang="0">
                <a:pos x="742" y="275"/>
              </a:cxn>
              <a:cxn ang="0">
                <a:pos x="773" y="303"/>
              </a:cxn>
              <a:cxn ang="0">
                <a:pos x="803" y="332"/>
              </a:cxn>
              <a:cxn ang="0">
                <a:pos x="841" y="373"/>
              </a:cxn>
              <a:cxn ang="0">
                <a:pos x="878" y="415"/>
              </a:cxn>
              <a:cxn ang="0">
                <a:pos x="912" y="459"/>
              </a:cxn>
              <a:cxn ang="0">
                <a:pos x="944" y="504"/>
              </a:cxn>
              <a:cxn ang="0">
                <a:pos x="974" y="551"/>
              </a:cxn>
              <a:cxn ang="0">
                <a:pos x="1001" y="601"/>
              </a:cxn>
              <a:cxn ang="0">
                <a:pos x="1026" y="650"/>
              </a:cxn>
              <a:cxn ang="0">
                <a:pos x="1049" y="701"/>
              </a:cxn>
              <a:cxn ang="0">
                <a:pos x="1069" y="753"/>
              </a:cxn>
              <a:cxn ang="0">
                <a:pos x="1086" y="806"/>
              </a:cxn>
              <a:cxn ang="0">
                <a:pos x="1101" y="859"/>
              </a:cxn>
              <a:cxn ang="0">
                <a:pos x="1114" y="914"/>
              </a:cxn>
              <a:cxn ang="0">
                <a:pos x="1123" y="969"/>
              </a:cxn>
              <a:cxn ang="0">
                <a:pos x="1130" y="1024"/>
              </a:cxn>
              <a:cxn ang="0">
                <a:pos x="1134" y="1079"/>
              </a:cxn>
              <a:cxn ang="0">
                <a:pos x="1135" y="1135"/>
              </a:cxn>
              <a:cxn ang="0">
                <a:pos x="340" y="1118"/>
              </a:cxn>
              <a:cxn ang="0">
                <a:pos x="338" y="1092"/>
              </a:cxn>
              <a:cxn ang="0">
                <a:pos x="335" y="1075"/>
              </a:cxn>
              <a:cxn ang="0">
                <a:pos x="330" y="1050"/>
              </a:cxn>
              <a:cxn ang="0">
                <a:pos x="320" y="1018"/>
              </a:cxn>
              <a:cxn ang="0">
                <a:pos x="307" y="988"/>
              </a:cxn>
              <a:cxn ang="0">
                <a:pos x="291" y="959"/>
              </a:cxn>
              <a:cxn ang="0">
                <a:pos x="273" y="932"/>
              </a:cxn>
              <a:cxn ang="0">
                <a:pos x="252" y="906"/>
              </a:cxn>
              <a:cxn ang="0">
                <a:pos x="229" y="883"/>
              </a:cxn>
              <a:cxn ang="0">
                <a:pos x="204" y="863"/>
              </a:cxn>
              <a:cxn ang="0">
                <a:pos x="177" y="844"/>
              </a:cxn>
              <a:cxn ang="0">
                <a:pos x="148" y="828"/>
              </a:cxn>
              <a:cxn ang="0">
                <a:pos x="125" y="819"/>
              </a:cxn>
              <a:cxn ang="0">
                <a:pos x="101" y="810"/>
              </a:cxn>
              <a:cxn ang="0">
                <a:pos x="85" y="806"/>
              </a:cxn>
              <a:cxn ang="0">
                <a:pos x="60" y="800"/>
              </a:cxn>
              <a:cxn ang="0">
                <a:pos x="35" y="797"/>
              </a:cxn>
              <a:cxn ang="0">
                <a:pos x="0" y="795"/>
              </a:cxn>
            </a:cxnLst>
            <a:rect l="0" t="0" r="r" b="b"/>
            <a:pathLst>
              <a:path w="1135" h="1135">
                <a:moveTo>
                  <a:pt x="0" y="795"/>
                </a:moveTo>
                <a:lnTo>
                  <a:pt x="0" y="0"/>
                </a:lnTo>
                <a:lnTo>
                  <a:pt x="28" y="1"/>
                </a:lnTo>
                <a:lnTo>
                  <a:pt x="56" y="2"/>
                </a:lnTo>
                <a:lnTo>
                  <a:pt x="84" y="3"/>
                </a:lnTo>
                <a:lnTo>
                  <a:pt x="111" y="6"/>
                </a:lnTo>
                <a:lnTo>
                  <a:pt x="139" y="9"/>
                </a:lnTo>
                <a:lnTo>
                  <a:pt x="167" y="12"/>
                </a:lnTo>
                <a:lnTo>
                  <a:pt x="194" y="17"/>
                </a:lnTo>
                <a:lnTo>
                  <a:pt x="221" y="22"/>
                </a:lnTo>
                <a:lnTo>
                  <a:pt x="249" y="28"/>
                </a:lnTo>
                <a:lnTo>
                  <a:pt x="276" y="34"/>
                </a:lnTo>
                <a:lnTo>
                  <a:pt x="303" y="41"/>
                </a:lnTo>
                <a:lnTo>
                  <a:pt x="329" y="49"/>
                </a:lnTo>
                <a:lnTo>
                  <a:pt x="356" y="58"/>
                </a:lnTo>
                <a:lnTo>
                  <a:pt x="382" y="67"/>
                </a:lnTo>
                <a:lnTo>
                  <a:pt x="395" y="71"/>
                </a:lnTo>
                <a:lnTo>
                  <a:pt x="408" y="76"/>
                </a:lnTo>
                <a:lnTo>
                  <a:pt x="434" y="87"/>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2" y="352"/>
                </a:lnTo>
                <a:lnTo>
                  <a:pt x="841" y="373"/>
                </a:lnTo>
                <a:lnTo>
                  <a:pt x="860" y="393"/>
                </a:lnTo>
                <a:lnTo>
                  <a:pt x="878" y="415"/>
                </a:lnTo>
                <a:lnTo>
                  <a:pt x="895" y="436"/>
                </a:lnTo>
                <a:lnTo>
                  <a:pt x="912" y="459"/>
                </a:lnTo>
                <a:lnTo>
                  <a:pt x="928" y="481"/>
                </a:lnTo>
                <a:lnTo>
                  <a:pt x="944" y="504"/>
                </a:lnTo>
                <a:lnTo>
                  <a:pt x="959" y="528"/>
                </a:lnTo>
                <a:lnTo>
                  <a:pt x="974" y="551"/>
                </a:lnTo>
                <a:lnTo>
                  <a:pt x="988" y="576"/>
                </a:lnTo>
                <a:lnTo>
                  <a:pt x="1001" y="601"/>
                </a:lnTo>
                <a:lnTo>
                  <a:pt x="1014" y="625"/>
                </a:lnTo>
                <a:lnTo>
                  <a:pt x="1026" y="650"/>
                </a:lnTo>
                <a:lnTo>
                  <a:pt x="1038" y="676"/>
                </a:lnTo>
                <a:lnTo>
                  <a:pt x="1049" y="701"/>
                </a:lnTo>
                <a:lnTo>
                  <a:pt x="1059" y="727"/>
                </a:lnTo>
                <a:lnTo>
                  <a:pt x="1069" y="753"/>
                </a:lnTo>
                <a:lnTo>
                  <a:pt x="1078" y="779"/>
                </a:lnTo>
                <a:lnTo>
                  <a:pt x="1086" y="806"/>
                </a:lnTo>
                <a:lnTo>
                  <a:pt x="1094" y="833"/>
                </a:lnTo>
                <a:lnTo>
                  <a:pt x="1101" y="859"/>
                </a:lnTo>
                <a:lnTo>
                  <a:pt x="1108" y="887"/>
                </a:lnTo>
                <a:lnTo>
                  <a:pt x="1114" y="914"/>
                </a:lnTo>
                <a:lnTo>
                  <a:pt x="1119" y="941"/>
                </a:lnTo>
                <a:lnTo>
                  <a:pt x="1123" y="969"/>
                </a:lnTo>
                <a:lnTo>
                  <a:pt x="1127" y="996"/>
                </a:lnTo>
                <a:lnTo>
                  <a:pt x="1130" y="1024"/>
                </a:lnTo>
                <a:lnTo>
                  <a:pt x="1132" y="1052"/>
                </a:lnTo>
                <a:lnTo>
                  <a:pt x="1134" y="1079"/>
                </a:lnTo>
                <a:lnTo>
                  <a:pt x="1135" y="1107"/>
                </a:lnTo>
                <a:lnTo>
                  <a:pt x="1135" y="1135"/>
                </a:lnTo>
                <a:lnTo>
                  <a:pt x="340" y="1135"/>
                </a:lnTo>
                <a:lnTo>
                  <a:pt x="340" y="1118"/>
                </a:lnTo>
                <a:lnTo>
                  <a:pt x="339" y="1100"/>
                </a:lnTo>
                <a:lnTo>
                  <a:pt x="338" y="1092"/>
                </a:lnTo>
                <a:lnTo>
                  <a:pt x="336" y="1083"/>
                </a:lnTo>
                <a:lnTo>
                  <a:pt x="335" y="1075"/>
                </a:lnTo>
                <a:lnTo>
                  <a:pt x="333" y="1067"/>
                </a:lnTo>
                <a:lnTo>
                  <a:pt x="330" y="1050"/>
                </a:lnTo>
                <a:lnTo>
                  <a:pt x="325" y="1034"/>
                </a:lnTo>
                <a:lnTo>
                  <a:pt x="320" y="1018"/>
                </a:lnTo>
                <a:lnTo>
                  <a:pt x="314" y="1003"/>
                </a:lnTo>
                <a:lnTo>
                  <a:pt x="307" y="988"/>
                </a:lnTo>
                <a:lnTo>
                  <a:pt x="299" y="973"/>
                </a:lnTo>
                <a:lnTo>
                  <a:pt x="291" y="959"/>
                </a:lnTo>
                <a:lnTo>
                  <a:pt x="282" y="945"/>
                </a:lnTo>
                <a:lnTo>
                  <a:pt x="273" y="932"/>
                </a:lnTo>
                <a:lnTo>
                  <a:pt x="263" y="919"/>
                </a:lnTo>
                <a:lnTo>
                  <a:pt x="252" y="906"/>
                </a:lnTo>
                <a:lnTo>
                  <a:pt x="241" y="895"/>
                </a:lnTo>
                <a:lnTo>
                  <a:pt x="229" y="883"/>
                </a:lnTo>
                <a:lnTo>
                  <a:pt x="217" y="873"/>
                </a:lnTo>
                <a:lnTo>
                  <a:pt x="204" y="863"/>
                </a:lnTo>
                <a:lnTo>
                  <a:pt x="190" y="853"/>
                </a:lnTo>
                <a:lnTo>
                  <a:pt x="177" y="844"/>
                </a:lnTo>
                <a:lnTo>
                  <a:pt x="162" y="836"/>
                </a:lnTo>
                <a:lnTo>
                  <a:pt x="148" y="828"/>
                </a:lnTo>
                <a:lnTo>
                  <a:pt x="133" y="822"/>
                </a:lnTo>
                <a:lnTo>
                  <a:pt x="125" y="819"/>
                </a:lnTo>
                <a:lnTo>
                  <a:pt x="117" y="816"/>
                </a:lnTo>
                <a:lnTo>
                  <a:pt x="101" y="810"/>
                </a:lnTo>
                <a:lnTo>
                  <a:pt x="93" y="808"/>
                </a:lnTo>
                <a:lnTo>
                  <a:pt x="85" y="806"/>
                </a:lnTo>
                <a:lnTo>
                  <a:pt x="69" y="802"/>
                </a:lnTo>
                <a:lnTo>
                  <a:pt x="60" y="800"/>
                </a:lnTo>
                <a:lnTo>
                  <a:pt x="52" y="799"/>
                </a:lnTo>
                <a:lnTo>
                  <a:pt x="35" y="797"/>
                </a:lnTo>
                <a:lnTo>
                  <a:pt x="18" y="795"/>
                </a:lnTo>
                <a:lnTo>
                  <a:pt x="0" y="795"/>
                </a:lnTo>
                <a:close/>
              </a:path>
            </a:pathLst>
          </a:custGeom>
          <a:solidFill>
            <a:schemeClr val="accent6">
              <a:lumMod val="20000"/>
              <a:lumOff val="80000"/>
            </a:schemeClr>
          </a:solidFill>
          <a:ln w="12700" cmpd="sng">
            <a:noFill/>
            <a:round/>
            <a:headEnd/>
            <a:tailEnd/>
          </a:ln>
        </p:spPr>
        <p:txBody>
          <a:bodyPr lIns="45720" rIns="45720" anchor="ctr" anchorCtr="1"/>
          <a:lstStyle/>
          <a:p>
            <a:pPr algn="ctr" fontAlgn="base">
              <a:spcBef>
                <a:spcPct val="0"/>
              </a:spcBef>
              <a:spcAft>
                <a:spcPct val="0"/>
              </a:spcAft>
              <a:defRPr/>
            </a:pPr>
            <a:endParaRPr lang="en-CA" sz="1000" b="1" kern="0" dirty="0">
              <a:solidFill>
                <a:srgbClr val="FFFFFF"/>
              </a:solidFill>
              <a:cs typeface="Arial" charset="0"/>
            </a:endParaRPr>
          </a:p>
        </p:txBody>
      </p:sp>
      <p:sp>
        <p:nvSpPr>
          <p:cNvPr id="19" name="Text Box 16"/>
          <p:cNvSpPr txBox="1">
            <a:spLocks noChangeArrowheads="1"/>
          </p:cNvSpPr>
          <p:nvPr>
            <p:custDataLst>
              <p:tags r:id="rId13"/>
            </p:custDataLst>
          </p:nvPr>
        </p:nvSpPr>
        <p:spPr bwMode="auto">
          <a:xfrm>
            <a:off x="4139284" y="4717505"/>
            <a:ext cx="1456304"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fr-CA" sz="1300" b="1" dirty="0">
                <a:solidFill>
                  <a:srgbClr val="000000"/>
                </a:solidFill>
                <a:cs typeface="Arial" charset="0"/>
              </a:rPr>
              <a:t>L’effectif transitoire</a:t>
            </a:r>
          </a:p>
        </p:txBody>
      </p:sp>
    </p:spTree>
    <p:extLst>
      <p:ext uri="{BB962C8B-B14F-4D97-AF65-F5344CB8AC3E}">
        <p14:creationId xmlns:p14="http://schemas.microsoft.com/office/powerpoint/2010/main" val="4000414520"/>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custDataLst>
              <p:tags r:id="rId1"/>
            </p:custDataLst>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custDataLst>
              <p:tags r:id="rId2"/>
            </p:custDataLst>
          </p:nvPr>
        </p:nvGrpSpPr>
        <p:grpSpPr>
          <a:xfrm>
            <a:off x="10999548" y="161573"/>
            <a:ext cx="545770" cy="612006"/>
            <a:chOff x="2754722" y="3916375"/>
            <a:chExt cx="6115741" cy="6858000"/>
          </a:xfrm>
        </p:grpSpPr>
        <p:pic>
          <p:nvPicPr>
            <p:cNvPr id="23" name="Picture 22"/>
            <p:cNvPicPr>
              <a:picLocks noChangeAspect="1"/>
            </p:cNvPicPr>
            <p:nvPr/>
          </p:nvPicPr>
          <p:blipFill>
            <a:blip r:embed="rId23" cstate="email">
              <a:extLst>
                <a:ext uri="{28A0092B-C50C-407E-A947-70E740481C1C}">
                  <a14:useLocalDpi xmlns:a14="http://schemas.microsoft.com/office/drawing/2010/main"/>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2754722" y="3916375"/>
              <a:ext cx="6115741" cy="6858000"/>
            </a:xfrm>
            <a:prstGeom prst="rect">
              <a:avLst/>
            </a:prstGeom>
          </p:spPr>
        </p:pic>
      </p:grpSp>
      <p:sp>
        <p:nvSpPr>
          <p:cNvPr id="11" name="TextBox 10"/>
          <p:cNvSpPr txBox="1"/>
          <p:nvPr>
            <p:custDataLst>
              <p:tags r:id="rId3"/>
            </p:custDataLst>
          </p:nvPr>
        </p:nvSpPr>
        <p:spPr>
          <a:xfrm>
            <a:off x="617421" y="660997"/>
            <a:ext cx="9969470" cy="399981"/>
          </a:xfrm>
          <a:prstGeom prst="rect">
            <a:avLst/>
          </a:prstGeom>
          <a:noFill/>
        </p:spPr>
        <p:txBody>
          <a:bodyPr wrap="square" lIns="0" tIns="0" rIns="0" bIns="0" rtlCol="0" anchor="t" anchorCtr="0">
            <a:spAutoFit/>
          </a:bodyPr>
          <a:lstStyle/>
          <a:p>
            <a:r>
              <a:rPr lang="fr-CA" sz="2599" dirty="0">
                <a:solidFill>
                  <a:srgbClr val="4B4B4B"/>
                </a:solidFill>
                <a:latin typeface="EYInterstate Light" panose="02000506000000020004" pitchFamily="2" charset="0"/>
              </a:rPr>
              <a:t>Schéma de processus : départ</a:t>
            </a:r>
          </a:p>
        </p:txBody>
      </p:sp>
      <p:cxnSp>
        <p:nvCxnSpPr>
          <p:cNvPr id="12" name="Straight Connector 11"/>
          <p:cNvCxnSpPr/>
          <p:nvPr>
            <p:custDataLst>
              <p:tags r:id="rId4"/>
            </p:custDataLst>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65" name="Rectangle 64"/>
          <p:cNvSpPr/>
          <p:nvPr>
            <p:custDataLst>
              <p:tags r:id="rId5"/>
            </p:custDataLst>
          </p:nvPr>
        </p:nvSpPr>
        <p:spPr>
          <a:xfrm>
            <a:off x="312727" y="1432795"/>
            <a:ext cx="11531600" cy="161085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66" name="Pentagon 65"/>
          <p:cNvSpPr/>
          <p:nvPr>
            <p:custDataLst>
              <p:tags r:id="rId6"/>
            </p:custDataLst>
          </p:nvPr>
        </p:nvSpPr>
        <p:spPr>
          <a:xfrm>
            <a:off x="6747620" y="2044975"/>
            <a:ext cx="425192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7" name="Rectangle 66"/>
          <p:cNvSpPr/>
          <p:nvPr>
            <p:custDataLst>
              <p:tags r:id="rId7"/>
            </p:custDataLst>
          </p:nvPr>
        </p:nvSpPr>
        <p:spPr>
          <a:xfrm>
            <a:off x="461074" y="1490276"/>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CA" sz="1400" b="1" dirty="0">
                <a:solidFill>
                  <a:srgbClr val="000000"/>
                </a:solidFill>
                <a:latin typeface="EYInterstate Light" panose="02000506000000020004" pitchFamily="2" charset="0"/>
              </a:rPr>
              <a:t>Départ</a:t>
            </a:r>
          </a:p>
        </p:txBody>
      </p:sp>
      <p:cxnSp>
        <p:nvCxnSpPr>
          <p:cNvPr id="68" name="Straight Connector 67"/>
          <p:cNvCxnSpPr/>
          <p:nvPr>
            <p:custDataLst>
              <p:tags r:id="rId8"/>
            </p:custDataLst>
          </p:nvPr>
        </p:nvCxnSpPr>
        <p:spPr>
          <a:xfrm>
            <a:off x="461074" y="1900841"/>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9" name="Pentagon 68"/>
          <p:cNvSpPr/>
          <p:nvPr>
            <p:custDataLst>
              <p:tags r:id="rId9"/>
            </p:custDataLst>
          </p:nvPr>
        </p:nvSpPr>
        <p:spPr>
          <a:xfrm>
            <a:off x="4617134" y="2045702"/>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0" name="Pentagon 69"/>
          <p:cNvSpPr/>
          <p:nvPr>
            <p:custDataLst>
              <p:tags r:id="rId10"/>
            </p:custDataLst>
          </p:nvPr>
        </p:nvSpPr>
        <p:spPr>
          <a:xfrm>
            <a:off x="2760541" y="2046429"/>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1" name="Pentagon 70"/>
          <p:cNvSpPr/>
          <p:nvPr>
            <p:custDataLst>
              <p:tags r:id="rId11"/>
            </p:custDataLst>
          </p:nvPr>
        </p:nvSpPr>
        <p:spPr>
          <a:xfrm>
            <a:off x="1640551" y="2034850"/>
            <a:ext cx="3365004"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2" name="Pentagon 71"/>
          <p:cNvSpPr/>
          <p:nvPr>
            <p:custDataLst>
              <p:tags r:id="rId12"/>
            </p:custDataLst>
          </p:nvPr>
        </p:nvSpPr>
        <p:spPr>
          <a:xfrm>
            <a:off x="637729" y="2046429"/>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3" name="TextBox 72"/>
          <p:cNvSpPr txBox="1"/>
          <p:nvPr>
            <p:custDataLst>
              <p:tags r:id="rId13"/>
            </p:custDataLst>
          </p:nvPr>
        </p:nvSpPr>
        <p:spPr>
          <a:xfrm>
            <a:off x="881554" y="2393190"/>
            <a:ext cx="1708179"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buts</a:t>
            </a:r>
          </a:p>
        </p:txBody>
      </p:sp>
      <p:sp>
        <p:nvSpPr>
          <p:cNvPr id="74" name="TextBox 73"/>
          <p:cNvSpPr txBox="1"/>
          <p:nvPr>
            <p:custDataLst>
              <p:tags r:id="rId14"/>
            </p:custDataLst>
          </p:nvPr>
        </p:nvSpPr>
        <p:spPr>
          <a:xfrm>
            <a:off x="3271603" y="2239602"/>
            <a:ext cx="1291907"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Mener des évaluations du rendement</a:t>
            </a:r>
          </a:p>
        </p:txBody>
      </p:sp>
      <p:sp>
        <p:nvSpPr>
          <p:cNvPr id="75" name="TextBox 74"/>
          <p:cNvSpPr txBox="1"/>
          <p:nvPr>
            <p:custDataLst>
              <p:tags r:id="rId15"/>
            </p:custDataLst>
          </p:nvPr>
        </p:nvSpPr>
        <p:spPr>
          <a:xfrm>
            <a:off x="5360200" y="2383488"/>
            <a:ext cx="1171941"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Ajuster les notes</a:t>
            </a:r>
          </a:p>
        </p:txBody>
      </p:sp>
      <p:sp>
        <p:nvSpPr>
          <p:cNvPr id="76" name="TextBox 75"/>
          <p:cNvSpPr txBox="1"/>
          <p:nvPr>
            <p:custDataLst>
              <p:tags r:id="rId16"/>
            </p:custDataLst>
          </p:nvPr>
        </p:nvSpPr>
        <p:spPr>
          <a:xfrm>
            <a:off x="7206491" y="2299966"/>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Offrir une rétroaction complète</a:t>
            </a:r>
          </a:p>
        </p:txBody>
      </p:sp>
      <p:sp>
        <p:nvSpPr>
          <p:cNvPr id="77" name="TextBox 76"/>
          <p:cNvSpPr txBox="1"/>
          <p:nvPr>
            <p:custDataLst>
              <p:tags r:id="rId17"/>
            </p:custDataLst>
          </p:nvPr>
        </p:nvSpPr>
        <p:spPr>
          <a:xfrm>
            <a:off x="9253931" y="2249303"/>
            <a:ext cx="125665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fr-CA" sz="1100" b="1" dirty="0">
                <a:solidFill>
                  <a:srgbClr val="646464">
                    <a:lumMod val="50000"/>
                  </a:srgbClr>
                </a:solidFill>
                <a:latin typeface="EYInterstate Light" panose="02000506000000020004" pitchFamily="2" charset="0"/>
              </a:rPr>
              <a:t>Gérer les plans d’amélioration du rendement</a:t>
            </a:r>
          </a:p>
        </p:txBody>
      </p:sp>
      <p:sp>
        <p:nvSpPr>
          <p:cNvPr id="45" name="Rectangle 44"/>
          <p:cNvSpPr/>
          <p:nvPr>
            <p:custDataLst>
              <p:tags r:id="rId18"/>
            </p:custDataLst>
          </p:nvPr>
        </p:nvSpPr>
        <p:spPr>
          <a:xfrm>
            <a:off x="312727" y="3371153"/>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6" name="TextBox 45"/>
          <p:cNvSpPr txBox="1"/>
          <p:nvPr>
            <p:custDataLst>
              <p:tags r:id="rId19"/>
            </p:custDataLst>
          </p:nvPr>
        </p:nvSpPr>
        <p:spPr>
          <a:xfrm>
            <a:off x="312727" y="3454867"/>
            <a:ext cx="3387007" cy="1286506"/>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fr-CA" sz="1200" b="1" u="sng" dirty="0">
                <a:solidFill>
                  <a:schemeClr val="bg1"/>
                </a:solidFill>
              </a:rPr>
              <a:t>Légende</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Tableau du modèle de référence opérationnel des RH</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fr-CA" sz="1200" dirty="0">
                <a:solidFill>
                  <a:schemeClr val="bg1"/>
                </a:solidFill>
              </a:rPr>
              <a:t>Recommandation d’EY à ajouter</a:t>
            </a:r>
          </a:p>
        </p:txBody>
      </p:sp>
      <p:sp>
        <p:nvSpPr>
          <p:cNvPr id="47" name="Rectangle 46"/>
          <p:cNvSpPr/>
          <p:nvPr>
            <p:custDataLst>
              <p:tags r:id="rId20"/>
            </p:custDataLst>
          </p:nvPr>
        </p:nvSpPr>
        <p:spPr>
          <a:xfrm>
            <a:off x="469944" y="3900206"/>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8" name="Rectangle 47"/>
          <p:cNvSpPr/>
          <p:nvPr>
            <p:custDataLst>
              <p:tags r:id="rId21"/>
            </p:custDataLst>
          </p:nvPr>
        </p:nvSpPr>
        <p:spPr>
          <a:xfrm>
            <a:off x="469944" y="4345545"/>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1910455725"/>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custDataLst>
              <p:tags r:id="rId1"/>
            </p:custDataLst>
          </p:nvPr>
        </p:nvPicPr>
        <p:blipFill rotWithShape="1">
          <a:blip r:embed="rId22" cstate="email">
            <a:extLst>
              <a:ext uri="{28A0092B-C50C-407E-A947-70E740481C1C}">
                <a14:useLocalDpi xmlns:a14="http://schemas.microsoft.com/office/drawing/2010/main"/>
              </a:ext>
            </a:extLst>
          </a:blip>
          <a:srcRect/>
          <a:stretch/>
        </p:blipFill>
        <p:spPr>
          <a:xfrm>
            <a:off x="-43543" y="0"/>
            <a:ext cx="12260943" cy="6886020"/>
          </a:xfrm>
          <a:prstGeom prst="rect">
            <a:avLst/>
          </a:prstGeom>
        </p:spPr>
      </p:pic>
      <p:sp>
        <p:nvSpPr>
          <p:cNvPr id="16" name="Freeform 15"/>
          <p:cNvSpPr/>
          <p:nvPr>
            <p:custDataLst>
              <p:tags r:id="rId2"/>
            </p:custDataLst>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646464"/>
              </a:solidFill>
            </a:endParaRPr>
          </a:p>
        </p:txBody>
      </p:sp>
      <p:sp>
        <p:nvSpPr>
          <p:cNvPr id="17" name="Oval 16"/>
          <p:cNvSpPr/>
          <p:nvPr>
            <p:custDataLst>
              <p:tags r:id="rId3"/>
            </p:custDataLst>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18" name="Freeform 17"/>
          <p:cNvSpPr/>
          <p:nvPr>
            <p:custDataLst>
              <p:tags r:id="rId4"/>
            </p:custDataLst>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646464"/>
              </a:solidFill>
            </a:endParaRPr>
          </a:p>
        </p:txBody>
      </p:sp>
      <p:sp>
        <p:nvSpPr>
          <p:cNvPr id="19" name="Oval 18"/>
          <p:cNvSpPr/>
          <p:nvPr>
            <p:custDataLst>
              <p:tags r:id="rId5"/>
            </p:custDataLst>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21" name="Freeform 20"/>
          <p:cNvSpPr/>
          <p:nvPr>
            <p:custDataLst>
              <p:tags r:id="rId6"/>
            </p:custDataLst>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646464"/>
              </a:solidFill>
            </a:endParaRPr>
          </a:p>
        </p:txBody>
      </p:sp>
      <p:sp>
        <p:nvSpPr>
          <p:cNvPr id="22" name="Oval 21"/>
          <p:cNvSpPr/>
          <p:nvPr>
            <p:custDataLst>
              <p:tags r:id="rId7"/>
            </p:custDataLst>
          </p:nvPr>
        </p:nvSpPr>
        <p:spPr>
          <a:xfrm flipH="1">
            <a:off x="5635434" y="274019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24" name="Oval 23"/>
          <p:cNvSpPr/>
          <p:nvPr>
            <p:custDataLst>
              <p:tags r:id="rId8"/>
            </p:custDataLst>
          </p:nvPr>
        </p:nvSpPr>
        <p:spPr>
          <a:xfrm>
            <a:off x="4490201"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26" name="Freeform 25"/>
          <p:cNvSpPr/>
          <p:nvPr>
            <p:custDataLst>
              <p:tags r:id="rId9"/>
            </p:custDataLst>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646464"/>
              </a:solidFill>
            </a:endParaRPr>
          </a:p>
        </p:txBody>
      </p:sp>
      <p:sp>
        <p:nvSpPr>
          <p:cNvPr id="29" name="Freeform 28"/>
          <p:cNvSpPr/>
          <p:nvPr>
            <p:custDataLst>
              <p:tags r:id="rId10"/>
            </p:custDataLst>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646464"/>
              </a:solidFill>
            </a:endParaRPr>
          </a:p>
        </p:txBody>
      </p:sp>
      <p:sp>
        <p:nvSpPr>
          <p:cNvPr id="30" name="Oval 29"/>
          <p:cNvSpPr/>
          <p:nvPr>
            <p:custDataLst>
              <p:tags r:id="rId11"/>
            </p:custDataLst>
          </p:nvPr>
        </p:nvSpPr>
        <p:spPr>
          <a:xfrm>
            <a:off x="3239417"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28" name="Freeform 27"/>
          <p:cNvSpPr/>
          <p:nvPr>
            <p:custDataLst>
              <p:tags r:id="rId12"/>
            </p:custDataLst>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8C8C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646464"/>
              </a:solidFill>
            </a:endParaRPr>
          </a:p>
        </p:txBody>
      </p:sp>
      <p:sp>
        <p:nvSpPr>
          <p:cNvPr id="31" name="Freeform 30"/>
          <p:cNvSpPr/>
          <p:nvPr>
            <p:custDataLst>
              <p:tags r:id="rId13"/>
            </p:custDataLst>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646464"/>
              </a:solidFill>
            </a:endParaRPr>
          </a:p>
        </p:txBody>
      </p:sp>
      <p:sp>
        <p:nvSpPr>
          <p:cNvPr id="37" name="Freeform 36"/>
          <p:cNvSpPr/>
          <p:nvPr>
            <p:custDataLst>
              <p:tags r:id="rId14"/>
            </p:custDataLst>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rgbClr val="000000"/>
              </a:solidFill>
            </a:endParaRPr>
          </a:p>
        </p:txBody>
      </p:sp>
      <p:sp>
        <p:nvSpPr>
          <p:cNvPr id="38" name="TextBox 37"/>
          <p:cNvSpPr txBox="1"/>
          <p:nvPr>
            <p:custDataLst>
              <p:tags r:id="rId15"/>
            </p:custDataLst>
          </p:nvPr>
        </p:nvSpPr>
        <p:spPr>
          <a:xfrm>
            <a:off x="0" y="352216"/>
            <a:ext cx="12198350" cy="400110"/>
          </a:xfrm>
          <a:prstGeom prst="rect">
            <a:avLst/>
          </a:prstGeom>
          <a:noFill/>
        </p:spPr>
        <p:txBody>
          <a:bodyPr wrap="square" lIns="0" tIns="0" rIns="0" bIns="0" rtlCol="0" anchor="t" anchorCtr="0">
            <a:spAutoFit/>
          </a:bodyPr>
          <a:lstStyle/>
          <a:p>
            <a:pPr algn="ctr"/>
            <a:r>
              <a:rPr lang="fr-CA" sz="2600" dirty="0">
                <a:solidFill>
                  <a:srgbClr val="FFFFFF"/>
                </a:solidFill>
                <a:latin typeface="EYInterstate" panose="02000503020000020004" pitchFamily="2" charset="0"/>
              </a:rPr>
              <a:t>Activité </a:t>
            </a:r>
          </a:p>
        </p:txBody>
      </p:sp>
      <p:sp>
        <p:nvSpPr>
          <p:cNvPr id="23" name="Oval 22"/>
          <p:cNvSpPr/>
          <p:nvPr>
            <p:custDataLst>
              <p:tags r:id="rId16"/>
            </p:custDataLst>
          </p:nvPr>
        </p:nvSpPr>
        <p:spPr>
          <a:xfrm>
            <a:off x="1281818" y="3865854"/>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pic>
        <p:nvPicPr>
          <p:cNvPr id="34" name="Picture 33"/>
          <p:cNvPicPr>
            <a:picLocks noChangeAspect="1"/>
          </p:cNvPicPr>
          <p:nvPr>
            <p:custDataLst>
              <p:tags r:id="rId17"/>
            </p:custDataLst>
          </p:nvPr>
        </p:nvPicPr>
        <p:blipFill rotWithShape="1">
          <a:blip r:embed="rId23" cstate="email">
            <a:extLst>
              <a:ext uri="{28A0092B-C50C-407E-A947-70E740481C1C}">
                <a14:useLocalDpi xmlns:a14="http://schemas.microsoft.com/office/drawing/2010/main"/>
              </a:ext>
            </a:extLst>
          </a:blip>
          <a:srcRect r="50038"/>
          <a:stretch/>
        </p:blipFill>
        <p:spPr>
          <a:xfrm>
            <a:off x="11558294" y="133702"/>
            <a:ext cx="646406" cy="1450839"/>
          </a:xfrm>
          <a:prstGeom prst="rect">
            <a:avLst/>
          </a:prstGeom>
        </p:spPr>
      </p:pic>
      <p:sp>
        <p:nvSpPr>
          <p:cNvPr id="27" name="Oval 26"/>
          <p:cNvSpPr/>
          <p:nvPr>
            <p:custDataLst>
              <p:tags r:id="rId18"/>
            </p:custDataLst>
          </p:nvPr>
        </p:nvSpPr>
        <p:spPr>
          <a:xfrm>
            <a:off x="8594959" y="4270704"/>
            <a:ext cx="585235" cy="585235"/>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rgbClr val="000000"/>
              </a:solidFill>
            </a:endParaRPr>
          </a:p>
        </p:txBody>
      </p:sp>
      <p:sp>
        <p:nvSpPr>
          <p:cNvPr id="35" name="Text Placeholder 5"/>
          <p:cNvSpPr txBox="1">
            <a:spLocks/>
          </p:cNvSpPr>
          <p:nvPr>
            <p:custDataLst>
              <p:tags r:id="rId19"/>
            </p:custDataLst>
          </p:nvPr>
        </p:nvSpPr>
        <p:spPr>
          <a:xfrm>
            <a:off x="8699865" y="4332488"/>
            <a:ext cx="375424" cy="461665"/>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D200"/>
              </a:buClr>
            </a:pPr>
            <a:r>
              <a:rPr lang="fr-CA" sz="2400" b="1" dirty="0">
                <a:solidFill>
                  <a:srgbClr val="4B4B4B"/>
                </a:solidFill>
                <a:latin typeface="EYInterstate Light" panose="02000506000000020004" pitchFamily="2" charset="0"/>
              </a:rPr>
              <a:t>6</a:t>
            </a:r>
          </a:p>
        </p:txBody>
      </p:sp>
      <p:sp>
        <p:nvSpPr>
          <p:cNvPr id="36" name="Oval 35"/>
          <p:cNvSpPr/>
          <p:nvPr>
            <p:custDataLst>
              <p:tags r:id="rId20"/>
            </p:custDataLst>
          </p:nvPr>
        </p:nvSpPr>
        <p:spPr>
          <a:xfrm flipH="1">
            <a:off x="6947478" y="305225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Tree>
    <p:extLst>
      <p:ext uri="{BB962C8B-B14F-4D97-AF65-F5344CB8AC3E}">
        <p14:creationId xmlns:p14="http://schemas.microsoft.com/office/powerpoint/2010/main" val="2256702962"/>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custDataLst>
              <p:tags r:id="rId1"/>
            </p:custDataLst>
          </p:nvPr>
        </p:nvSpPr>
        <p:spPr>
          <a:xfrm>
            <a:off x="-2" y="4191980"/>
            <a:ext cx="5357193" cy="2683914"/>
          </a:xfrm>
          <a:prstGeom prst="rect">
            <a:avLst/>
          </a:prstGeom>
          <a:solidFill>
            <a:schemeClr val="accent4"/>
          </a:solidFill>
        </p:spPr>
        <p:txBody>
          <a:bodyPr wrap="square" lIns="612000" tIns="360000" rIns="360000" bIns="360000" rtlCol="0" anchor="t" anchorCtr="0">
            <a:spAutoFit/>
          </a:bodyPr>
          <a:lstStyle/>
          <a:p>
            <a:pPr marL="171450" indent="-171450">
              <a:lnSpc>
                <a:spcPct val="150000"/>
              </a:lnSpc>
              <a:spcBef>
                <a:spcPts val="200"/>
              </a:spcBef>
              <a:spcAft>
                <a:spcPct val="0"/>
              </a:spcAft>
              <a:buClr>
                <a:srgbClr val="C00000"/>
              </a:buClr>
              <a:buFont typeface="EYInterstate Light" panose="02000506000000020004" pitchFamily="2" charset="0"/>
              <a:buChar char="•"/>
              <a:defRPr/>
            </a:pPr>
            <a:r>
              <a:rPr lang="fr-CA" sz="1400" b="1" dirty="0">
                <a:solidFill>
                  <a:srgbClr val="C00000"/>
                </a:solidFill>
                <a:latin typeface="EYInterstate Light" panose="02000506000000020004" pitchFamily="2" charset="0"/>
                <a:ea typeface="Open Sans Light" charset="0"/>
                <a:cs typeface="Open Sans"/>
              </a:rPr>
              <a:t>Besoin particulier : </a:t>
            </a:r>
            <a:r>
              <a:rPr lang="fr-CA" sz="1400" dirty="0">
                <a:solidFill>
                  <a:srgbClr val="4B4B4B"/>
                </a:solidFill>
                <a:latin typeface="EYInterstate Light" panose="02000506000000020004" pitchFamily="2" charset="0"/>
                <a:ea typeface="Open Sans Light" charset="0"/>
                <a:cs typeface="Open Sans"/>
              </a:rPr>
              <a:t>sert à formuler les considérations liées à la prestation de services qui distinguent un groupe segment. </a:t>
            </a:r>
          </a:p>
          <a:p>
            <a:pPr marL="171450" indent="-171450">
              <a:lnSpc>
                <a:spcPct val="150000"/>
              </a:lnSpc>
              <a:spcBef>
                <a:spcPts val="200"/>
              </a:spcBef>
              <a:spcAft>
                <a:spcPct val="0"/>
              </a:spcAft>
              <a:buClr>
                <a:srgbClr val="C00000"/>
              </a:buClr>
              <a:buFont typeface="EYInterstate Light" panose="02000506000000020004" pitchFamily="2" charset="0"/>
              <a:buChar char="•"/>
              <a:defRPr/>
            </a:pPr>
            <a:r>
              <a:rPr lang="fr-CA" sz="1400" b="1" dirty="0">
                <a:solidFill>
                  <a:srgbClr val="C00000"/>
                </a:solidFill>
                <a:latin typeface="EYInterstate Light" panose="02000506000000020004" pitchFamily="2" charset="0"/>
                <a:ea typeface="Open Sans Light" charset="0"/>
                <a:cs typeface="Open Sans"/>
              </a:rPr>
              <a:t>Point sensible particulier :</a:t>
            </a:r>
            <a:r>
              <a:rPr lang="fr-CA" sz="1400" dirty="0">
                <a:solidFill>
                  <a:srgbClr val="4B4B4B"/>
                </a:solidFill>
                <a:latin typeface="EYInterstate Light" panose="02000506000000020004" pitchFamily="2" charset="0"/>
                <a:ea typeface="Open Sans Light" charset="0"/>
                <a:cs typeface="Open Sans"/>
              </a:rPr>
              <a:t> cerne les solutions et les possibilités dont il faut tenir compte dans la conceptualisation applicable à un segment.</a:t>
            </a:r>
          </a:p>
        </p:txBody>
      </p:sp>
      <p:pic>
        <p:nvPicPr>
          <p:cNvPr id="23" name="Picture 22"/>
          <p:cNvPicPr>
            <a:picLocks noChangeAspect="1"/>
          </p:cNvPicPr>
          <p:nvPr>
            <p:custDataLst>
              <p:tags r:id="rId2"/>
            </p:custDataLst>
          </p:nvPr>
        </p:nvPicPr>
        <p:blipFill>
          <a:blip r:embed="rId12" cstate="email">
            <a:extLst>
              <a:ext uri="{28A0092B-C50C-407E-A947-70E740481C1C}">
                <a14:useLocalDpi xmlns:a14="http://schemas.microsoft.com/office/drawing/2010/main"/>
              </a:ext>
            </a:extLst>
          </a:blip>
          <a:srcRect/>
          <a:stretch>
            <a:fillRect/>
          </a:stretch>
        </p:blipFill>
        <p:spPr>
          <a:xfrm>
            <a:off x="11072361" y="256904"/>
            <a:ext cx="405532" cy="415873"/>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sp>
        <p:nvSpPr>
          <p:cNvPr id="11" name="TextBox 10"/>
          <p:cNvSpPr txBox="1"/>
          <p:nvPr>
            <p:custDataLst>
              <p:tags r:id="rId3"/>
            </p:custDataLst>
          </p:nvPr>
        </p:nvSpPr>
        <p:spPr>
          <a:xfrm>
            <a:off x="578554" y="659554"/>
            <a:ext cx="6980034"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Personas: apprendre à </a:t>
            </a:r>
            <a:r>
              <a:rPr lang="fr-CA" sz="2600" dirty="0">
                <a:solidFill>
                  <a:schemeClr val="bg1"/>
                </a:solidFill>
                <a:latin typeface="EYInterstate Light" panose="02000506000000020004" pitchFamily="2" charset="0"/>
              </a:rPr>
              <a:t>connaître nos utilisateurs</a:t>
            </a:r>
          </a:p>
        </p:txBody>
      </p:sp>
      <p:cxnSp>
        <p:nvCxnSpPr>
          <p:cNvPr id="12" name="Straight Connector 11"/>
          <p:cNvCxnSpPr/>
          <p:nvPr>
            <p:custDataLst>
              <p:tags r:id="rId4"/>
            </p:custDataLst>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8" name="Content Placeholder 2"/>
          <p:cNvSpPr txBox="1">
            <a:spLocks/>
          </p:cNvSpPr>
          <p:nvPr>
            <p:custDataLst>
              <p:tags r:id="rId5"/>
            </p:custDataLst>
          </p:nvPr>
        </p:nvSpPr>
        <p:spPr>
          <a:xfrm>
            <a:off x="614566" y="1539071"/>
            <a:ext cx="4752037" cy="1921565"/>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300"/>
              </a:spcBef>
              <a:spcAft>
                <a:spcPts val="300"/>
              </a:spcAft>
              <a:buClr>
                <a:schemeClr val="bg1"/>
              </a:buClr>
              <a:buFont typeface="Arial" panose="020B0604020202020204" pitchFamily="34" charset="0"/>
              <a:buChar char="•"/>
              <a:defRPr sz="1800" kern="1200">
                <a:solidFill>
                  <a:schemeClr val="bg1"/>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chemeClr val="bg1"/>
              </a:buClr>
              <a:buFont typeface=".AppleSystemUIFont" charset="-120"/>
              <a:buChar char="–"/>
              <a:defRPr sz="1600" kern="1200">
                <a:solidFill>
                  <a:schemeClr val="bg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chemeClr val="bg1"/>
              </a:buClr>
              <a:buFont typeface="Arial" panose="020B0604020202020204" pitchFamily="34" charset="0"/>
              <a:buChar char="•"/>
              <a:defRPr sz="1400" kern="1200">
                <a:solidFill>
                  <a:schemeClr val="bg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chemeClr val="bg1"/>
              </a:buClr>
              <a:buFont typeface=".AppleSystemUIFont" charset="-120"/>
              <a:buChar char="–"/>
              <a:defRPr sz="1200" kern="1200">
                <a:solidFill>
                  <a:schemeClr val="bg1"/>
                </a:solidFill>
                <a:latin typeface="+mn-lt"/>
                <a:ea typeface="+mn-ea"/>
                <a:cs typeface="+mn-cs"/>
              </a:defRPr>
            </a:lvl4pPr>
            <a:lvl5pPr marL="2001838" indent="-173038" algn="l" defTabSz="914400" rtl="0" eaLnBrk="1" latinLnBrk="0" hangingPunct="1">
              <a:lnSpc>
                <a:spcPct val="100000"/>
              </a:lnSpc>
              <a:spcBef>
                <a:spcPts val="300"/>
              </a:spcBef>
              <a:spcAft>
                <a:spcPts val="300"/>
              </a:spcAft>
              <a:buClr>
                <a:schemeClr val="bg1"/>
              </a:buClr>
              <a:buFont typeface="Arial" panose="020B0604020202020204" pitchFamily="34" charset="0"/>
              <a:buChar char="•"/>
              <a:tabLst/>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2200"/>
              </a:spcBef>
              <a:spcAft>
                <a:spcPct val="0"/>
              </a:spcAft>
              <a:buClr>
                <a:srgbClr val="8C8279"/>
              </a:buClr>
              <a:buFont typeface="Arial" panose="020B0604020202020204" pitchFamily="34" charset="0"/>
              <a:buNone/>
              <a:defRPr/>
            </a:pPr>
            <a:r>
              <a:rPr lang="fr-CA" sz="1500" dirty="0">
                <a:solidFill>
                  <a:prstClr val="black">
                    <a:lumMod val="65000"/>
                    <a:lumOff val="35000"/>
                  </a:prstClr>
                </a:solidFill>
                <a:latin typeface="EYInterstate Light" panose="02000506000000020004" pitchFamily="2" charset="0"/>
                <a:ea typeface="Verdana" panose="020B0604030504040204" pitchFamily="34" charset="0"/>
                <a:cs typeface="Verdana" panose="020B0604030504040204" pitchFamily="34" charset="0"/>
              </a:rPr>
              <a:t>Les personas illustrent des caractères qui représentent différents groupes de personnes, notamment des employés, des segments de la main-d’œuvre ou des groupes d’utilisateurs.  </a:t>
            </a:r>
          </a:p>
          <a:p>
            <a:pPr marL="0" indent="0" algn="just">
              <a:spcBef>
                <a:spcPts val="2200"/>
              </a:spcBef>
              <a:spcAft>
                <a:spcPct val="0"/>
              </a:spcAft>
              <a:buClr>
                <a:srgbClr val="8C8279"/>
              </a:buClr>
              <a:buFont typeface="Arial" panose="020B0604020202020204" pitchFamily="34" charset="0"/>
              <a:buNone/>
              <a:defRPr/>
            </a:pPr>
            <a:r>
              <a:rPr lang="fr-CA" sz="1500" dirty="0">
                <a:solidFill>
                  <a:prstClr val="black">
                    <a:lumMod val="65000"/>
                    <a:lumOff val="35000"/>
                  </a:prstClr>
                </a:solidFill>
                <a:latin typeface="EYInterstate Light" panose="02000506000000020004" pitchFamily="2" charset="0"/>
                <a:ea typeface="Verdana" panose="020B0604030504040204" pitchFamily="34" charset="0"/>
                <a:cs typeface="Verdana" panose="020B0604030504040204" pitchFamily="34" charset="0"/>
              </a:rPr>
              <a:t>Les personas sont très utiles puisqu’elles peuvent nous aider à reconnaître que des personnes différentes ont des attentes et des besoins différents. Elles nous aident à </a:t>
            </a:r>
            <a:r>
              <a:rPr lang="fr-CA" sz="1500" b="1" dirty="0">
                <a:solidFill>
                  <a:prstClr val="black">
                    <a:lumMod val="65000"/>
                    <a:lumOff val="35000"/>
                  </a:prstClr>
                </a:solidFill>
                <a:latin typeface="EYInterstate Light" panose="02000506000000020004" pitchFamily="2" charset="0"/>
                <a:ea typeface="Verdana" panose="020B0604030504040204" pitchFamily="34" charset="0"/>
                <a:cs typeface="Verdana" panose="020B0604030504040204" pitchFamily="34" charset="0"/>
              </a:rPr>
              <a:t>comprendre ces besoins, ces expériences, ces comportements et ces buts.</a:t>
            </a:r>
            <a:r>
              <a:rPr lang="fr-CA" sz="1500" dirty="0">
                <a:solidFill>
                  <a:prstClr val="black">
                    <a:lumMod val="65000"/>
                    <a:lumOff val="35000"/>
                  </a:prstClr>
                </a:solidFill>
                <a:latin typeface="EYInterstate Light" panose="02000506000000020004" pitchFamily="2" charset="0"/>
                <a:ea typeface="Verdana" panose="020B0604030504040204" pitchFamily="34" charset="0"/>
                <a:cs typeface="Verdana" panose="020B0604030504040204" pitchFamily="34" charset="0"/>
              </a:rPr>
              <a:t> Lorsque nous créons des personas, nous désignons des besoins particuliers et des points sensibles. </a:t>
            </a:r>
            <a:endParaRPr lang="en-US" sz="2400" dirty="0">
              <a:solidFill>
                <a:srgbClr val="DA291C"/>
              </a:solidFill>
              <a:latin typeface="EYInterstate Light" panose="02000506000000020004" pitchFamily="2" charset="0"/>
              <a:ea typeface="Verdana" panose="020B0604030504040204" pitchFamily="34" charset="0"/>
              <a:cs typeface="Verdana" panose="020B0604030504040204" pitchFamily="34" charset="0"/>
            </a:endParaRPr>
          </a:p>
          <a:p>
            <a:pPr marL="0" lvl="4" indent="0">
              <a:spcBef>
                <a:spcPts val="2200"/>
              </a:spcBef>
              <a:spcAft>
                <a:spcPct val="0"/>
              </a:spcAft>
              <a:buClr>
                <a:prstClr val="white"/>
              </a:buClr>
              <a:buFont typeface="Arial" panose="020B0604020202020204" pitchFamily="34" charset="0"/>
              <a:buNone/>
              <a:defRPr/>
            </a:pPr>
            <a:endParaRPr lang="en-US" sz="2400" dirty="0">
              <a:solidFill>
                <a:srgbClr val="DA291C"/>
              </a:solidFill>
              <a:latin typeface="Calibri"/>
              <a:ea typeface="Verdana" panose="020B0604030504040204" pitchFamily="34" charset="0"/>
              <a:cs typeface="Verdana" panose="020B0604030504040204" pitchFamily="34" charset="0"/>
            </a:endParaRPr>
          </a:p>
          <a:p>
            <a:pPr marL="0" lvl="4" indent="0">
              <a:spcBef>
                <a:spcPts val="2200"/>
              </a:spcBef>
              <a:spcAft>
                <a:spcPct val="0"/>
              </a:spcAft>
              <a:buClr>
                <a:srgbClr val="8C8279"/>
              </a:buClr>
              <a:buFont typeface="Arial" panose="020B0604020202020204" pitchFamily="34" charset="0"/>
              <a:buNone/>
              <a:defRPr/>
            </a:pPr>
            <a:r>
              <a:rPr lang="fr-CA" sz="2400" dirty="0">
                <a:solidFill>
                  <a:srgbClr val="DA291C"/>
                </a:solidFill>
                <a:latin typeface="Calibri"/>
                <a:ea typeface="Verdana" panose="020B0604030504040204" pitchFamily="34" charset="0"/>
                <a:cs typeface="Verdana" panose="020B0604030504040204" pitchFamily="34" charset="0"/>
              </a:rPr>
              <a:t>	</a:t>
            </a:r>
          </a:p>
        </p:txBody>
      </p:sp>
      <p:sp>
        <p:nvSpPr>
          <p:cNvPr id="56" name="TextBox 55"/>
          <p:cNvSpPr txBox="1"/>
          <p:nvPr>
            <p:custDataLst>
              <p:tags r:id="rId6"/>
            </p:custDataLst>
          </p:nvPr>
        </p:nvSpPr>
        <p:spPr>
          <a:xfrm>
            <a:off x="10874676" y="2253633"/>
            <a:ext cx="1717154" cy="492443"/>
          </a:xfrm>
          <a:prstGeom prst="rect">
            <a:avLst/>
          </a:prstGeom>
          <a:noFill/>
        </p:spPr>
        <p:txBody>
          <a:bodyPr wrap="square" lIns="0" tIns="0" rIns="0" bIns="0" rtlCol="0" anchor="t" anchorCtr="0">
            <a:spAutoFit/>
          </a:bodyPr>
          <a:lstStyle/>
          <a:p>
            <a:r>
              <a:rPr lang="fr-CA" sz="1600" dirty="0">
                <a:solidFill>
                  <a:srgbClr val="4B4B4B"/>
                </a:solidFill>
                <a:latin typeface="EYInterstate Light" panose="02000506000000020004" pitchFamily="2" charset="0"/>
              </a:rPr>
              <a:t>Administrateur décentralisé</a:t>
            </a:r>
          </a:p>
        </p:txBody>
      </p:sp>
      <p:pic>
        <p:nvPicPr>
          <p:cNvPr id="8" name="Picture 7"/>
          <p:cNvPicPr>
            <a:picLocks noChangeAspect="1"/>
          </p:cNvPicPr>
          <p:nvPr>
            <p:custDataLst>
              <p:tags r:id="rId7"/>
            </p:custDataLst>
          </p:nvPr>
        </p:nvPicPr>
        <p:blipFill rotWithShape="1">
          <a:blip r:embed="rId13" cstate="email">
            <a:extLst>
              <a:ext uri="{BEBA8EAE-BF5A-486C-A8C5-ECC9F3942E4B}">
                <a14:imgProps xmlns:a14="http://schemas.microsoft.com/office/drawing/2010/main">
                  <a14:imgLayer r:embed="rId14">
                    <a14:imgEffect>
                      <a14:backgroundRemoval t="0" b="100000" l="0" r="100000"/>
                    </a14:imgEffect>
                  </a14:imgLayer>
                </a14:imgProps>
              </a:ext>
              <a:ext uri="{28A0092B-C50C-407E-A947-70E740481C1C}">
                <a14:useLocalDpi xmlns:a14="http://schemas.microsoft.com/office/drawing/2010/main"/>
              </a:ext>
            </a:extLst>
          </a:blip>
          <a:srcRect/>
          <a:stretch/>
        </p:blipFill>
        <p:spPr>
          <a:xfrm>
            <a:off x="8257915" y="3085734"/>
            <a:ext cx="790291" cy="1106246"/>
          </a:xfrm>
          <a:prstGeom prst="rect">
            <a:avLst/>
          </a:prstGeom>
          <a:ln>
            <a:noFill/>
          </a:ln>
        </p:spPr>
      </p:pic>
      <p:grpSp>
        <p:nvGrpSpPr>
          <p:cNvPr id="2" name="Group 1"/>
          <p:cNvGrpSpPr/>
          <p:nvPr>
            <p:custDataLst>
              <p:tags r:id="rId8"/>
            </p:custDataLst>
          </p:nvPr>
        </p:nvGrpSpPr>
        <p:grpSpPr>
          <a:xfrm>
            <a:off x="5606094" y="1621089"/>
            <a:ext cx="8758599" cy="4470894"/>
            <a:chOff x="5606094" y="1621089"/>
            <a:chExt cx="8758599" cy="4470894"/>
          </a:xfrm>
        </p:grpSpPr>
        <p:pic>
          <p:nvPicPr>
            <p:cNvPr id="9" name="Picture 8"/>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6524335" y="1621089"/>
              <a:ext cx="822421" cy="1079496"/>
            </a:xfrm>
            <a:prstGeom prst="rect">
              <a:avLst/>
            </a:prstGeom>
            <a:ln>
              <a:noFill/>
            </a:ln>
          </p:spPr>
        </p:pic>
        <p:pic>
          <p:nvPicPr>
            <p:cNvPr id="10" name="Picture 9"/>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6803851" y="5011982"/>
              <a:ext cx="754737" cy="1080000"/>
            </a:xfrm>
            <a:prstGeom prst="rect">
              <a:avLst/>
            </a:prstGeom>
            <a:ln>
              <a:noFill/>
            </a:ln>
          </p:spPr>
        </p:pic>
        <p:sp>
          <p:nvSpPr>
            <p:cNvPr id="13" name="TextBox 12"/>
            <p:cNvSpPr txBox="1"/>
            <p:nvPr/>
          </p:nvSpPr>
          <p:spPr>
            <a:xfrm>
              <a:off x="5635941" y="2256432"/>
              <a:ext cx="1060830" cy="492443"/>
            </a:xfrm>
            <a:prstGeom prst="rect">
              <a:avLst/>
            </a:prstGeom>
            <a:noFill/>
          </p:spPr>
          <p:txBody>
            <a:bodyPr wrap="square" lIns="0" tIns="0" rIns="0" bIns="0" rtlCol="0" anchor="t" anchorCtr="0">
              <a:spAutoFit/>
            </a:bodyPr>
            <a:lstStyle/>
            <a:p>
              <a:r>
                <a:rPr lang="fr-CA" sz="1600" dirty="0">
                  <a:solidFill>
                    <a:srgbClr val="4B4B4B"/>
                  </a:solidFill>
                  <a:latin typeface="EYInterstate Light" panose="02000506000000020004" pitchFamily="2" charset="0"/>
                </a:rPr>
                <a:t>Gestionnaire du personnel</a:t>
              </a:r>
            </a:p>
          </p:txBody>
        </p:sp>
        <p:sp>
          <p:nvSpPr>
            <p:cNvPr id="14" name="TextBox 13"/>
            <p:cNvSpPr txBox="1"/>
            <p:nvPr/>
          </p:nvSpPr>
          <p:spPr>
            <a:xfrm>
              <a:off x="5606094" y="5497406"/>
              <a:ext cx="1717154" cy="246221"/>
            </a:xfrm>
            <a:prstGeom prst="rect">
              <a:avLst/>
            </a:prstGeom>
            <a:noFill/>
          </p:spPr>
          <p:txBody>
            <a:bodyPr wrap="square" lIns="0" tIns="0" rIns="0" bIns="0" rtlCol="0" anchor="t" anchorCtr="0">
              <a:spAutoFit/>
            </a:bodyPr>
            <a:lstStyle/>
            <a:p>
              <a:r>
                <a:rPr lang="fr-CA" sz="1600" dirty="0">
                  <a:solidFill>
                    <a:srgbClr val="4B4B4B"/>
                  </a:solidFill>
                  <a:latin typeface="EYInterstate Light" panose="02000506000000020004" pitchFamily="2" charset="0"/>
                </a:rPr>
                <a:t>Spécialiste des ressources humaines </a:t>
              </a:r>
            </a:p>
          </p:txBody>
        </p:sp>
        <p:pic>
          <p:nvPicPr>
            <p:cNvPr id="58" name="Picture 57"/>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9773549" y="5025763"/>
              <a:ext cx="760043" cy="1066220"/>
            </a:xfrm>
            <a:prstGeom prst="rect">
              <a:avLst/>
            </a:prstGeom>
            <a:ln>
              <a:noFill/>
            </a:ln>
          </p:spPr>
        </p:pic>
        <p:sp>
          <p:nvSpPr>
            <p:cNvPr id="55" name="TextBox 54"/>
            <p:cNvSpPr txBox="1"/>
            <p:nvPr/>
          </p:nvSpPr>
          <p:spPr>
            <a:xfrm>
              <a:off x="10621189" y="5251184"/>
              <a:ext cx="1717154" cy="738664"/>
            </a:xfrm>
            <a:prstGeom prst="rect">
              <a:avLst/>
            </a:prstGeom>
            <a:noFill/>
          </p:spPr>
          <p:txBody>
            <a:bodyPr wrap="square" lIns="0" tIns="0" rIns="0" bIns="0" rtlCol="0" anchor="t" anchorCtr="0">
              <a:spAutoFit/>
            </a:bodyPr>
            <a:lstStyle/>
            <a:p>
              <a:r>
                <a:rPr lang="fr-CA" sz="1600" dirty="0">
                  <a:solidFill>
                    <a:srgbClr val="4B4B4B"/>
                  </a:solidFill>
                  <a:latin typeface="EYInterstate Light" panose="02000506000000020004" pitchFamily="2" charset="0"/>
                </a:rPr>
                <a:t>Conseiller en rémunération et à la paie </a:t>
              </a:r>
            </a:p>
          </p:txBody>
        </p:sp>
        <p:pic>
          <p:nvPicPr>
            <p:cNvPr id="3" name="Picture 2"/>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966109" y="2263451"/>
              <a:ext cx="3296018" cy="3293755"/>
            </a:xfrm>
            <a:prstGeom prst="rect">
              <a:avLst/>
            </a:prstGeom>
          </p:spPr>
        </p:pic>
        <p:sp>
          <p:nvSpPr>
            <p:cNvPr id="59" name="TextBox 58"/>
            <p:cNvSpPr txBox="1"/>
            <p:nvPr/>
          </p:nvSpPr>
          <p:spPr>
            <a:xfrm>
              <a:off x="7384659" y="1704704"/>
              <a:ext cx="6980034" cy="400110"/>
            </a:xfrm>
            <a:prstGeom prst="rect">
              <a:avLst/>
            </a:prstGeom>
            <a:noFill/>
          </p:spPr>
          <p:txBody>
            <a:bodyPr wrap="square" lIns="0" tIns="0" rIns="0" bIns="0" rtlCol="0" anchor="t" anchorCtr="0">
              <a:spAutoFit/>
            </a:bodyPr>
            <a:lstStyle/>
            <a:p>
              <a:r>
                <a:rPr lang="fr-CA" sz="2600" dirty="0">
                  <a:solidFill>
                    <a:srgbClr val="7FD1D6"/>
                  </a:solidFill>
                  <a:latin typeface="EYInterstate Light" panose="02000506000000020004" pitchFamily="2" charset="0"/>
                </a:rPr>
                <a:t>Personas prioritaires </a:t>
              </a:r>
            </a:p>
          </p:txBody>
        </p:sp>
      </p:grpSp>
      <p:pic>
        <p:nvPicPr>
          <p:cNvPr id="22" name="Picture 21"/>
          <p:cNvPicPr>
            <a:picLocks/>
          </p:cNvPicPr>
          <p:nvPr>
            <p:custDataLst>
              <p:tags r:id="rId9"/>
            </p:custDataLst>
          </p:nvPr>
        </p:nvPicPr>
        <p:blipFill rotWithShape="1">
          <a:blip r:embed="rId19" cstate="email">
            <a:extLst>
              <a:ext uri="{28A0092B-C50C-407E-A947-70E740481C1C}">
                <a14:useLocalDpi xmlns:a14="http://schemas.microsoft.com/office/drawing/2010/main"/>
              </a:ext>
            </a:extLst>
          </a:blip>
          <a:srcRect/>
          <a:stretch/>
        </p:blipFill>
        <p:spPr>
          <a:xfrm>
            <a:off x="9997854" y="1602585"/>
            <a:ext cx="828000" cy="1098000"/>
          </a:xfrm>
          <a:prstGeom prst="rect">
            <a:avLst/>
          </a:prstGeom>
          <a:noFill/>
          <a:ln>
            <a:noFill/>
          </a:ln>
        </p:spPr>
      </p:pic>
      <p:pic>
        <p:nvPicPr>
          <p:cNvPr id="24" name="Picture 23"/>
          <p:cNvPicPr>
            <a:picLocks/>
          </p:cNvPicPr>
          <p:nvPr>
            <p:custDataLst>
              <p:tags r:id="rId10"/>
            </p:custDataLst>
          </p:nvPr>
        </p:nvPicPr>
        <p:blipFill rotWithShape="1">
          <a:blip r:embed="rId20" cstate="email">
            <a:extLst>
              <a:ext uri="{BEBA8EAE-BF5A-486C-A8C5-ECC9F3942E4B}">
                <a14:imgProps xmlns:a14="http://schemas.microsoft.com/office/drawing/2010/main">
                  <a14:imgLayer r:embed="rId14">
                    <a14:imgEffect>
                      <a14:backgroundRemoval t="0" b="98684" l="0" r="100000"/>
                    </a14:imgEffect>
                  </a14:imgLayer>
                </a14:imgProps>
              </a:ext>
              <a:ext uri="{28A0092B-C50C-407E-A947-70E740481C1C}">
                <a14:useLocalDpi xmlns:a14="http://schemas.microsoft.com/office/drawing/2010/main"/>
              </a:ext>
            </a:extLst>
          </a:blip>
          <a:srcRect/>
          <a:stretch/>
        </p:blipFill>
        <p:spPr>
          <a:xfrm>
            <a:off x="8281015" y="3017019"/>
            <a:ext cx="767191" cy="1243675"/>
          </a:xfrm>
          <a:prstGeom prst="rect">
            <a:avLst/>
          </a:prstGeom>
          <a:ln>
            <a:noFill/>
          </a:ln>
        </p:spPr>
      </p:pic>
    </p:spTree>
    <p:extLst>
      <p:ext uri="{BB962C8B-B14F-4D97-AF65-F5344CB8AC3E}">
        <p14:creationId xmlns:p14="http://schemas.microsoft.com/office/powerpoint/2010/main" val="3982023711"/>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object 3"/>
          <p:cNvSpPr/>
          <p:nvPr>
            <p:custDataLst>
              <p:tags r:id="rId1"/>
            </p:custDataLst>
          </p:nvPr>
        </p:nvSpPr>
        <p:spPr>
          <a:xfrm>
            <a:off x="2515721" y="589618"/>
            <a:ext cx="7326370" cy="396305"/>
          </a:xfrm>
          <a:custGeom>
            <a:avLst/>
            <a:gdLst/>
            <a:ahLst/>
            <a:cxnLst/>
            <a:rect l="l" t="t" r="r" b="b"/>
            <a:pathLst>
              <a:path w="5788659" h="357505">
                <a:moveTo>
                  <a:pt x="0" y="357403"/>
                </a:moveTo>
                <a:lnTo>
                  <a:pt x="5788215" y="357403"/>
                </a:lnTo>
                <a:lnTo>
                  <a:pt x="5788215" y="0"/>
                </a:lnTo>
                <a:lnTo>
                  <a:pt x="0" y="0"/>
                </a:lnTo>
                <a:lnTo>
                  <a:pt x="0" y="357403"/>
                </a:lnTo>
                <a:close/>
              </a:path>
            </a:pathLst>
          </a:custGeom>
          <a:solidFill>
            <a:srgbClr val="FFE600"/>
          </a:solidFill>
        </p:spPr>
        <p:txBody>
          <a:bodyPr wrap="square" lIns="0" tIns="0" rIns="0" bIns="0" rtlCol="0"/>
          <a:lstStyle/>
          <a:p>
            <a:r>
              <a:rPr lang="fr-CA" sz="1600" dirty="0">
                <a:solidFill>
                  <a:srgbClr val="646464"/>
                </a:solidFill>
                <a:latin typeface="EYInterstate" panose="02000503020000020004" pitchFamily="2" charset="0"/>
                <a:cs typeface="Calibri" panose="020F0502020204030204" pitchFamily="34" charset="0"/>
              </a:rPr>
              <a:t>Chris— infirmier en santé communautaire</a:t>
            </a:r>
          </a:p>
        </p:txBody>
      </p:sp>
      <p:sp>
        <p:nvSpPr>
          <p:cNvPr id="135" name="object 2"/>
          <p:cNvSpPr txBox="1"/>
          <p:nvPr>
            <p:custDataLst>
              <p:tags r:id="rId2"/>
            </p:custDataLst>
          </p:nvPr>
        </p:nvSpPr>
        <p:spPr>
          <a:xfrm>
            <a:off x="2513217" y="981094"/>
            <a:ext cx="8225904" cy="1107996"/>
          </a:xfrm>
          <a:prstGeom prst="rect">
            <a:avLst/>
          </a:prstGeom>
          <a:solidFill>
            <a:schemeClr val="tx1">
              <a:lumMod val="50000"/>
              <a:lumOff val="50000"/>
            </a:schemeClr>
          </a:solidFill>
        </p:spPr>
        <p:txBody>
          <a:bodyPr vert="horz" wrap="square" lIns="0" tIns="0" rIns="0" bIns="0" rtlCol="0">
            <a:spAutoFit/>
          </a:bodyPr>
          <a:lstStyle/>
          <a:p>
            <a:pPr marL="184150" indent="-171450">
              <a:buFont typeface="Arial" panose="020B0604020202020204" pitchFamily="34" charset="0"/>
              <a:buChar char="•"/>
            </a:pPr>
            <a:r>
              <a:rPr lang="fr-CA" sz="1200" b="1" dirty="0">
                <a:solidFill>
                  <a:srgbClr val="FFFFFF"/>
                </a:solidFill>
                <a:latin typeface="EYInterstate Light" panose="02000506000000020004" pitchFamily="2" charset="0"/>
                <a:cs typeface="Calibri" panose="020F0502020204030204" pitchFamily="34" charset="0"/>
              </a:rPr>
              <a:t>Chris est un infirmier en santé communautaire pour Services aux Autochtones Canada (SAC) où il travaille avec ses partenaires pour améliorer l’accès à des services de haute qualité pour les Premières Nations, les Inuits et les Métis. La vision de SAC consiste à appuyer et à permettre aux populations autochtones d’offrir des services de manière indépendante et de répondre aux particularités socio-économiques de leurs collectivités.</a:t>
            </a:r>
          </a:p>
          <a:p>
            <a:pPr marL="184150" indent="-171450">
              <a:buFont typeface="Arial" panose="020B0604020202020204" pitchFamily="34" charset="0"/>
              <a:buChar char="•"/>
            </a:pPr>
            <a:r>
              <a:rPr lang="fr-CA" sz="1200" b="1" dirty="0">
                <a:solidFill>
                  <a:srgbClr val="FFFFFF"/>
                </a:solidFill>
                <a:latin typeface="EYInterstate Light" panose="02000506000000020004" pitchFamily="2" charset="0"/>
                <a:cs typeface="Calibri" panose="020F0502020204030204" pitchFamily="34" charset="0"/>
              </a:rPr>
              <a:t>Chris fournit des soins de santé dans les collectivités depuis trois ans, souvent de manière autonome. </a:t>
            </a:r>
          </a:p>
          <a:p>
            <a:pPr marL="184150" indent="-171450">
              <a:buFont typeface="Arial" panose="020B0604020202020204" pitchFamily="34" charset="0"/>
              <a:buChar char="•"/>
            </a:pPr>
            <a:r>
              <a:rPr lang="fr-CA" sz="1200" b="1" dirty="0">
                <a:solidFill>
                  <a:srgbClr val="FFFFFF"/>
                </a:solidFill>
                <a:latin typeface="EYInterstate Light" panose="02000506000000020004" pitchFamily="2" charset="0"/>
                <a:cs typeface="Calibri" panose="020F0502020204030204" pitchFamily="34" charset="0"/>
              </a:rPr>
              <a:t>Il a 2 enfants et est le principal aidant naturel pour son père âgé. </a:t>
            </a:r>
          </a:p>
        </p:txBody>
      </p:sp>
      <p:grpSp>
        <p:nvGrpSpPr>
          <p:cNvPr id="145" name="Group 144"/>
          <p:cNvGrpSpPr/>
          <p:nvPr>
            <p:custDataLst>
              <p:tags r:id="rId3"/>
            </p:custDataLst>
          </p:nvPr>
        </p:nvGrpSpPr>
        <p:grpSpPr>
          <a:xfrm>
            <a:off x="1135361" y="2226119"/>
            <a:ext cx="10741900" cy="1951965"/>
            <a:chOff x="8301216" y="5887243"/>
            <a:chExt cx="6821309" cy="1456987"/>
          </a:xfrm>
          <a:solidFill>
            <a:srgbClr val="646464"/>
          </a:solidFill>
        </p:grpSpPr>
        <p:sp>
          <p:nvSpPr>
            <p:cNvPr id="146" name="Rectangle 145"/>
            <p:cNvSpPr/>
            <p:nvPr/>
          </p:nvSpPr>
          <p:spPr>
            <a:xfrm>
              <a:off x="8301216" y="5887243"/>
              <a:ext cx="173477" cy="145698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rgbClr val="000000"/>
                </a:solidFill>
              </a:endParaRPr>
            </a:p>
          </p:txBody>
        </p:sp>
        <p:sp>
          <p:nvSpPr>
            <p:cNvPr id="147" name="Rectangle 146"/>
            <p:cNvSpPr/>
            <p:nvPr/>
          </p:nvSpPr>
          <p:spPr>
            <a:xfrm rot="5400000">
              <a:off x="11625132" y="3846838"/>
              <a:ext cx="173477" cy="6821308"/>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rgbClr val="000000"/>
                </a:solidFill>
              </a:endParaRPr>
            </a:p>
          </p:txBody>
        </p:sp>
      </p:grpSp>
      <p:sp>
        <p:nvSpPr>
          <p:cNvPr id="148" name="Oval 147"/>
          <p:cNvSpPr/>
          <p:nvPr>
            <p:custDataLst>
              <p:tags r:id="rId4"/>
            </p:custDataLst>
          </p:nvPr>
        </p:nvSpPr>
        <p:spPr>
          <a:xfrm>
            <a:off x="8117435" y="3751553"/>
            <a:ext cx="562428" cy="56242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IN" sz="2800" b="1" dirty="0">
              <a:solidFill>
                <a:srgbClr val="646464"/>
              </a:solidFill>
            </a:endParaRPr>
          </a:p>
        </p:txBody>
      </p:sp>
      <p:sp>
        <p:nvSpPr>
          <p:cNvPr id="149" name="Oval 148"/>
          <p:cNvSpPr/>
          <p:nvPr>
            <p:custDataLst>
              <p:tags r:id="rId5"/>
            </p:custDataLst>
          </p:nvPr>
        </p:nvSpPr>
        <p:spPr>
          <a:xfrm>
            <a:off x="5968570" y="3751553"/>
            <a:ext cx="562428" cy="56242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IN" sz="2800" b="1" dirty="0">
              <a:solidFill>
                <a:srgbClr val="646464"/>
              </a:solidFill>
            </a:endParaRPr>
          </a:p>
        </p:txBody>
      </p:sp>
      <p:sp>
        <p:nvSpPr>
          <p:cNvPr id="150" name="Oval 149"/>
          <p:cNvSpPr/>
          <p:nvPr>
            <p:custDataLst>
              <p:tags r:id="rId6"/>
            </p:custDataLst>
          </p:nvPr>
        </p:nvSpPr>
        <p:spPr>
          <a:xfrm>
            <a:off x="3770224" y="3751553"/>
            <a:ext cx="562428" cy="56242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IN" sz="2800" b="1" dirty="0">
              <a:solidFill>
                <a:srgbClr val="646464"/>
              </a:solidFill>
            </a:endParaRPr>
          </a:p>
        </p:txBody>
      </p:sp>
      <p:sp>
        <p:nvSpPr>
          <p:cNvPr id="151" name="Oval 150"/>
          <p:cNvSpPr/>
          <p:nvPr>
            <p:custDataLst>
              <p:tags r:id="rId7"/>
            </p:custDataLst>
          </p:nvPr>
        </p:nvSpPr>
        <p:spPr>
          <a:xfrm>
            <a:off x="1621573" y="3751553"/>
            <a:ext cx="562428" cy="56242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US" sz="2800" b="1" dirty="0">
              <a:solidFill>
                <a:srgbClr val="646464"/>
              </a:solidFill>
            </a:endParaRPr>
          </a:p>
        </p:txBody>
      </p:sp>
      <p:sp>
        <p:nvSpPr>
          <p:cNvPr id="152" name="Rectangle 25" descr="© INSCALE GmbH, 26.05.2010&#10;http://www.presentationload.com/"/>
          <p:cNvSpPr>
            <a:spLocks noChangeArrowheads="1"/>
          </p:cNvSpPr>
          <p:nvPr>
            <p:custDataLst>
              <p:tags r:id="rId8"/>
            </p:custDataLst>
          </p:nvPr>
        </p:nvSpPr>
        <p:spPr bwMode="gray">
          <a:xfrm flipH="1">
            <a:off x="357805" y="4335502"/>
            <a:ext cx="4115871" cy="2462213"/>
          </a:xfrm>
          <a:prstGeom prst="rect">
            <a:avLst/>
          </a:prstGeom>
          <a:noFill/>
          <a:ln w="9525">
            <a:noFill/>
            <a:miter lim="800000"/>
            <a:headEnd/>
            <a:tailEnd/>
          </a:ln>
          <a:effectLst/>
        </p:spPr>
        <p:txBody>
          <a:bodyPr wrap="square" lIns="0" tIns="0" rIns="0" bIns="0" anchor="t" anchorCtr="0">
            <a:spAutoFit/>
          </a:bodyPr>
          <a:lstStyle/>
          <a:p>
            <a:pPr defTabSz="1474905">
              <a:defRPr/>
            </a:pPr>
            <a:r>
              <a:rPr lang="fr-CA" sz="1000" b="1" noProof="1">
                <a:solidFill>
                  <a:srgbClr val="646464"/>
                </a:solidFill>
                <a:latin typeface="EYInterstate Light" panose="02000506000000020004" pitchFamily="2" charset="0"/>
              </a:rPr>
              <a:t>Mon expérience d’embauche et mes 90 premiers jours</a:t>
            </a:r>
          </a:p>
          <a:p>
            <a:pPr defTabSz="1474905">
              <a:defRPr/>
            </a:pPr>
            <a:r>
              <a:rPr lang="fr-CA" sz="1000" noProof="1">
                <a:solidFill>
                  <a:srgbClr val="646464"/>
                </a:solidFill>
                <a:latin typeface="EYInterstate Light" panose="02000506000000020004" pitchFamily="2" charset="0"/>
              </a:rPr>
              <a:t>J’ai des qualifications accréditées, mais mon expérience est notable. La qualité de mes compétences doit être reconnue et il a été difficile à démontrer que j’offre un rendement élevé dans le processus, comparativement au concours par écrit. Où vont mes renseignements – faites-vous correspondre mes compétences à d’autres postes ou dois-je connaître tous les détails et faire des demandes séparées? J’ai eu connaissance de ce poste par bouche-à-oreille et le processus n’était pas clair. Dans le contexte actuel du marché du travail, les détails doivent être mieux définis dès le début du processus, sinon nous devrions savoir à quoi nous attendre en matière de délai de traitement.</a:t>
            </a:r>
          </a:p>
          <a:p>
            <a:pPr defTabSz="1474905">
              <a:defRPr/>
            </a:pPr>
            <a:r>
              <a:rPr lang="fr-CA" sz="1000" noProof="1">
                <a:solidFill>
                  <a:srgbClr val="646464"/>
                </a:solidFill>
                <a:latin typeface="EYInterstate Light" panose="02000506000000020004" pitchFamily="2" charset="0"/>
              </a:rPr>
              <a:t>Mes 90 premiers jours étaient flous. Je devais apprendre à connaître la collectivité, ma charge de travail (les clients) ainsi que le fonctionnement de l’organisation. Étant donné que je ne travaillais pas dans les bureaux centraux, j’ai dû faire mon orientation en dehors des heures de travail, cependant les mécanismes n’étaient pas disponibles et il était difficile de joindre les personnes-ressources pour répondre à mes questions.</a:t>
            </a:r>
          </a:p>
        </p:txBody>
      </p:sp>
      <p:sp>
        <p:nvSpPr>
          <p:cNvPr id="156" name="Rectangle 155"/>
          <p:cNvSpPr/>
          <p:nvPr>
            <p:custDataLst>
              <p:tags r:id="rId9"/>
            </p:custDataLst>
          </p:nvPr>
        </p:nvSpPr>
        <p:spPr>
          <a:xfrm>
            <a:off x="703383" y="2216403"/>
            <a:ext cx="1164432" cy="226606"/>
          </a:xfrm>
          <a:prstGeom prst="rect">
            <a:avLst/>
          </a:prstGeom>
          <a:solidFill>
            <a:srgbClr val="9999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IN" sz="1200" dirty="0">
              <a:solidFill>
                <a:srgbClr val="000000"/>
              </a:solidFill>
            </a:endParaRPr>
          </a:p>
        </p:txBody>
      </p:sp>
      <p:sp>
        <p:nvSpPr>
          <p:cNvPr id="157" name="Rectangle 156"/>
          <p:cNvSpPr/>
          <p:nvPr>
            <p:custDataLst>
              <p:tags r:id="rId10"/>
            </p:custDataLst>
          </p:nvPr>
        </p:nvSpPr>
        <p:spPr>
          <a:xfrm>
            <a:off x="855783" y="2396584"/>
            <a:ext cx="859632" cy="226606"/>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rgbClr val="000000"/>
              </a:solidFill>
            </a:endParaRPr>
          </a:p>
        </p:txBody>
      </p:sp>
      <p:sp>
        <p:nvSpPr>
          <p:cNvPr id="171" name="Oval 170"/>
          <p:cNvSpPr/>
          <p:nvPr>
            <p:custDataLst>
              <p:tags r:id="rId11"/>
            </p:custDataLst>
          </p:nvPr>
        </p:nvSpPr>
        <p:spPr>
          <a:xfrm>
            <a:off x="10262289" y="3751553"/>
            <a:ext cx="562428" cy="56242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IN" sz="2800" b="1" dirty="0">
              <a:solidFill>
                <a:srgbClr val="646464"/>
              </a:solidFill>
            </a:endParaRPr>
          </a:p>
        </p:txBody>
      </p:sp>
      <p:sp>
        <p:nvSpPr>
          <p:cNvPr id="172" name="Rectangle 25" descr="© INSCALE GmbH, 26.05.2010&#10;http://www.presentationload.com/"/>
          <p:cNvSpPr>
            <a:spLocks noChangeArrowheads="1"/>
          </p:cNvSpPr>
          <p:nvPr>
            <p:custDataLst>
              <p:tags r:id="rId12"/>
            </p:custDataLst>
          </p:nvPr>
        </p:nvSpPr>
        <p:spPr bwMode="gray">
          <a:xfrm flipH="1">
            <a:off x="2407112" y="2194165"/>
            <a:ext cx="3506065" cy="1692771"/>
          </a:xfrm>
          <a:prstGeom prst="rect">
            <a:avLst/>
          </a:prstGeom>
          <a:noFill/>
          <a:ln w="9525">
            <a:noFill/>
            <a:miter lim="800000"/>
            <a:headEnd/>
            <a:tailEnd/>
          </a:ln>
          <a:effectLst/>
        </p:spPr>
        <p:txBody>
          <a:bodyPr wrap="square" lIns="0" tIns="0" rIns="0" bIns="0" anchor="t" anchorCtr="0">
            <a:spAutoFit/>
          </a:bodyPr>
          <a:lstStyle/>
          <a:p>
            <a:pPr defTabSz="1474905">
              <a:defRPr/>
            </a:pPr>
            <a:r>
              <a:rPr lang="fr-CA" sz="1000" b="1" noProof="1">
                <a:solidFill>
                  <a:srgbClr val="646464"/>
                </a:solidFill>
                <a:latin typeface="EYInterstate Light" panose="02000506000000020004" pitchFamily="2" charset="0"/>
              </a:rPr>
              <a:t>Concilier le travail et ma vie personnelle</a:t>
            </a:r>
          </a:p>
          <a:p>
            <a:pPr defTabSz="1474905">
              <a:defRPr/>
            </a:pPr>
            <a:r>
              <a:rPr lang="fr-CA" sz="1000" noProof="1">
                <a:solidFill>
                  <a:srgbClr val="646464"/>
                </a:solidFill>
                <a:latin typeface="EYInterstate Light" panose="02000506000000020004" pitchFamily="2" charset="0"/>
              </a:rPr>
              <a:t>Mes semaines sont toujours différentes et mes horaires varient beaucoup. Il est important que mon gestionnaire reçoive mes préférences et les modifications prévues rapidement afin qu’il puisse effectuer une planification des ressources de manière précise. Cela me permet également de planifier mes engagements familiaux.</a:t>
            </a:r>
          </a:p>
          <a:p>
            <a:pPr defTabSz="1474905">
              <a:defRPr/>
            </a:pPr>
            <a:r>
              <a:rPr lang="fr-CA" sz="1000" noProof="1">
                <a:solidFill>
                  <a:srgbClr val="646464"/>
                </a:solidFill>
                <a:latin typeface="EYInterstate Light" panose="02000506000000020004" pitchFamily="2" charset="0"/>
              </a:rPr>
              <a:t>En octobre prochain, je vais partir pour mon deuxième congé de paternité et cette fois, j’aimerais rester plus connecté au travail, surtout si je dois changer mes horaires ou mes renseignements personnels dans mon profil.</a:t>
            </a:r>
          </a:p>
        </p:txBody>
      </p:sp>
      <p:sp>
        <p:nvSpPr>
          <p:cNvPr id="173" name="Rectangle 25" descr="© INSCALE GmbH, 26.05.2010&#10;http://www.presentationload.com/"/>
          <p:cNvSpPr>
            <a:spLocks noChangeArrowheads="1"/>
          </p:cNvSpPr>
          <p:nvPr>
            <p:custDataLst>
              <p:tags r:id="rId13"/>
            </p:custDataLst>
          </p:nvPr>
        </p:nvSpPr>
        <p:spPr bwMode="gray">
          <a:xfrm flipH="1">
            <a:off x="4761872" y="4354994"/>
            <a:ext cx="3728191" cy="2154436"/>
          </a:xfrm>
          <a:prstGeom prst="rect">
            <a:avLst/>
          </a:prstGeom>
          <a:noFill/>
          <a:ln w="9525">
            <a:noFill/>
            <a:miter lim="800000"/>
            <a:headEnd/>
            <a:tailEnd/>
          </a:ln>
          <a:effectLst/>
        </p:spPr>
        <p:txBody>
          <a:bodyPr wrap="square" lIns="0" tIns="0" rIns="0" bIns="0" anchor="t" anchorCtr="0">
            <a:spAutoFit/>
          </a:bodyPr>
          <a:lstStyle/>
          <a:p>
            <a:pPr defTabSz="1474905">
              <a:defRPr/>
            </a:pPr>
            <a:r>
              <a:rPr lang="fr-CA" sz="1000" b="1" noProof="1">
                <a:solidFill>
                  <a:srgbClr val="646464"/>
                </a:solidFill>
                <a:latin typeface="EYInterstate Light" panose="02000506000000020004" pitchFamily="2" charset="0"/>
              </a:rPr>
              <a:t>Mes jours de travail et la rémunération</a:t>
            </a:r>
          </a:p>
          <a:p>
            <a:pPr defTabSz="1474905">
              <a:defRPr/>
            </a:pPr>
            <a:r>
              <a:rPr lang="fr-CA" sz="1000" noProof="1">
                <a:solidFill>
                  <a:srgbClr val="646464"/>
                </a:solidFill>
                <a:latin typeface="EYInterstate Light" panose="02000506000000020004" pitchFamily="2" charset="0"/>
              </a:rPr>
              <a:t>Je tiens à être payé avec exactitude et je n’ai pas le temps de gérer des processus administratifs. Nous avons beaucoup de changements ad hoc de quarts de travail en fonction des besoins des clients, donc ces changements et les versements d’indemnité doivent être à jour. Je dois également pouvoir reconnaître ces mises à jour pour être en mesure de faire confiance au système de paie.</a:t>
            </a:r>
          </a:p>
          <a:p>
            <a:pPr defTabSz="1474905">
              <a:defRPr/>
            </a:pPr>
            <a:r>
              <a:rPr lang="fr-CA" sz="1000" noProof="1">
                <a:solidFill>
                  <a:srgbClr val="646464"/>
                </a:solidFill>
                <a:latin typeface="EYInterstate Light" panose="02000506000000020004" pitchFamily="2" charset="0"/>
              </a:rPr>
              <a:t>Les changements et congés imprévus doivent être saisis plus efficacement de même que les mises à jours des heures de travail et des horaires et les personnes responsables des approbations doivent recevoir des avis centralisés, c’est-à-dire en une seule étape.</a:t>
            </a:r>
          </a:p>
          <a:p>
            <a:pPr defTabSz="1474905">
              <a:defRPr/>
            </a:pPr>
            <a:r>
              <a:rPr lang="fr-CA" sz="1000" noProof="1">
                <a:solidFill>
                  <a:srgbClr val="646464"/>
                </a:solidFill>
                <a:latin typeface="EYInterstate Light" panose="02000506000000020004" pitchFamily="2" charset="0"/>
              </a:rPr>
              <a:t>Plus important encore, toutes les modifications à mon horaire ou à mon poste (affectation) doivent être saisies avec exactitude et en temps opportun sur la paie.</a:t>
            </a:r>
          </a:p>
        </p:txBody>
      </p:sp>
      <p:sp>
        <p:nvSpPr>
          <p:cNvPr id="174" name="Rectangle 25" descr="© INSCALE GmbH, 26.05.2010&#10;http://www.presentationload.com/"/>
          <p:cNvSpPr>
            <a:spLocks noChangeArrowheads="1"/>
          </p:cNvSpPr>
          <p:nvPr>
            <p:custDataLst>
              <p:tags r:id="rId14"/>
            </p:custDataLst>
          </p:nvPr>
        </p:nvSpPr>
        <p:spPr bwMode="gray">
          <a:xfrm flipH="1">
            <a:off x="6443872" y="2257516"/>
            <a:ext cx="4471981" cy="1538883"/>
          </a:xfrm>
          <a:prstGeom prst="rect">
            <a:avLst/>
          </a:prstGeom>
          <a:noFill/>
          <a:ln w="9525">
            <a:noFill/>
            <a:miter lim="800000"/>
            <a:headEnd/>
            <a:tailEnd/>
          </a:ln>
          <a:effectLst/>
        </p:spPr>
        <p:txBody>
          <a:bodyPr wrap="square" lIns="0" tIns="0" rIns="0" bIns="0" anchor="t" anchorCtr="0">
            <a:spAutoFit/>
          </a:bodyPr>
          <a:lstStyle/>
          <a:p>
            <a:pPr defTabSz="1474905">
              <a:defRPr/>
            </a:pPr>
            <a:r>
              <a:rPr lang="fr-CA" sz="1000" b="1" noProof="1">
                <a:solidFill>
                  <a:srgbClr val="646464"/>
                </a:solidFill>
                <a:latin typeface="EYInterstate Light" panose="02000506000000020004" pitchFamily="2" charset="0"/>
              </a:rPr>
              <a:t>Mon perfectionnement professionnel</a:t>
            </a:r>
          </a:p>
          <a:p>
            <a:pPr defTabSz="1474905">
              <a:defRPr/>
            </a:pPr>
            <a:r>
              <a:rPr lang="fr-CA" sz="1000" noProof="1">
                <a:solidFill>
                  <a:srgbClr val="646464"/>
                </a:solidFill>
                <a:latin typeface="EYInterstate Light" panose="02000506000000020004" pitchFamily="2" charset="0"/>
              </a:rPr>
              <a:t>Dans le travail que je fais, je ne suis pas très lié à l’organisation dans son ensemble, ainsi il est difficile de trouver des possibilités d’avancement de carrière au-delà du poste de gestionnaire. J’aime travailler pour le gouvernement, donc je ne souhaite pas chercher ailleurs, toutefois il est difficile d’envisager l’avenir étant donné que je ne reçois pas de renseignements sur les voies de cheminement pour progresser. Les rétroactions et les réalisations sont généralement mentionnées verbalement ou sur papier, ainsi il est difficile de les réunir pour mes évaluations et mes plans de carrière. Trouver une formation adéquate et y participer représente un défi, et je ne suis pas en mesure de prendre des jours de congé lorsque les clients ont besoin de moi.</a:t>
            </a:r>
          </a:p>
        </p:txBody>
      </p:sp>
      <p:sp>
        <p:nvSpPr>
          <p:cNvPr id="175" name="Rectangle 25" descr="© INSCALE GmbH, 26.05.2010&#10;http://www.presentationload.com/"/>
          <p:cNvSpPr>
            <a:spLocks noChangeArrowheads="1"/>
          </p:cNvSpPr>
          <p:nvPr>
            <p:custDataLst>
              <p:tags r:id="rId15"/>
            </p:custDataLst>
          </p:nvPr>
        </p:nvSpPr>
        <p:spPr bwMode="gray">
          <a:xfrm flipH="1">
            <a:off x="8950245" y="4559418"/>
            <a:ext cx="2671913" cy="1446550"/>
          </a:xfrm>
          <a:prstGeom prst="rect">
            <a:avLst/>
          </a:prstGeom>
          <a:noFill/>
          <a:ln w="9525">
            <a:noFill/>
            <a:miter lim="800000"/>
            <a:headEnd/>
            <a:tailEnd/>
          </a:ln>
          <a:effectLst/>
        </p:spPr>
        <p:txBody>
          <a:bodyPr wrap="square" lIns="0" tIns="0" rIns="0" bIns="0" anchor="t" anchorCtr="0">
            <a:spAutoFit/>
          </a:bodyPr>
          <a:lstStyle/>
          <a:p>
            <a:pPr defTabSz="1474905">
              <a:defRPr/>
            </a:pPr>
            <a:r>
              <a:rPr lang="fr-CA" sz="1000" b="1" noProof="1">
                <a:solidFill>
                  <a:srgbClr val="646464"/>
                </a:solidFill>
                <a:latin typeface="EYInterstate Light" panose="02000506000000020004" pitchFamily="2" charset="0"/>
              </a:rPr>
              <a:t>Effectuer un changement</a:t>
            </a:r>
          </a:p>
          <a:p>
            <a:pPr defTabSz="1474905">
              <a:defRPr/>
            </a:pPr>
            <a:r>
              <a:rPr lang="fr-CA" sz="1000" noProof="1">
                <a:solidFill>
                  <a:srgbClr val="646464"/>
                </a:solidFill>
                <a:latin typeface="EYInterstate Light" panose="02000506000000020004" pitchFamily="2" charset="0"/>
              </a:rPr>
              <a:t>Lorsque je quitterai mon poste, je quitterai également une équipe de travail et des clients qui comptent sur moi. Si vous comptez sur moi pour gérer le transfert avant mon départ,</a:t>
            </a:r>
            <a:r>
              <a:rPr lang="fr-CA" sz="1050" noProof="1">
                <a:solidFill>
                  <a:srgbClr val="646464"/>
                </a:solidFill>
              </a:rPr>
              <a:t> </a:t>
            </a:r>
            <a:r>
              <a:rPr lang="fr-CA" sz="1000" noProof="1">
                <a:solidFill>
                  <a:srgbClr val="646464"/>
                </a:solidFill>
                <a:latin typeface="EYInterstate Light" panose="02000506000000020004" pitchFamily="2" charset="0"/>
              </a:rPr>
              <a:t>les processus de départ doivent être simples et utiles pour moi. Je serai ravi de donner une rétroaction à l’aide des mécanismes appropriés, mais vous devez en tenir compte. </a:t>
            </a:r>
          </a:p>
        </p:txBody>
      </p:sp>
      <p:sp>
        <p:nvSpPr>
          <p:cNvPr id="3" name="Isosceles Triangle 2"/>
          <p:cNvSpPr/>
          <p:nvPr>
            <p:custDataLst>
              <p:tags r:id="rId16"/>
            </p:custDataLst>
          </p:nvPr>
        </p:nvSpPr>
        <p:spPr>
          <a:xfrm rot="257024">
            <a:off x="5986823" y="4144"/>
            <a:ext cx="4178573" cy="645014"/>
          </a:xfrm>
          <a:prstGeom prs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 name="Rectangle 4"/>
          <p:cNvSpPr/>
          <p:nvPr>
            <p:custDataLst>
              <p:tags r:id="rId17"/>
            </p:custDataLst>
          </p:nvPr>
        </p:nvSpPr>
        <p:spPr>
          <a:xfrm>
            <a:off x="9042400" y="254000"/>
            <a:ext cx="1219889" cy="457200"/>
          </a:xfrm>
          <a:prstGeom prst="rect">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pic>
        <p:nvPicPr>
          <p:cNvPr id="33" name="Picture 32"/>
          <p:cNvPicPr>
            <a:picLocks noChangeAspect="1"/>
          </p:cNvPicPr>
          <p:nvPr>
            <p:custDataLst>
              <p:tags r:id="rId18"/>
            </p:custDataLst>
          </p:nvPr>
        </p:nvPicPr>
        <p:blipFill>
          <a:blip r:embed="rId21" cstate="email">
            <a:extLst>
              <a:ext uri="{28A0092B-C50C-407E-A947-70E740481C1C}">
                <a14:useLocalDpi xmlns:a14="http://schemas.microsoft.com/office/drawing/2010/main"/>
              </a:ext>
            </a:extLst>
          </a:blip>
          <a:stretch>
            <a:fillRect/>
          </a:stretch>
        </p:blipFill>
        <p:spPr>
          <a:xfrm>
            <a:off x="167324" y="34500"/>
            <a:ext cx="2161149" cy="2159665"/>
          </a:xfrm>
          <a:prstGeom prst="rect">
            <a:avLst/>
          </a:prstGeom>
        </p:spPr>
      </p:pic>
      <p:pic>
        <p:nvPicPr>
          <p:cNvPr id="34" name="Picture 33"/>
          <p:cNvPicPr>
            <a:picLocks/>
          </p:cNvPicPr>
          <p:nvPr>
            <p:custDataLst>
              <p:tags r:id="rId19"/>
            </p:custDataLst>
          </p:nvPr>
        </p:nvPicPr>
        <p:blipFill rotWithShape="1">
          <a:blip r:embed="rId22" cstate="email">
            <a:extLst>
              <a:ext uri="{BEBA8EAE-BF5A-486C-A8C5-ECC9F3942E4B}">
                <a14:imgProps xmlns:a14="http://schemas.microsoft.com/office/drawing/2010/main">
                  <a14:imgLayer r:embed="rId23">
                    <a14:imgEffect>
                      <a14:backgroundRemoval t="0" b="98684" l="0" r="100000"/>
                    </a14:imgEffect>
                  </a14:imgLayer>
                </a14:imgProps>
              </a:ext>
              <a:ext uri="{28A0092B-C50C-407E-A947-70E740481C1C}">
                <a14:useLocalDpi xmlns:a14="http://schemas.microsoft.com/office/drawing/2010/main"/>
              </a:ext>
            </a:extLst>
          </a:blip>
          <a:srcRect/>
          <a:stretch/>
        </p:blipFill>
        <p:spPr>
          <a:xfrm>
            <a:off x="864302" y="89362"/>
            <a:ext cx="767191" cy="1243675"/>
          </a:xfrm>
          <a:prstGeom prst="rect">
            <a:avLst/>
          </a:prstGeom>
          <a:ln>
            <a:noFill/>
          </a:ln>
        </p:spPr>
      </p:pic>
    </p:spTree>
    <p:extLst>
      <p:ext uri="{BB962C8B-B14F-4D97-AF65-F5344CB8AC3E}">
        <p14:creationId xmlns:p14="http://schemas.microsoft.com/office/powerpoint/2010/main" val="654328160"/>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custDataLst>
              <p:tags r:id="rId1"/>
            </p:custDataLst>
          </p:nvPr>
        </p:nvSpPr>
        <p:spPr>
          <a:xfrm>
            <a:off x="500706" y="511899"/>
            <a:ext cx="8017370"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Activité 1</a:t>
            </a:r>
          </a:p>
        </p:txBody>
      </p:sp>
      <p:sp>
        <p:nvSpPr>
          <p:cNvPr id="80" name="TextBox 79"/>
          <p:cNvSpPr txBox="1"/>
          <p:nvPr>
            <p:custDataLst>
              <p:tags r:id="rId2"/>
            </p:custDataLst>
          </p:nvPr>
        </p:nvSpPr>
        <p:spPr>
          <a:xfrm>
            <a:off x="500706" y="1137094"/>
            <a:ext cx="10067338" cy="1200329"/>
          </a:xfrm>
          <a:prstGeom prst="rect">
            <a:avLst/>
          </a:prstGeom>
          <a:noFill/>
        </p:spPr>
        <p:txBody>
          <a:bodyPr wrap="square" lIns="0" tIns="0" rIns="0" bIns="0" rtlCol="0" anchor="t" anchorCtr="0">
            <a:spAutoFit/>
          </a:bodyPr>
          <a:lstStyle/>
          <a:p>
            <a:r>
              <a:rPr lang="fr-CA" sz="1300" b="1" dirty="0">
                <a:solidFill>
                  <a:srgbClr val="4B4B4B"/>
                </a:solidFill>
                <a:latin typeface="EYInterstate Light" panose="02000506000000020004" pitchFamily="2" charset="0"/>
              </a:rPr>
              <a:t>Objectif : </a:t>
            </a:r>
            <a:r>
              <a:rPr lang="fr-CA" sz="1300" dirty="0">
                <a:solidFill>
                  <a:srgbClr val="4B4B4B"/>
                </a:solidFill>
                <a:latin typeface="EYInterstate Light" panose="02000506000000020004" pitchFamily="2" charset="0"/>
              </a:rPr>
              <a:t>cibler les principaux domaines de possibilités, les moments qui comptent, et les outils technologiques habilitants dans le processus de recrutement et d’embauche relativement à la persona désignée.  </a:t>
            </a:r>
          </a:p>
          <a:p>
            <a:endParaRPr lang="en-CA" sz="1300" dirty="0">
              <a:solidFill>
                <a:srgbClr val="969696"/>
              </a:solidFill>
              <a:latin typeface="EYInterstate Light" panose="02000506000000020004" pitchFamily="2" charset="0"/>
            </a:endParaRPr>
          </a:p>
          <a:p>
            <a:r>
              <a:rPr lang="fr-CA" sz="1300" b="1" dirty="0">
                <a:solidFill>
                  <a:srgbClr val="4B4B4B"/>
                </a:solidFill>
                <a:latin typeface="EYInterstate Light" panose="02000506000000020004" pitchFamily="2" charset="0"/>
              </a:rPr>
              <a:t>Directives</a:t>
            </a:r>
            <a:r>
              <a:rPr lang="fr-CA" sz="1300" dirty="0">
                <a:solidFill>
                  <a:srgbClr val="4B4B4B"/>
                </a:solidFill>
                <a:latin typeface="EYInterstate Light" panose="02000506000000020004" pitchFamily="2" charset="0"/>
              </a:rPr>
              <a:t> : rassemblez-vous en groupes de 3 personnes autour de l’affiche de la persona dans la salle. À l’aide de l’histoire de Chris, concentrez-vous sur votre persona et saisissez les principaux domaines de possibilités, les moments qui comptent, et les outils technologiques habilitants dans le processus de recrutement et d’embauche. Utilisez les notes autocollantes fournies pour inscrire vos réponses sur les affiches. </a:t>
            </a:r>
          </a:p>
        </p:txBody>
      </p:sp>
      <p:pic>
        <p:nvPicPr>
          <p:cNvPr id="2" name="Picture 1"/>
          <p:cNvPicPr>
            <a:picLocks noChangeAspect="1"/>
          </p:cNvPicPr>
          <p:nvPr>
            <p:custDataLst>
              <p:tags r:id="rId3"/>
            </p:custDataLst>
          </p:nvPr>
        </p:nvPicPr>
        <p:blipFill>
          <a:blip r:embed="rId10" cstate="email">
            <a:extLst>
              <a:ext uri="{28A0092B-C50C-407E-A947-70E740481C1C}">
                <a14:useLocalDpi xmlns:a14="http://schemas.microsoft.com/office/drawing/2010/main"/>
              </a:ext>
            </a:extLst>
          </a:blip>
          <a:stretch>
            <a:fillRect/>
          </a:stretch>
        </p:blipFill>
        <p:spPr>
          <a:xfrm>
            <a:off x="284126" y="2758408"/>
            <a:ext cx="7888142" cy="2696283"/>
          </a:xfrm>
          <a:prstGeom prst="rect">
            <a:avLst/>
          </a:prstGeom>
        </p:spPr>
      </p:pic>
      <p:grpSp>
        <p:nvGrpSpPr>
          <p:cNvPr id="289" name="Group 288"/>
          <p:cNvGrpSpPr/>
          <p:nvPr>
            <p:custDataLst>
              <p:tags r:id="rId4"/>
            </p:custDataLst>
          </p:nvPr>
        </p:nvGrpSpPr>
        <p:grpSpPr>
          <a:xfrm>
            <a:off x="8353677" y="2758408"/>
            <a:ext cx="3757043" cy="3576670"/>
            <a:chOff x="5059599" y="1763990"/>
            <a:chExt cx="5815929" cy="5102005"/>
          </a:xfrm>
        </p:grpSpPr>
        <p:pic>
          <p:nvPicPr>
            <p:cNvPr id="290" name="Picture 289"/>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5455660" y="1763990"/>
              <a:ext cx="822420" cy="1079497"/>
            </a:xfrm>
            <a:prstGeom prst="rect">
              <a:avLst/>
            </a:prstGeom>
            <a:ln>
              <a:noFill/>
            </a:ln>
          </p:spPr>
        </p:pic>
        <p:pic>
          <p:nvPicPr>
            <p:cNvPr id="291" name="Picture 290"/>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523344" y="4776371"/>
              <a:ext cx="754737" cy="1080000"/>
            </a:xfrm>
            <a:prstGeom prst="rect">
              <a:avLst/>
            </a:prstGeom>
            <a:ln>
              <a:noFill/>
            </a:ln>
          </p:spPr>
        </p:pic>
        <p:sp>
          <p:nvSpPr>
            <p:cNvPr id="292" name="TextBox 291"/>
            <p:cNvSpPr txBox="1"/>
            <p:nvPr/>
          </p:nvSpPr>
          <p:spPr>
            <a:xfrm>
              <a:off x="5059599" y="2843487"/>
              <a:ext cx="1614540" cy="526840"/>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Gestionnaire du personnel</a:t>
              </a:r>
            </a:p>
          </p:txBody>
        </p:sp>
        <p:pic>
          <p:nvPicPr>
            <p:cNvPr id="294" name="Picture 293"/>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9655653" y="4790151"/>
              <a:ext cx="760043" cy="1066220"/>
            </a:xfrm>
            <a:prstGeom prst="rect">
              <a:avLst/>
            </a:prstGeom>
            <a:ln>
              <a:noFill/>
            </a:ln>
          </p:spPr>
        </p:pic>
        <p:sp>
          <p:nvSpPr>
            <p:cNvPr id="295" name="TextBox 294"/>
            <p:cNvSpPr txBox="1"/>
            <p:nvPr/>
          </p:nvSpPr>
          <p:spPr>
            <a:xfrm>
              <a:off x="9354207" y="6075735"/>
              <a:ext cx="1521321" cy="790260"/>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Conseiller en rémunération et à la paie</a:t>
              </a:r>
            </a:p>
          </p:txBody>
        </p:sp>
        <p:pic>
          <p:nvPicPr>
            <p:cNvPr id="296" name="Picture 29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711408" y="2490861"/>
              <a:ext cx="2642799" cy="2640985"/>
            </a:xfrm>
            <a:prstGeom prst="rect">
              <a:avLst/>
            </a:prstGeom>
          </p:spPr>
        </p:pic>
      </p:grpSp>
      <p:sp>
        <p:nvSpPr>
          <p:cNvPr id="299" name="TextBox 298"/>
          <p:cNvSpPr txBox="1"/>
          <p:nvPr>
            <p:custDataLst>
              <p:tags r:id="rId5"/>
            </p:custDataLst>
          </p:nvPr>
        </p:nvSpPr>
        <p:spPr>
          <a:xfrm>
            <a:off x="11127959" y="3528559"/>
            <a:ext cx="982761" cy="369332"/>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Administrateur </a:t>
            </a:r>
          </a:p>
          <a:p>
            <a:pPr algn="ctr"/>
            <a:r>
              <a:rPr lang="fr-CA" sz="1200" b="1" dirty="0">
                <a:solidFill>
                  <a:srgbClr val="4B4B4B"/>
                </a:solidFill>
                <a:latin typeface="EYInterstate Light" panose="02000506000000020004" pitchFamily="2" charset="0"/>
              </a:rPr>
              <a:t>décentralisé</a:t>
            </a:r>
          </a:p>
        </p:txBody>
      </p:sp>
      <p:sp>
        <p:nvSpPr>
          <p:cNvPr id="301" name="TextBox 300"/>
          <p:cNvSpPr txBox="1"/>
          <p:nvPr>
            <p:custDataLst>
              <p:tags r:id="rId6"/>
            </p:custDataLst>
          </p:nvPr>
        </p:nvSpPr>
        <p:spPr>
          <a:xfrm>
            <a:off x="8480159" y="5774289"/>
            <a:ext cx="1717154" cy="184666"/>
          </a:xfrm>
          <a:prstGeom prst="rect">
            <a:avLst/>
          </a:prstGeom>
          <a:noFill/>
        </p:spPr>
        <p:txBody>
          <a:bodyPr wrap="square" lIns="0" tIns="0" rIns="0" bIns="0" rtlCol="0" anchor="t" anchorCtr="0">
            <a:spAutoFit/>
          </a:bodyPr>
          <a:lstStyle/>
          <a:p>
            <a:r>
              <a:rPr lang="fr-CA" sz="1200" b="1" dirty="0">
                <a:solidFill>
                  <a:srgbClr val="4B4B4B"/>
                </a:solidFill>
                <a:latin typeface="EYInterstate Light" panose="02000506000000020004" pitchFamily="2" charset="0"/>
              </a:rPr>
              <a:t>Spécialiste des ressources humaines </a:t>
            </a:r>
          </a:p>
        </p:txBody>
      </p:sp>
      <p:pic>
        <p:nvPicPr>
          <p:cNvPr id="16" name="Picture 15"/>
          <p:cNvPicPr>
            <a:picLocks/>
          </p:cNvPicPr>
          <p:nvPr>
            <p:custDataLst>
              <p:tags r:id="rId7"/>
            </p:custDataLst>
          </p:nvPr>
        </p:nvPicPr>
        <p:blipFill rotWithShape="1">
          <a:blip r:embed="rId15" cstate="email">
            <a:extLst>
              <a:ext uri="{28A0092B-C50C-407E-A947-70E740481C1C}">
                <a14:useLocalDpi xmlns:a14="http://schemas.microsoft.com/office/drawing/2010/main"/>
              </a:ext>
            </a:extLst>
          </a:blip>
          <a:srcRect/>
          <a:stretch/>
        </p:blipFill>
        <p:spPr>
          <a:xfrm>
            <a:off x="11152034" y="2735664"/>
            <a:ext cx="570190" cy="779506"/>
          </a:xfrm>
          <a:prstGeom prst="rect">
            <a:avLst/>
          </a:prstGeom>
          <a:noFill/>
          <a:ln>
            <a:noFill/>
          </a:ln>
        </p:spPr>
      </p:pic>
      <p:pic>
        <p:nvPicPr>
          <p:cNvPr id="17" name="Picture 16"/>
          <p:cNvPicPr>
            <a:picLocks/>
          </p:cNvPicPr>
          <p:nvPr>
            <p:custDataLst>
              <p:tags r:id="rId8"/>
            </p:custDataLst>
          </p:nvPr>
        </p:nvPicPr>
        <p:blipFill rotWithShape="1">
          <a:blip r:embed="rId16" cstate="email">
            <a:extLst>
              <a:ext uri="{BEBA8EAE-BF5A-486C-A8C5-ECC9F3942E4B}">
                <a14:imgProps xmlns:a14="http://schemas.microsoft.com/office/drawing/2010/main">
                  <a14:imgLayer r:embed="rId17">
                    <a14:imgEffect>
                      <a14:backgroundRemoval t="0" b="98684" l="0" r="100000"/>
                    </a14:imgEffect>
                  </a14:imgLayer>
                </a14:imgProps>
              </a:ext>
              <a:ext uri="{28A0092B-C50C-407E-A947-70E740481C1C}">
                <a14:useLocalDpi xmlns:a14="http://schemas.microsoft.com/office/drawing/2010/main"/>
              </a:ext>
            </a:extLst>
          </a:blip>
          <a:srcRect/>
          <a:stretch/>
        </p:blipFill>
        <p:spPr>
          <a:xfrm>
            <a:off x="9990285" y="3415707"/>
            <a:ext cx="577759" cy="937589"/>
          </a:xfrm>
          <a:prstGeom prst="rect">
            <a:avLst/>
          </a:prstGeom>
          <a:ln>
            <a:noFill/>
          </a:ln>
        </p:spPr>
      </p:pic>
    </p:spTree>
    <p:extLst>
      <p:ext uri="{BB962C8B-B14F-4D97-AF65-F5344CB8AC3E}">
        <p14:creationId xmlns:p14="http://schemas.microsoft.com/office/powerpoint/2010/main" val="2980973305"/>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custDataLst>
              <p:tags r:id="rId1"/>
            </p:custDataLst>
          </p:nvPr>
        </p:nvSpPr>
        <p:spPr>
          <a:xfrm>
            <a:off x="301322" y="634534"/>
            <a:ext cx="8017370" cy="800219"/>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Spécialiste des ressources humaines : </a:t>
            </a:r>
            <a:r>
              <a:rPr lang="fr-CA" sz="2600" i="1" dirty="0">
                <a:solidFill>
                  <a:srgbClr val="4B4B4B"/>
                </a:solidFill>
                <a:latin typeface="EYInterstate Light" panose="02000506000000020004" pitchFamily="2" charset="0"/>
              </a:rPr>
              <a:t>recrutement et embauche</a:t>
            </a:r>
          </a:p>
        </p:txBody>
      </p:sp>
      <p:sp>
        <p:nvSpPr>
          <p:cNvPr id="230" name="Text Placeholder 5"/>
          <p:cNvSpPr txBox="1">
            <a:spLocks/>
          </p:cNvSpPr>
          <p:nvPr>
            <p:custDataLst>
              <p:tags r:id="rId2"/>
            </p:custDataLst>
          </p:nvPr>
        </p:nvSpPr>
        <p:spPr>
          <a:xfrm rot="5400000">
            <a:off x="5135133" y="1701216"/>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Domaines de possibilités</a:t>
            </a:r>
          </a:p>
        </p:txBody>
      </p:sp>
      <p:sp>
        <p:nvSpPr>
          <p:cNvPr id="232" name="Text Placeholder 5"/>
          <p:cNvSpPr txBox="1">
            <a:spLocks/>
          </p:cNvSpPr>
          <p:nvPr>
            <p:custDataLst>
              <p:tags r:id="rId3"/>
            </p:custDataLst>
          </p:nvPr>
        </p:nvSpPr>
        <p:spPr>
          <a:xfrm rot="5400000">
            <a:off x="5135133" y="2693211"/>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Moments</a:t>
            </a:r>
            <a:br>
              <a:rPr lang="fr-CA" sz="1050" b="1" dirty="0">
                <a:solidFill>
                  <a:srgbClr val="000000"/>
                </a:solidFill>
                <a:latin typeface="EYInterstate Light" panose="02000506000000020004" pitchFamily="2" charset="0"/>
              </a:rPr>
            </a:br>
            <a:r>
              <a:rPr lang="fr-CA" sz="1050" b="1" dirty="0">
                <a:solidFill>
                  <a:srgbClr val="000000"/>
                </a:solidFill>
                <a:latin typeface="EYInterstate Light" panose="02000506000000020004" pitchFamily="2" charset="0"/>
              </a:rPr>
              <a:t>qui comptent</a:t>
            </a:r>
          </a:p>
        </p:txBody>
      </p:sp>
      <p:sp>
        <p:nvSpPr>
          <p:cNvPr id="233" name="Text Placeholder 5"/>
          <p:cNvSpPr txBox="1">
            <a:spLocks/>
          </p:cNvSpPr>
          <p:nvPr>
            <p:custDataLst>
              <p:tags r:id="rId4"/>
            </p:custDataLst>
          </p:nvPr>
        </p:nvSpPr>
        <p:spPr>
          <a:xfrm rot="5400000">
            <a:off x="5050494" y="4087993"/>
            <a:ext cx="1214070" cy="26161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Outils habilitants</a:t>
            </a:r>
          </a:p>
        </p:txBody>
      </p:sp>
      <p:sp>
        <p:nvSpPr>
          <p:cNvPr id="222" name="TextBox 221"/>
          <p:cNvSpPr txBox="1"/>
          <p:nvPr>
            <p:custDataLst>
              <p:tags r:id="rId5"/>
            </p:custDataLst>
          </p:nvPr>
        </p:nvSpPr>
        <p:spPr>
          <a:xfrm>
            <a:off x="2552700" y="2254913"/>
            <a:ext cx="434126" cy="510861"/>
          </a:xfrm>
          <a:prstGeom prst="rect">
            <a:avLst/>
          </a:prstGeom>
          <a:noFill/>
        </p:spPr>
        <p:txBody>
          <a:bodyPr wrap="square" tIns="324000" bIns="0" rtlCol="0" anchor="ctr">
            <a:noAutofit/>
          </a:bodyPr>
          <a:lstStyle/>
          <a:p>
            <a:r>
              <a:rPr lang="fr-CA" sz="6000" dirty="0">
                <a:solidFill>
                  <a:srgbClr val="E60F2D"/>
                </a:solidFill>
                <a:latin typeface="EYInterstate Light" panose="02000506000000020004" pitchFamily="2" charset="0"/>
              </a:rPr>
              <a:t>«</a:t>
            </a:r>
          </a:p>
        </p:txBody>
      </p:sp>
      <p:sp>
        <p:nvSpPr>
          <p:cNvPr id="223" name="TextBox 222"/>
          <p:cNvSpPr txBox="1"/>
          <p:nvPr>
            <p:custDataLst>
              <p:tags r:id="rId6"/>
            </p:custDataLst>
          </p:nvPr>
        </p:nvSpPr>
        <p:spPr>
          <a:xfrm>
            <a:off x="2611478" y="2648285"/>
            <a:ext cx="2734245" cy="886205"/>
          </a:xfrm>
          <a:prstGeom prst="rect">
            <a:avLst/>
          </a:prstGeom>
          <a:noFill/>
        </p:spPr>
        <p:txBody>
          <a:bodyPr wrap="square" lIns="108000" rIns="108000" rtlCol="0" anchor="t">
            <a:spAutoFit/>
          </a:bodyPr>
          <a:lstStyle/>
          <a:p>
            <a:pPr algn="ctr">
              <a:lnSpc>
                <a:spcPct val="120000"/>
              </a:lnSpc>
            </a:pPr>
            <a:r>
              <a:rPr lang="fr-CA" sz="1100" b="1" dirty="0">
                <a:solidFill>
                  <a:srgbClr val="C0C0C0">
                    <a:lumMod val="10000"/>
                  </a:srgbClr>
                </a:solidFill>
              </a:rPr>
              <a:t> « </a:t>
            </a:r>
            <a:r>
              <a:rPr lang="fr-CA" sz="1100" b="1" dirty="0">
                <a:solidFill>
                  <a:srgbClr val="D0DCDF">
                    <a:lumMod val="10000"/>
                  </a:srgbClr>
                </a:solidFill>
                <a:ea typeface="ＭＳ Ｐゴシック" charset="0"/>
              </a:rPr>
              <a:t>Ma courte liste de candidats possédant les compétences et les qualifications clés nécessaires au poste. » </a:t>
            </a:r>
          </a:p>
        </p:txBody>
      </p:sp>
      <p:cxnSp>
        <p:nvCxnSpPr>
          <p:cNvPr id="224" name="Straight Connector 223"/>
          <p:cNvCxnSpPr/>
          <p:nvPr>
            <p:custDataLst>
              <p:tags r:id="rId7"/>
            </p:custDataLst>
          </p:nvPr>
        </p:nvCxnSpPr>
        <p:spPr>
          <a:xfrm>
            <a:off x="2983880" y="2503993"/>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239" name="Rectangle 238"/>
          <p:cNvSpPr/>
          <p:nvPr>
            <p:custDataLst>
              <p:tags r:id="rId8"/>
            </p:custDataLst>
          </p:nvPr>
        </p:nvSpPr>
        <p:spPr>
          <a:xfrm>
            <a:off x="2613874" y="3684576"/>
            <a:ext cx="2485644" cy="2439129"/>
          </a:xfrm>
          <a:prstGeom prst="rect">
            <a:avLst/>
          </a:prstGeom>
        </p:spPr>
        <p:txBody>
          <a:bodyPr wrap="square">
            <a:spAutoFit/>
          </a:bodyPr>
          <a:lstStyle/>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questionnaires sont intégrés au processus de demande pour faciliter la sélection préalable des candidat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Des descriptions d’emploi précises sont disponibles pour les candidat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gestionnaires d’embauche peuvent facilement cibler les compétences pertinentes des candidat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candidats qui ont été désignés comme étant des prospects sont inclus dans le processus de sélection préalable</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p:txBody>
      </p:sp>
      <p:cxnSp>
        <p:nvCxnSpPr>
          <p:cNvPr id="242" name="Straight Connector 241"/>
          <p:cNvCxnSpPr/>
          <p:nvPr>
            <p:custDataLst>
              <p:tags r:id="rId9"/>
            </p:custDataLst>
          </p:nvPr>
        </p:nvCxnSpPr>
        <p:spPr>
          <a:xfrm flipV="1">
            <a:off x="5382123"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46" name="Group 245"/>
          <p:cNvGrpSpPr/>
          <p:nvPr>
            <p:custDataLst>
              <p:tags r:id="rId10"/>
            </p:custDataLst>
          </p:nvPr>
        </p:nvGrpSpPr>
        <p:grpSpPr>
          <a:xfrm>
            <a:off x="2601451" y="1423731"/>
            <a:ext cx="2707551" cy="947952"/>
            <a:chOff x="2068836" y="1351686"/>
            <a:chExt cx="3120152" cy="947952"/>
          </a:xfrm>
        </p:grpSpPr>
        <p:sp>
          <p:nvSpPr>
            <p:cNvPr id="244" name="Rectangle 243"/>
            <p:cNvSpPr/>
            <p:nvPr/>
          </p:nvSpPr>
          <p:spPr>
            <a:xfrm>
              <a:off x="2068836" y="1351686"/>
              <a:ext cx="1485863" cy="947952"/>
            </a:xfrm>
            <a:prstGeom prst="rect">
              <a:avLst/>
            </a:prstGeom>
          </p:spPr>
          <p:txBody>
            <a:bodyPr wrap="square">
              <a:spAutoFit/>
            </a:bodyPr>
            <a:lstStyle/>
            <a:p>
              <a:pPr algn="ctr"/>
              <a:r>
                <a:rPr lang="fr-CA" sz="900" i="1" dirty="0">
                  <a:solidFill>
                    <a:srgbClr val="000000"/>
                  </a:solidFill>
                  <a:latin typeface="EYInterstate Light" panose="02000506000000020004" pitchFamily="2" charset="0"/>
                  <a:cs typeface="Arial" pitchFamily="34" charset="0"/>
                </a:rPr>
                <a:t>Les candidats ne sont pas toujours recommandés au comité d’embauche approprié.</a:t>
              </a:r>
            </a:p>
            <a:p>
              <a:pPr algn="ctr">
                <a:lnSpc>
                  <a:spcPct val="90000"/>
                </a:lnSpc>
                <a:spcBef>
                  <a:spcPts val="300"/>
                </a:spcBef>
                <a:buClr>
                  <a:srgbClr val="E60F2D"/>
                </a:buClr>
                <a:buSzPct val="60000"/>
                <a:defRPr/>
              </a:pPr>
              <a:endParaRPr lang="en-CA" sz="900" i="1" dirty="0">
                <a:solidFill>
                  <a:srgbClr val="000000"/>
                </a:solidFill>
                <a:latin typeface="EYInterstate Light" panose="02000506000000020004" pitchFamily="2" charset="0"/>
                <a:cs typeface="Arial" pitchFamily="34" charset="0"/>
              </a:endParaRPr>
            </a:p>
          </p:txBody>
        </p:sp>
        <p:sp>
          <p:nvSpPr>
            <p:cNvPr id="245" name="Rectangle 244"/>
            <p:cNvSpPr/>
            <p:nvPr/>
          </p:nvSpPr>
          <p:spPr>
            <a:xfrm>
              <a:off x="3600028" y="1351686"/>
              <a:ext cx="1588960" cy="754053"/>
            </a:xfrm>
            <a:prstGeom prst="rect">
              <a:avLst/>
            </a:prstGeom>
          </p:spPr>
          <p:txBody>
            <a:bodyPr wrap="square">
              <a:spAutoFit/>
            </a:bodyPr>
            <a:lstStyle/>
            <a:p>
              <a:pPr algn="ctr">
                <a:lnSpc>
                  <a:spcPct val="90000"/>
                </a:lnSpc>
                <a:spcBef>
                  <a:spcPts val="300"/>
                </a:spcBef>
                <a:buClr>
                  <a:srgbClr val="E60F2D"/>
                </a:buClr>
                <a:buSzPct val="60000"/>
                <a:defRPr/>
              </a:pPr>
              <a:r>
                <a:rPr lang="fr-CA" sz="900" i="1" dirty="0">
                  <a:solidFill>
                    <a:srgbClr val="000000"/>
                  </a:solidFill>
                  <a:latin typeface="EYInterstate Light" panose="02000506000000020004" pitchFamily="2" charset="0"/>
                  <a:cs typeface="Arial" pitchFamily="34" charset="0"/>
                </a:rPr>
                <a:t>Il est difficile de comparer les données des candidats dans un format de vue d’ensemble.</a:t>
              </a:r>
            </a:p>
            <a:p>
              <a:pPr algn="ctr">
                <a:lnSpc>
                  <a:spcPct val="90000"/>
                </a:lnSpc>
                <a:spcBef>
                  <a:spcPts val="300"/>
                </a:spcBef>
                <a:buClr>
                  <a:srgbClr val="E60F2D"/>
                </a:buClr>
                <a:buSzPct val="60000"/>
                <a:defRPr/>
              </a:pPr>
              <a:endParaRPr lang="en-CA" sz="900" i="1" dirty="0">
                <a:solidFill>
                  <a:srgbClr val="000000"/>
                </a:solidFill>
                <a:latin typeface="EYInterstate Light" panose="02000506000000020004" pitchFamily="2" charset="0"/>
                <a:cs typeface="Arial" pitchFamily="34" charset="0"/>
              </a:endParaRPr>
            </a:p>
          </p:txBody>
        </p:sp>
      </p:grpSp>
      <p:grpSp>
        <p:nvGrpSpPr>
          <p:cNvPr id="18" name="Group 17"/>
          <p:cNvGrpSpPr/>
          <p:nvPr>
            <p:custDataLst>
              <p:tags r:id="rId11"/>
            </p:custDataLst>
          </p:nvPr>
        </p:nvGrpSpPr>
        <p:grpSpPr>
          <a:xfrm>
            <a:off x="1838723" y="1304009"/>
            <a:ext cx="357986" cy="5100466"/>
            <a:chOff x="1230560" y="1304009"/>
            <a:chExt cx="357986" cy="5100466"/>
          </a:xfrm>
        </p:grpSpPr>
        <p:sp>
          <p:nvSpPr>
            <p:cNvPr id="95" name="Freeform 903"/>
            <p:cNvSpPr>
              <a:spLocks noEditPoints="1"/>
            </p:cNvSpPr>
            <p:nvPr/>
          </p:nvSpPr>
          <p:spPr bwMode="auto">
            <a:xfrm>
              <a:off x="1312486" y="1304009"/>
              <a:ext cx="276060" cy="2752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6" name="Freeform 904"/>
            <p:cNvSpPr>
              <a:spLocks noEditPoints="1"/>
            </p:cNvSpPr>
            <p:nvPr/>
          </p:nvSpPr>
          <p:spPr bwMode="auto">
            <a:xfrm>
              <a:off x="1364298" y="1364726"/>
              <a:ext cx="173246" cy="140054"/>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8" name="Freeform 764"/>
            <p:cNvSpPr>
              <a:spLocks noEditPoints="1"/>
            </p:cNvSpPr>
            <p:nvPr/>
          </p:nvSpPr>
          <p:spPr bwMode="auto">
            <a:xfrm>
              <a:off x="1387240" y="5439463"/>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9" name="Freeform 765"/>
            <p:cNvSpPr>
              <a:spLocks noEditPoints="1"/>
            </p:cNvSpPr>
            <p:nvPr/>
          </p:nvSpPr>
          <p:spPr bwMode="auto">
            <a:xfrm>
              <a:off x="1312969" y="5387796"/>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0" name="Freeform 145"/>
            <p:cNvSpPr>
              <a:spLocks noEditPoints="1"/>
            </p:cNvSpPr>
            <p:nvPr/>
          </p:nvSpPr>
          <p:spPr bwMode="auto">
            <a:xfrm>
              <a:off x="1313637" y="3532605"/>
              <a:ext cx="274218" cy="2742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1" name="Freeform 146"/>
            <p:cNvSpPr>
              <a:spLocks noEditPoints="1"/>
            </p:cNvSpPr>
            <p:nvPr/>
          </p:nvSpPr>
          <p:spPr bwMode="auto">
            <a:xfrm>
              <a:off x="1376545" y="3618096"/>
              <a:ext cx="154046" cy="103235"/>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3" name="Freeform 527"/>
            <p:cNvSpPr>
              <a:spLocks noEditPoints="1"/>
            </p:cNvSpPr>
            <p:nvPr/>
          </p:nvSpPr>
          <p:spPr bwMode="auto">
            <a:xfrm>
              <a:off x="1312989" y="2045723"/>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5" name="Freeform 528"/>
            <p:cNvSpPr>
              <a:spLocks noEditPoints="1"/>
            </p:cNvSpPr>
            <p:nvPr/>
          </p:nvSpPr>
          <p:spPr bwMode="auto">
            <a:xfrm>
              <a:off x="1375326" y="2096726"/>
              <a:ext cx="149770" cy="161105"/>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7" name="Freeform 113"/>
            <p:cNvSpPr>
              <a:spLocks noEditPoints="1"/>
            </p:cNvSpPr>
            <p:nvPr/>
          </p:nvSpPr>
          <p:spPr bwMode="auto">
            <a:xfrm>
              <a:off x="1312989" y="2417322"/>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9" name="Freeform 114"/>
            <p:cNvSpPr>
              <a:spLocks noEditPoints="1"/>
            </p:cNvSpPr>
            <p:nvPr/>
          </p:nvSpPr>
          <p:spPr bwMode="auto">
            <a:xfrm>
              <a:off x="1364801" y="2469134"/>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1" name="Freeform 817"/>
            <p:cNvSpPr>
              <a:spLocks noEditPoints="1"/>
            </p:cNvSpPr>
            <p:nvPr/>
          </p:nvSpPr>
          <p:spPr bwMode="auto">
            <a:xfrm>
              <a:off x="1313915" y="6130701"/>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AD7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3" name="Freeform 818"/>
            <p:cNvSpPr>
              <a:spLocks noEditPoints="1"/>
            </p:cNvSpPr>
            <p:nvPr/>
          </p:nvSpPr>
          <p:spPr bwMode="auto">
            <a:xfrm>
              <a:off x="1370281" y="6182235"/>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5" name="Freeform 796"/>
            <p:cNvSpPr>
              <a:spLocks noEditPoints="1"/>
            </p:cNvSpPr>
            <p:nvPr/>
          </p:nvSpPr>
          <p:spPr bwMode="auto">
            <a:xfrm>
              <a:off x="1369456" y="4371313"/>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17" name="Freeform 797"/>
            <p:cNvSpPr>
              <a:spLocks noEditPoints="1"/>
            </p:cNvSpPr>
            <p:nvPr/>
          </p:nvSpPr>
          <p:spPr bwMode="auto">
            <a:xfrm>
              <a:off x="1375944"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19" name="Freeform 798"/>
            <p:cNvSpPr>
              <a:spLocks noEditPoints="1"/>
            </p:cNvSpPr>
            <p:nvPr/>
          </p:nvSpPr>
          <p:spPr bwMode="auto">
            <a:xfrm>
              <a:off x="1427037" y="4371313"/>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0" name="Freeform 799"/>
            <p:cNvSpPr>
              <a:spLocks noEditPoints="1"/>
            </p:cNvSpPr>
            <p:nvPr/>
          </p:nvSpPr>
          <p:spPr bwMode="auto">
            <a:xfrm>
              <a:off x="1433525"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1" name="Freeform 800"/>
            <p:cNvSpPr>
              <a:spLocks noEditPoints="1"/>
            </p:cNvSpPr>
            <p:nvPr/>
          </p:nvSpPr>
          <p:spPr bwMode="auto">
            <a:xfrm>
              <a:off x="1484618" y="4371313"/>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2" name="Freeform 801"/>
            <p:cNvSpPr>
              <a:spLocks noEditPoints="1"/>
            </p:cNvSpPr>
            <p:nvPr/>
          </p:nvSpPr>
          <p:spPr bwMode="auto">
            <a:xfrm>
              <a:off x="1490295" y="4325897"/>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3" name="Freeform 802"/>
            <p:cNvSpPr>
              <a:spLocks noEditPoints="1"/>
            </p:cNvSpPr>
            <p:nvPr/>
          </p:nvSpPr>
          <p:spPr bwMode="auto">
            <a:xfrm>
              <a:off x="1312686" y="4273993"/>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7" name="Freeform 193"/>
            <p:cNvSpPr>
              <a:spLocks noEditPoints="1"/>
            </p:cNvSpPr>
            <p:nvPr/>
          </p:nvSpPr>
          <p:spPr bwMode="auto">
            <a:xfrm>
              <a:off x="1313915" y="1675604"/>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8" name="Freeform 194"/>
            <p:cNvSpPr>
              <a:spLocks noEditPoints="1"/>
            </p:cNvSpPr>
            <p:nvPr/>
          </p:nvSpPr>
          <p:spPr bwMode="auto">
            <a:xfrm>
              <a:off x="1365449" y="1755320"/>
              <a:ext cx="170706" cy="12642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9" name="Freeform 796"/>
            <p:cNvSpPr>
              <a:spLocks noEditPoints="1"/>
            </p:cNvSpPr>
            <p:nvPr/>
          </p:nvSpPr>
          <p:spPr bwMode="auto">
            <a:xfrm>
              <a:off x="1369456" y="28862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71" name="Freeform 797"/>
            <p:cNvSpPr>
              <a:spLocks noEditPoints="1"/>
            </p:cNvSpPr>
            <p:nvPr/>
          </p:nvSpPr>
          <p:spPr bwMode="auto">
            <a:xfrm>
              <a:off x="1375944"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72" name="Freeform 798"/>
            <p:cNvSpPr>
              <a:spLocks noEditPoints="1"/>
            </p:cNvSpPr>
            <p:nvPr/>
          </p:nvSpPr>
          <p:spPr bwMode="auto">
            <a:xfrm>
              <a:off x="1427037" y="28862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3" name="Freeform 799"/>
            <p:cNvSpPr>
              <a:spLocks noEditPoints="1"/>
            </p:cNvSpPr>
            <p:nvPr/>
          </p:nvSpPr>
          <p:spPr bwMode="auto">
            <a:xfrm>
              <a:off x="1433525"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4" name="Freeform 800"/>
            <p:cNvSpPr>
              <a:spLocks noEditPoints="1"/>
            </p:cNvSpPr>
            <p:nvPr/>
          </p:nvSpPr>
          <p:spPr bwMode="auto">
            <a:xfrm>
              <a:off x="1484618" y="28862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5" name="Freeform 801"/>
            <p:cNvSpPr>
              <a:spLocks noEditPoints="1"/>
            </p:cNvSpPr>
            <p:nvPr/>
          </p:nvSpPr>
          <p:spPr bwMode="auto">
            <a:xfrm>
              <a:off x="1490295" y="28408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7" name="Freeform 802"/>
            <p:cNvSpPr>
              <a:spLocks noEditPoints="1"/>
            </p:cNvSpPr>
            <p:nvPr/>
          </p:nvSpPr>
          <p:spPr bwMode="auto">
            <a:xfrm>
              <a:off x="1312686" y="27889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8" name="Freeform 388"/>
            <p:cNvSpPr>
              <a:spLocks noEditPoints="1"/>
            </p:cNvSpPr>
            <p:nvPr/>
          </p:nvSpPr>
          <p:spPr bwMode="auto">
            <a:xfrm>
              <a:off x="1312989" y="3161006"/>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9" name="Freeform 389"/>
            <p:cNvSpPr>
              <a:spLocks noEditPoints="1"/>
            </p:cNvSpPr>
            <p:nvPr/>
          </p:nvSpPr>
          <p:spPr bwMode="auto">
            <a:xfrm>
              <a:off x="1363992" y="3246820"/>
              <a:ext cx="172439" cy="120626"/>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0" name="Freeform 764"/>
            <p:cNvSpPr>
              <a:spLocks noEditPoints="1"/>
            </p:cNvSpPr>
            <p:nvPr/>
          </p:nvSpPr>
          <p:spPr bwMode="auto">
            <a:xfrm>
              <a:off x="1387240" y="3954835"/>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1" name="Freeform 765"/>
            <p:cNvSpPr>
              <a:spLocks noEditPoints="1"/>
            </p:cNvSpPr>
            <p:nvPr/>
          </p:nvSpPr>
          <p:spPr bwMode="auto">
            <a:xfrm>
              <a:off x="1312969" y="3903168"/>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2" name="Freeform 113"/>
            <p:cNvSpPr>
              <a:spLocks noEditPoints="1"/>
            </p:cNvSpPr>
            <p:nvPr/>
          </p:nvSpPr>
          <p:spPr bwMode="auto">
            <a:xfrm>
              <a:off x="1312989" y="4646078"/>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3" name="Freeform 114"/>
            <p:cNvSpPr>
              <a:spLocks noEditPoints="1"/>
            </p:cNvSpPr>
            <p:nvPr/>
          </p:nvSpPr>
          <p:spPr bwMode="auto">
            <a:xfrm>
              <a:off x="1364801" y="4697890"/>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4" name="Freeform 817"/>
            <p:cNvSpPr>
              <a:spLocks noEditPoints="1"/>
            </p:cNvSpPr>
            <p:nvPr/>
          </p:nvSpPr>
          <p:spPr bwMode="auto">
            <a:xfrm>
              <a:off x="1313915" y="5017677"/>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5" name="Freeform 818"/>
            <p:cNvSpPr>
              <a:spLocks noEditPoints="1"/>
            </p:cNvSpPr>
            <p:nvPr/>
          </p:nvSpPr>
          <p:spPr bwMode="auto">
            <a:xfrm>
              <a:off x="1370281" y="5069211"/>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6" name="Freeform 796"/>
            <p:cNvSpPr>
              <a:spLocks noEditPoints="1"/>
            </p:cNvSpPr>
            <p:nvPr/>
          </p:nvSpPr>
          <p:spPr bwMode="auto">
            <a:xfrm>
              <a:off x="1369456" y="58559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87" name="Freeform 797"/>
            <p:cNvSpPr>
              <a:spLocks noEditPoints="1"/>
            </p:cNvSpPr>
            <p:nvPr/>
          </p:nvSpPr>
          <p:spPr bwMode="auto">
            <a:xfrm>
              <a:off x="1375944"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88" name="Freeform 798"/>
            <p:cNvSpPr>
              <a:spLocks noEditPoints="1"/>
            </p:cNvSpPr>
            <p:nvPr/>
          </p:nvSpPr>
          <p:spPr bwMode="auto">
            <a:xfrm>
              <a:off x="1427037" y="58559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9" name="Freeform 799"/>
            <p:cNvSpPr>
              <a:spLocks noEditPoints="1"/>
            </p:cNvSpPr>
            <p:nvPr/>
          </p:nvSpPr>
          <p:spPr bwMode="auto">
            <a:xfrm>
              <a:off x="1433525"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0" name="Freeform 800"/>
            <p:cNvSpPr>
              <a:spLocks noEditPoints="1"/>
            </p:cNvSpPr>
            <p:nvPr/>
          </p:nvSpPr>
          <p:spPr bwMode="auto">
            <a:xfrm>
              <a:off x="1484618" y="58559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1" name="Freeform 801"/>
            <p:cNvSpPr>
              <a:spLocks noEditPoints="1"/>
            </p:cNvSpPr>
            <p:nvPr/>
          </p:nvSpPr>
          <p:spPr bwMode="auto">
            <a:xfrm>
              <a:off x="1490295" y="58105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2" name="Freeform 802"/>
            <p:cNvSpPr>
              <a:spLocks noEditPoints="1"/>
            </p:cNvSpPr>
            <p:nvPr/>
          </p:nvSpPr>
          <p:spPr bwMode="auto">
            <a:xfrm>
              <a:off x="1312686" y="57586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cxnSp>
          <p:nvCxnSpPr>
            <p:cNvPr id="193" name="Straight Connector 192"/>
            <p:cNvCxnSpPr/>
            <p:nvPr/>
          </p:nvCxnSpPr>
          <p:spPr>
            <a:xfrm>
              <a:off x="1230560" y="4646079"/>
              <a:ext cx="1" cy="1388284"/>
            </a:xfrm>
            <a:prstGeom prst="line">
              <a:avLst/>
            </a:prstGeom>
            <a:ln w="19050">
              <a:solidFill>
                <a:srgbClr val="008750"/>
              </a:solidFill>
              <a:tailEnd type="none"/>
            </a:ln>
          </p:spPr>
          <p:style>
            <a:lnRef idx="1">
              <a:schemeClr val="accent1"/>
            </a:lnRef>
            <a:fillRef idx="0">
              <a:schemeClr val="accent1"/>
            </a:fillRef>
            <a:effectRef idx="0">
              <a:schemeClr val="accent1"/>
            </a:effectRef>
            <a:fontRef idx="minor">
              <a:schemeClr val="tx1"/>
            </a:fontRef>
          </p:style>
        </p:cxnSp>
      </p:grpSp>
      <p:cxnSp>
        <p:nvCxnSpPr>
          <p:cNvPr id="92" name="Straight Connector 91"/>
          <p:cNvCxnSpPr/>
          <p:nvPr>
            <p:custDataLst>
              <p:tags r:id="rId12"/>
            </p:custDataLst>
          </p:nvPr>
        </p:nvCxnSpPr>
        <p:spPr>
          <a:xfrm flipV="1">
            <a:off x="2527554"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extBox 2"/>
          <p:cNvSpPr txBox="1"/>
          <p:nvPr>
            <p:custDataLst>
              <p:tags r:id="rId13"/>
            </p:custDataLst>
          </p:nvPr>
        </p:nvSpPr>
        <p:spPr>
          <a:xfrm>
            <a:off x="6535531" y="1329462"/>
            <a:ext cx="5230645" cy="1137299"/>
          </a:xfrm>
          <a:prstGeom prst="rect">
            <a:avLst/>
          </a:prstGeom>
          <a:solidFill>
            <a:schemeClr val="bg1">
              <a:lumMod val="20000"/>
              <a:lumOff val="80000"/>
            </a:schemeClr>
          </a:solidFill>
          <a:ln>
            <a:solidFill>
              <a:srgbClr val="C00000"/>
            </a:solidFill>
          </a:ln>
        </p:spPr>
        <p:txBody>
          <a:bodyPr wrap="square" lIns="0" tIns="36576" rIns="0" bIns="0" rtlCol="0">
            <a:spAutoFit/>
          </a:bodyPr>
          <a:lstStyle/>
          <a:p>
            <a:pPr>
              <a:lnSpc>
                <a:spcPct val="85000"/>
              </a:lnSpc>
              <a:spcAft>
                <a:spcPts val="600"/>
              </a:spcAft>
              <a:buClr>
                <a:schemeClr val="accent2"/>
              </a:buClr>
              <a:buSzPct val="70000"/>
            </a:pPr>
            <a:r>
              <a:rPr lang="fr-CA" sz="1400" b="1" dirty="0">
                <a:latin typeface="EYInterstate Light" panose="02000506000000020004" pitchFamily="2" charset="0"/>
              </a:rPr>
              <a:t>Les spécialistes des ressources humaines</a:t>
            </a:r>
            <a:r>
              <a:rPr lang="fr-CA" sz="1400" dirty="0">
                <a:latin typeface="EYInterstate Light" panose="02000506000000020004" pitchFamily="2" charset="0"/>
              </a:rPr>
              <a:t> lient les employés aux employeurs. Les tâches précises des</a:t>
            </a:r>
            <a:r>
              <a:rPr lang="fr-CA" sz="1400" b="1" dirty="0">
                <a:latin typeface="EYInterstate Light" panose="02000506000000020004" pitchFamily="2" charset="0"/>
              </a:rPr>
              <a:t> spécialistes des ressources humaines</a:t>
            </a:r>
            <a:r>
              <a:rPr lang="fr-CA" sz="1400" dirty="0">
                <a:latin typeface="EYInterstate Light" panose="02000506000000020004" pitchFamily="2" charset="0"/>
              </a:rPr>
              <a:t> peuvent varier; certains ont des titres précis (</a:t>
            </a:r>
            <a:r>
              <a:rPr lang="fr-CA" sz="1400" b="1" dirty="0">
                <a:latin typeface="EYInterstate Light" panose="02000506000000020004" pitchFamily="2" charset="0"/>
              </a:rPr>
              <a:t>spécialiste en recrutement, relations de travail, délégué syndical</a:t>
            </a:r>
            <a:r>
              <a:rPr lang="fr-CA" sz="1400" dirty="0">
                <a:latin typeface="EYInterstate Light" panose="02000506000000020004" pitchFamily="2" charset="0"/>
              </a:rPr>
              <a:t>). Cependant,</a:t>
            </a:r>
            <a:r>
              <a:rPr lang="fr-CA" sz="1400" b="1" dirty="0">
                <a:latin typeface="EYInterstate Light" panose="02000506000000020004" pitchFamily="2" charset="0"/>
              </a:rPr>
              <a:t> les spécialistes des ressources humaines </a:t>
            </a:r>
            <a:r>
              <a:rPr lang="fr-CA" sz="1400" dirty="0">
                <a:latin typeface="EYInterstate Light" panose="02000506000000020004" pitchFamily="2" charset="0"/>
              </a:rPr>
              <a:t>effectuent plusieurs tâches de travail.</a:t>
            </a:r>
          </a:p>
        </p:txBody>
      </p:sp>
      <p:pic>
        <p:nvPicPr>
          <p:cNvPr id="83" name="Picture 82"/>
          <p:cNvPicPr>
            <a:picLocks noChangeAspect="1"/>
          </p:cNvPicPr>
          <p:nvPr>
            <p:custDataLst>
              <p:tags r:id="rId14"/>
            </p:custDataLst>
          </p:nvPr>
        </p:nvPicPr>
        <p:blipFill rotWithShape="1">
          <a:blip r:embed="rId16" cstate="email">
            <a:extLst>
              <a:ext uri="{28A0092B-C50C-407E-A947-70E740481C1C}">
                <a14:useLocalDpi xmlns:a14="http://schemas.microsoft.com/office/drawing/2010/main"/>
              </a:ext>
            </a:extLst>
          </a:blip>
          <a:srcRect/>
          <a:stretch/>
        </p:blipFill>
        <p:spPr>
          <a:xfrm>
            <a:off x="859009" y="1579642"/>
            <a:ext cx="669935" cy="1040331"/>
          </a:xfrm>
          <a:prstGeom prst="rect">
            <a:avLst/>
          </a:prstGeom>
          <a:ln>
            <a:noFill/>
          </a:ln>
        </p:spPr>
      </p:pic>
    </p:spTree>
    <p:extLst>
      <p:ext uri="{BB962C8B-B14F-4D97-AF65-F5344CB8AC3E}">
        <p14:creationId xmlns:p14="http://schemas.microsoft.com/office/powerpoint/2010/main" val="1976060300"/>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custDataLst>
              <p:tags r:id="rId1"/>
            </p:custDataLst>
          </p:nvPr>
        </p:nvSpPr>
        <p:spPr>
          <a:xfrm>
            <a:off x="500706" y="511899"/>
            <a:ext cx="8017370"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Activité 2</a:t>
            </a:r>
          </a:p>
        </p:txBody>
      </p:sp>
      <p:sp>
        <p:nvSpPr>
          <p:cNvPr id="80" name="TextBox 79"/>
          <p:cNvSpPr txBox="1"/>
          <p:nvPr>
            <p:custDataLst>
              <p:tags r:id="rId2"/>
            </p:custDataLst>
          </p:nvPr>
        </p:nvSpPr>
        <p:spPr>
          <a:xfrm>
            <a:off x="500706" y="1137094"/>
            <a:ext cx="10067338" cy="1200329"/>
          </a:xfrm>
          <a:prstGeom prst="rect">
            <a:avLst/>
          </a:prstGeom>
          <a:noFill/>
        </p:spPr>
        <p:txBody>
          <a:bodyPr wrap="square" lIns="0" tIns="0" rIns="0" bIns="0" rtlCol="0" anchor="t" anchorCtr="0">
            <a:spAutoFit/>
          </a:bodyPr>
          <a:lstStyle/>
          <a:p>
            <a:r>
              <a:rPr lang="fr-CA" sz="1300" b="1" dirty="0">
                <a:solidFill>
                  <a:srgbClr val="4B4B4B"/>
                </a:solidFill>
                <a:latin typeface="EYInterstate Light" panose="02000506000000020004" pitchFamily="2" charset="0"/>
              </a:rPr>
              <a:t>Objectif : </a:t>
            </a:r>
            <a:r>
              <a:rPr lang="fr-CA" sz="1300" dirty="0">
                <a:solidFill>
                  <a:srgbClr val="4B4B4B"/>
                </a:solidFill>
                <a:latin typeface="EYInterstate Light" panose="02000506000000020004" pitchFamily="2" charset="0"/>
              </a:rPr>
              <a:t>cibler les principaux domaines de possibilités, les moments qui comptent, et les outils technologiques habilitants dans le processus de gestion des données des employés et de l’organisation relativement à la persona désignée.  </a:t>
            </a:r>
          </a:p>
          <a:p>
            <a:endParaRPr lang="en-CA" sz="1300" dirty="0">
              <a:solidFill>
                <a:srgbClr val="969696"/>
              </a:solidFill>
              <a:latin typeface="EYInterstate Light" panose="02000506000000020004" pitchFamily="2" charset="0"/>
            </a:endParaRPr>
          </a:p>
          <a:p>
            <a:r>
              <a:rPr lang="fr-CA" sz="1300" b="1" dirty="0">
                <a:solidFill>
                  <a:srgbClr val="4B4B4B"/>
                </a:solidFill>
                <a:latin typeface="EYInterstate Light" panose="02000506000000020004" pitchFamily="2" charset="0"/>
              </a:rPr>
              <a:t>Directives</a:t>
            </a:r>
            <a:r>
              <a:rPr lang="fr-CA" sz="1300" dirty="0">
                <a:solidFill>
                  <a:srgbClr val="4B4B4B"/>
                </a:solidFill>
                <a:latin typeface="EYInterstate Light" panose="02000506000000020004" pitchFamily="2" charset="0"/>
              </a:rPr>
              <a:t> : rassemblez-vous en groupes de 3 personnes autour de l’affiche de la persona dans la salle. À l’aide de l’histoire de Chris, concentrez-vous sur votre persona et saisissez les principaux domaines de possibilités, les moments qui comptent, et les outils technologiques habilitants dans le processus de recrutement et d’embauche. Utilisez les notes autocollantes fournies pour inscrire vos réponses sur les affiches. </a:t>
            </a:r>
          </a:p>
        </p:txBody>
      </p:sp>
      <p:pic>
        <p:nvPicPr>
          <p:cNvPr id="2" name="Picture 1"/>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284126" y="2758408"/>
            <a:ext cx="7888142" cy="2696283"/>
          </a:xfrm>
          <a:prstGeom prst="rect">
            <a:avLst/>
          </a:prstGeom>
        </p:spPr>
      </p:pic>
      <p:grpSp>
        <p:nvGrpSpPr>
          <p:cNvPr id="289" name="Group 288"/>
          <p:cNvGrpSpPr/>
          <p:nvPr>
            <p:custDataLst>
              <p:tags r:id="rId4"/>
            </p:custDataLst>
          </p:nvPr>
        </p:nvGrpSpPr>
        <p:grpSpPr>
          <a:xfrm>
            <a:off x="8375539" y="2689767"/>
            <a:ext cx="3438133" cy="2937532"/>
            <a:chOff x="5093442" y="1666076"/>
            <a:chExt cx="5322254" cy="4190295"/>
          </a:xfrm>
        </p:grpSpPr>
        <p:pic>
          <p:nvPicPr>
            <p:cNvPr id="290" name="Picture 289"/>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489503" y="1666076"/>
              <a:ext cx="822420" cy="1079497"/>
            </a:xfrm>
            <a:prstGeom prst="rect">
              <a:avLst/>
            </a:prstGeom>
            <a:ln>
              <a:noFill/>
            </a:ln>
          </p:spPr>
        </p:pic>
        <p:pic>
          <p:nvPicPr>
            <p:cNvPr id="291" name="Picture 290"/>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5523344" y="4776371"/>
              <a:ext cx="754737" cy="1080000"/>
            </a:xfrm>
            <a:prstGeom prst="rect">
              <a:avLst/>
            </a:prstGeom>
            <a:ln>
              <a:noFill/>
            </a:ln>
          </p:spPr>
        </p:pic>
        <p:sp>
          <p:nvSpPr>
            <p:cNvPr id="292" name="TextBox 291"/>
            <p:cNvSpPr txBox="1"/>
            <p:nvPr/>
          </p:nvSpPr>
          <p:spPr>
            <a:xfrm>
              <a:off x="5093442" y="2745573"/>
              <a:ext cx="1614540" cy="526840"/>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Gestionnaire du personnel</a:t>
              </a:r>
            </a:p>
          </p:txBody>
        </p:sp>
        <p:pic>
          <p:nvPicPr>
            <p:cNvPr id="294" name="Picture 293"/>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655653" y="4790151"/>
              <a:ext cx="760043" cy="1066220"/>
            </a:xfrm>
            <a:prstGeom prst="rect">
              <a:avLst/>
            </a:prstGeom>
            <a:ln>
              <a:noFill/>
            </a:ln>
          </p:spPr>
        </p:pic>
        <p:pic>
          <p:nvPicPr>
            <p:cNvPr id="296" name="Picture 29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711408" y="2490861"/>
              <a:ext cx="2642799" cy="2640985"/>
            </a:xfrm>
            <a:prstGeom prst="rect">
              <a:avLst/>
            </a:prstGeom>
          </p:spPr>
        </p:pic>
      </p:grpSp>
      <p:sp>
        <p:nvSpPr>
          <p:cNvPr id="299" name="TextBox 298"/>
          <p:cNvSpPr txBox="1"/>
          <p:nvPr>
            <p:custDataLst>
              <p:tags r:id="rId5"/>
            </p:custDataLst>
          </p:nvPr>
        </p:nvSpPr>
        <p:spPr>
          <a:xfrm>
            <a:off x="11127959" y="3528559"/>
            <a:ext cx="982761" cy="369332"/>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Administrateur </a:t>
            </a:r>
          </a:p>
          <a:p>
            <a:pPr algn="ctr"/>
            <a:r>
              <a:rPr lang="fr-CA" sz="1200" b="1" dirty="0">
                <a:solidFill>
                  <a:srgbClr val="4B4B4B"/>
                </a:solidFill>
                <a:latin typeface="EYInterstate Light" panose="02000506000000020004" pitchFamily="2" charset="0"/>
              </a:rPr>
              <a:t>décentralisé</a:t>
            </a:r>
          </a:p>
        </p:txBody>
      </p:sp>
      <p:sp>
        <p:nvSpPr>
          <p:cNvPr id="17" name="TextBox 16"/>
          <p:cNvSpPr txBox="1"/>
          <p:nvPr>
            <p:custDataLst>
              <p:tags r:id="rId6"/>
            </p:custDataLst>
          </p:nvPr>
        </p:nvSpPr>
        <p:spPr>
          <a:xfrm>
            <a:off x="8480159" y="5774289"/>
            <a:ext cx="1717154" cy="184666"/>
          </a:xfrm>
          <a:prstGeom prst="rect">
            <a:avLst/>
          </a:prstGeom>
          <a:noFill/>
        </p:spPr>
        <p:txBody>
          <a:bodyPr wrap="square" lIns="0" tIns="0" rIns="0" bIns="0" rtlCol="0" anchor="t" anchorCtr="0">
            <a:spAutoFit/>
          </a:bodyPr>
          <a:lstStyle/>
          <a:p>
            <a:r>
              <a:rPr lang="fr-CA" sz="1200" b="1" dirty="0">
                <a:solidFill>
                  <a:srgbClr val="4B4B4B"/>
                </a:solidFill>
                <a:latin typeface="EYInterstate Light" panose="02000506000000020004" pitchFamily="2" charset="0"/>
              </a:rPr>
              <a:t>Spécialiste des ressources humaines </a:t>
            </a:r>
          </a:p>
        </p:txBody>
      </p:sp>
      <p:sp>
        <p:nvSpPr>
          <p:cNvPr id="19" name="TextBox 18"/>
          <p:cNvSpPr txBox="1"/>
          <p:nvPr>
            <p:custDataLst>
              <p:tags r:id="rId7"/>
            </p:custDataLst>
          </p:nvPr>
        </p:nvSpPr>
        <p:spPr>
          <a:xfrm>
            <a:off x="11127959" y="5781080"/>
            <a:ext cx="982761" cy="553998"/>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Conseiller en rémunération et à la paie</a:t>
            </a:r>
          </a:p>
        </p:txBody>
      </p:sp>
      <p:pic>
        <p:nvPicPr>
          <p:cNvPr id="18" name="Picture 17"/>
          <p:cNvPicPr>
            <a:picLocks/>
          </p:cNvPicPr>
          <p:nvPr>
            <p:custDataLst>
              <p:tags r:id="rId8"/>
            </p:custDataLst>
          </p:nvPr>
        </p:nvPicPr>
        <p:blipFill rotWithShape="1">
          <a:blip r:embed="rId16" cstate="email">
            <a:extLst>
              <a:ext uri="{28A0092B-C50C-407E-A947-70E740481C1C}">
                <a14:useLocalDpi xmlns:a14="http://schemas.microsoft.com/office/drawing/2010/main"/>
              </a:ext>
            </a:extLst>
          </a:blip>
          <a:srcRect/>
          <a:stretch/>
        </p:blipFill>
        <p:spPr>
          <a:xfrm>
            <a:off x="11149426" y="2689767"/>
            <a:ext cx="586850" cy="781035"/>
          </a:xfrm>
          <a:prstGeom prst="rect">
            <a:avLst/>
          </a:prstGeom>
          <a:noFill/>
          <a:ln>
            <a:noFill/>
          </a:ln>
        </p:spPr>
      </p:pic>
      <p:pic>
        <p:nvPicPr>
          <p:cNvPr id="20" name="Picture 19"/>
          <p:cNvPicPr>
            <a:picLocks/>
          </p:cNvPicPr>
          <p:nvPr>
            <p:custDataLst>
              <p:tags r:id="rId9"/>
            </p:custDataLst>
          </p:nvPr>
        </p:nvPicPr>
        <p:blipFill rotWithShape="1">
          <a:blip r:embed="rId17" cstate="email">
            <a:extLst>
              <a:ext uri="{BEBA8EAE-BF5A-486C-A8C5-ECC9F3942E4B}">
                <a14:imgProps xmlns:a14="http://schemas.microsoft.com/office/drawing/2010/main">
                  <a14:imgLayer r:embed="rId18">
                    <a14:imgEffect>
                      <a14:backgroundRemoval t="0" b="98684" l="0" r="100000"/>
                    </a14:imgEffect>
                  </a14:imgLayer>
                </a14:imgProps>
              </a:ext>
              <a:ext uri="{28A0092B-C50C-407E-A947-70E740481C1C}">
                <a14:useLocalDpi xmlns:a14="http://schemas.microsoft.com/office/drawing/2010/main"/>
              </a:ext>
            </a:extLst>
          </a:blip>
          <a:srcRect/>
          <a:stretch/>
        </p:blipFill>
        <p:spPr>
          <a:xfrm>
            <a:off x="9990285" y="3415707"/>
            <a:ext cx="577759" cy="937589"/>
          </a:xfrm>
          <a:prstGeom prst="rect">
            <a:avLst/>
          </a:prstGeom>
          <a:ln>
            <a:noFill/>
          </a:ln>
        </p:spPr>
      </p:pic>
    </p:spTree>
    <p:extLst>
      <p:ext uri="{BB962C8B-B14F-4D97-AF65-F5344CB8AC3E}">
        <p14:creationId xmlns:p14="http://schemas.microsoft.com/office/powerpoint/2010/main" val="1414850113"/>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custDataLst>
              <p:tags r:id="rId1"/>
            </p:custDataLst>
          </p:nvPr>
        </p:nvSpPr>
        <p:spPr>
          <a:xfrm>
            <a:off x="168597" y="555874"/>
            <a:ext cx="8007212" cy="800219"/>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Administrateur décentralisé : </a:t>
            </a:r>
            <a:r>
              <a:rPr lang="fr-CA" sz="2600" i="1" dirty="0">
                <a:solidFill>
                  <a:srgbClr val="4B4B4B"/>
                </a:solidFill>
                <a:latin typeface="EYInterstate Light" panose="02000506000000020004" pitchFamily="2" charset="0"/>
              </a:rPr>
              <a:t>gérer les données des employés et de l’organisation</a:t>
            </a:r>
          </a:p>
        </p:txBody>
      </p:sp>
      <p:sp>
        <p:nvSpPr>
          <p:cNvPr id="230" name="Text Placeholder 5"/>
          <p:cNvSpPr txBox="1">
            <a:spLocks/>
          </p:cNvSpPr>
          <p:nvPr>
            <p:custDataLst>
              <p:tags r:id="rId2"/>
            </p:custDataLst>
          </p:nvPr>
        </p:nvSpPr>
        <p:spPr>
          <a:xfrm rot="5400000">
            <a:off x="5136775" y="1741799"/>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Domaines de possibilités</a:t>
            </a:r>
          </a:p>
        </p:txBody>
      </p:sp>
      <p:sp>
        <p:nvSpPr>
          <p:cNvPr id="232" name="Text Placeholder 5"/>
          <p:cNvSpPr txBox="1">
            <a:spLocks/>
          </p:cNvSpPr>
          <p:nvPr>
            <p:custDataLst>
              <p:tags r:id="rId3"/>
            </p:custDataLst>
          </p:nvPr>
        </p:nvSpPr>
        <p:spPr>
          <a:xfrm rot="5400000">
            <a:off x="5067848" y="2748313"/>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Moments</a:t>
            </a:r>
            <a:br>
              <a:rPr lang="fr-CA" sz="1050" b="1" dirty="0">
                <a:solidFill>
                  <a:srgbClr val="000000"/>
                </a:solidFill>
                <a:latin typeface="EYInterstate Light" panose="02000506000000020004" pitchFamily="2" charset="0"/>
              </a:rPr>
            </a:br>
            <a:r>
              <a:rPr lang="fr-CA" sz="1050" b="1" dirty="0">
                <a:solidFill>
                  <a:srgbClr val="000000"/>
                </a:solidFill>
                <a:latin typeface="EYInterstate Light" panose="02000506000000020004" pitchFamily="2" charset="0"/>
              </a:rPr>
              <a:t>qui comptent</a:t>
            </a:r>
          </a:p>
        </p:txBody>
      </p:sp>
      <p:sp>
        <p:nvSpPr>
          <p:cNvPr id="233" name="Text Placeholder 5"/>
          <p:cNvSpPr txBox="1">
            <a:spLocks/>
          </p:cNvSpPr>
          <p:nvPr>
            <p:custDataLst>
              <p:tags r:id="rId4"/>
            </p:custDataLst>
          </p:nvPr>
        </p:nvSpPr>
        <p:spPr>
          <a:xfrm rot="5400000">
            <a:off x="4983209" y="4143095"/>
            <a:ext cx="1214070" cy="26161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Outils habilitants</a:t>
            </a:r>
          </a:p>
        </p:txBody>
      </p:sp>
      <p:sp>
        <p:nvSpPr>
          <p:cNvPr id="197" name="TextBox 196"/>
          <p:cNvSpPr txBox="1"/>
          <p:nvPr>
            <p:custDataLst>
              <p:tags r:id="rId5"/>
            </p:custDataLst>
          </p:nvPr>
        </p:nvSpPr>
        <p:spPr>
          <a:xfrm>
            <a:off x="2501828" y="2254913"/>
            <a:ext cx="434126" cy="510861"/>
          </a:xfrm>
          <a:prstGeom prst="rect">
            <a:avLst/>
          </a:prstGeom>
          <a:noFill/>
        </p:spPr>
        <p:txBody>
          <a:bodyPr wrap="square" tIns="324000" bIns="0" rtlCol="0" anchor="ctr">
            <a:noAutofit/>
          </a:bodyPr>
          <a:lstStyle/>
          <a:p>
            <a:r>
              <a:rPr lang="fr-CA" sz="6000" dirty="0">
                <a:solidFill>
                  <a:srgbClr val="E60F2D"/>
                </a:solidFill>
                <a:latin typeface="EYInterstate Light" panose="02000506000000020004" pitchFamily="2" charset="0"/>
              </a:rPr>
              <a:t>«</a:t>
            </a:r>
          </a:p>
        </p:txBody>
      </p:sp>
      <p:sp>
        <p:nvSpPr>
          <p:cNvPr id="200" name="TextBox 199"/>
          <p:cNvSpPr txBox="1"/>
          <p:nvPr>
            <p:custDataLst>
              <p:tags r:id="rId6"/>
            </p:custDataLst>
          </p:nvPr>
        </p:nvSpPr>
        <p:spPr>
          <a:xfrm>
            <a:off x="2560606" y="2648285"/>
            <a:ext cx="2569569" cy="1128322"/>
          </a:xfrm>
          <a:prstGeom prst="rect">
            <a:avLst/>
          </a:prstGeom>
          <a:noFill/>
        </p:spPr>
        <p:txBody>
          <a:bodyPr wrap="square" lIns="108000" rIns="108000" rtlCol="0" anchor="t">
            <a:spAutoFit/>
          </a:bodyPr>
          <a:lstStyle/>
          <a:p>
            <a:pPr algn="ctr"/>
            <a:r>
              <a:rPr lang="fr-CA" sz="1100" b="1" dirty="0">
                <a:solidFill>
                  <a:srgbClr val="C0C0C0">
                    <a:lumMod val="10000"/>
                  </a:srgbClr>
                </a:solidFill>
              </a:rPr>
              <a:t>« L’accès aux données d’organisation me permet d’expliquer le ratio idéal d’employés-ministère aux administrateurs généraux. »</a:t>
            </a:r>
          </a:p>
          <a:p>
            <a:pPr>
              <a:lnSpc>
                <a:spcPct val="120000"/>
              </a:lnSpc>
            </a:pPr>
            <a:r>
              <a:rPr lang="fr-CA" sz="1100" i="1" dirty="0">
                <a:solidFill>
                  <a:srgbClr val="000000"/>
                </a:solidFill>
                <a:latin typeface="EYInterstate Light" panose="02000506000000020004" pitchFamily="2" charset="0"/>
              </a:rPr>
              <a:t> </a:t>
            </a:r>
          </a:p>
        </p:txBody>
      </p:sp>
      <p:cxnSp>
        <p:nvCxnSpPr>
          <p:cNvPr id="203" name="Straight Connector 202"/>
          <p:cNvCxnSpPr/>
          <p:nvPr>
            <p:custDataLst>
              <p:tags r:id="rId7"/>
            </p:custDataLst>
          </p:nvPr>
        </p:nvCxnSpPr>
        <p:spPr>
          <a:xfrm>
            <a:off x="2933009" y="2503993"/>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custDataLst>
              <p:tags r:id="rId8"/>
            </p:custDataLst>
          </p:nvPr>
        </p:nvCxnSpPr>
        <p:spPr>
          <a:xfrm flipV="1">
            <a:off x="5339688"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41" name="Rectangle 240"/>
          <p:cNvSpPr/>
          <p:nvPr>
            <p:custDataLst>
              <p:tags r:id="rId9"/>
            </p:custDataLst>
          </p:nvPr>
        </p:nvSpPr>
        <p:spPr>
          <a:xfrm>
            <a:off x="2560606" y="3684576"/>
            <a:ext cx="2485644" cy="3131627"/>
          </a:xfrm>
          <a:prstGeom prst="rect">
            <a:avLst/>
          </a:prstGeom>
        </p:spPr>
        <p:txBody>
          <a:bodyPr wrap="square">
            <a:spAutoFit/>
          </a:bodyPr>
          <a:lstStyle/>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données de l’organisation sont affichées de manière claire dans un tableau de bord </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administrateurs peuvent rapidement générer des rapports sur les données organisationnelles afin d’offrir aux dirigeants des aperçus stratégiques en matière de main-d’œuvre</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dirigeants bénéficient d’une visibilité sur leurs propres données en matière d’effectif et ont moins de questions à ce sujet pour les administrateurs des RH</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Une source de données unique et un modèle de gouvernance cohérent assurent l’exactitude de l’ensemble des données sur l’effectif</a:t>
            </a:r>
          </a:p>
          <a:p>
            <a:pPr marL="158750" indent="-158750">
              <a:lnSpc>
                <a:spcPct val="90000"/>
              </a:lnSpc>
              <a:spcBef>
                <a:spcPts val="300"/>
              </a:spcBef>
              <a:buClr>
                <a:srgbClr val="E60F2D"/>
              </a:buClr>
              <a:buSzPct val="60000"/>
              <a:buFont typeface="Arial" pitchFamily="34" charset="0"/>
              <a:buChar char="►"/>
              <a:defRPr/>
            </a:pPr>
            <a:endParaRPr lang="en-CA" sz="1000" dirty="0">
              <a:solidFill>
                <a:srgbClr val="000000"/>
              </a:solidFill>
              <a:latin typeface="EYInterstate Light" panose="02000506000000020004" pitchFamily="2" charset="0"/>
              <a:cs typeface="Arial" pitchFamily="34" charset="0"/>
            </a:endParaRPr>
          </a:p>
        </p:txBody>
      </p:sp>
      <p:cxnSp>
        <p:nvCxnSpPr>
          <p:cNvPr id="243" name="Straight Connector 242"/>
          <p:cNvCxnSpPr/>
          <p:nvPr>
            <p:custDataLst>
              <p:tags r:id="rId10"/>
            </p:custDataLst>
          </p:nvPr>
        </p:nvCxnSpPr>
        <p:spPr>
          <a:xfrm flipV="1">
            <a:off x="2448775"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50" name="Group 249"/>
          <p:cNvGrpSpPr/>
          <p:nvPr>
            <p:custDataLst>
              <p:tags r:id="rId11"/>
            </p:custDataLst>
          </p:nvPr>
        </p:nvGrpSpPr>
        <p:grpSpPr>
          <a:xfrm>
            <a:off x="2577911" y="1423731"/>
            <a:ext cx="2660573" cy="715581"/>
            <a:chOff x="2110583" y="1351686"/>
            <a:chExt cx="3066015" cy="715581"/>
          </a:xfrm>
        </p:grpSpPr>
        <p:sp>
          <p:nvSpPr>
            <p:cNvPr id="251" name="Rectangle 250"/>
            <p:cNvSpPr/>
            <p:nvPr/>
          </p:nvSpPr>
          <p:spPr>
            <a:xfrm>
              <a:off x="2110583" y="1351686"/>
              <a:ext cx="1402370" cy="590931"/>
            </a:xfrm>
            <a:prstGeom prst="rect">
              <a:avLst/>
            </a:prstGeom>
          </p:spPr>
          <p:txBody>
            <a:bodyPr wrap="square">
              <a:spAutoFit/>
            </a:bodyPr>
            <a:lstStyle/>
            <a:p>
              <a:pPr algn="ctr">
                <a:lnSpc>
                  <a:spcPct val="90000"/>
                </a:lnSpc>
                <a:spcBef>
                  <a:spcPts val="300"/>
                </a:spcBef>
                <a:buClr>
                  <a:srgbClr val="E60F2D"/>
                </a:buClr>
                <a:buSzPct val="60000"/>
                <a:defRPr/>
              </a:pPr>
              <a:r>
                <a:rPr lang="fr-CA" sz="900" i="1" dirty="0">
                  <a:solidFill>
                    <a:srgbClr val="000000"/>
                  </a:solidFill>
                  <a:latin typeface="EYInterstate Light" panose="02000506000000020004" pitchFamily="2" charset="0"/>
                  <a:cs typeface="Arial" pitchFamily="34" charset="0"/>
                </a:rPr>
                <a:t>La communication entre les ministères et les RH n’est pas faite en temps opportun.</a:t>
              </a:r>
            </a:p>
          </p:txBody>
        </p:sp>
        <p:sp>
          <p:nvSpPr>
            <p:cNvPr id="252" name="Rectangle 251"/>
            <p:cNvSpPr/>
            <p:nvPr/>
          </p:nvSpPr>
          <p:spPr>
            <a:xfrm>
              <a:off x="3612415" y="1351686"/>
              <a:ext cx="1564183" cy="715581"/>
            </a:xfrm>
            <a:prstGeom prst="rect">
              <a:avLst/>
            </a:prstGeom>
          </p:spPr>
          <p:txBody>
            <a:bodyPr wrap="square">
              <a:spAutoFit/>
            </a:bodyPr>
            <a:lstStyle/>
            <a:p>
              <a:pPr algn="ctr">
                <a:lnSpc>
                  <a:spcPct val="90000"/>
                </a:lnSpc>
                <a:spcBef>
                  <a:spcPts val="300"/>
                </a:spcBef>
                <a:buClr>
                  <a:srgbClr val="E60F2D"/>
                </a:buClr>
                <a:buSzPct val="60000"/>
                <a:defRPr/>
              </a:pPr>
              <a:r>
                <a:rPr lang="fr-CA" sz="900" i="1" dirty="0">
                  <a:solidFill>
                    <a:srgbClr val="000000"/>
                  </a:solidFill>
                  <a:latin typeface="EYInterstate Light" panose="02000506000000020004" pitchFamily="2" charset="0"/>
                  <a:cs typeface="Arial" pitchFamily="34" charset="0"/>
                </a:rPr>
                <a:t>Les données historiques sont perdues lorsque les personnes sont transférées d’un secteur à un autre.</a:t>
              </a:r>
            </a:p>
          </p:txBody>
        </p:sp>
      </p:grpSp>
      <p:grpSp>
        <p:nvGrpSpPr>
          <p:cNvPr id="18" name="Group 17"/>
          <p:cNvGrpSpPr/>
          <p:nvPr>
            <p:custDataLst>
              <p:tags r:id="rId12"/>
            </p:custDataLst>
          </p:nvPr>
        </p:nvGrpSpPr>
        <p:grpSpPr>
          <a:xfrm>
            <a:off x="1838723" y="1304009"/>
            <a:ext cx="357986" cy="5100466"/>
            <a:chOff x="1230560" y="1304009"/>
            <a:chExt cx="357986" cy="5100466"/>
          </a:xfrm>
        </p:grpSpPr>
        <p:sp>
          <p:nvSpPr>
            <p:cNvPr id="95" name="Freeform 903"/>
            <p:cNvSpPr>
              <a:spLocks noEditPoints="1"/>
            </p:cNvSpPr>
            <p:nvPr/>
          </p:nvSpPr>
          <p:spPr bwMode="auto">
            <a:xfrm>
              <a:off x="1312486" y="1304009"/>
              <a:ext cx="276060" cy="2752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6" name="Freeform 904"/>
            <p:cNvSpPr>
              <a:spLocks noEditPoints="1"/>
            </p:cNvSpPr>
            <p:nvPr/>
          </p:nvSpPr>
          <p:spPr bwMode="auto">
            <a:xfrm>
              <a:off x="1364298" y="1364726"/>
              <a:ext cx="173246" cy="140054"/>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8" name="Freeform 764"/>
            <p:cNvSpPr>
              <a:spLocks noEditPoints="1"/>
            </p:cNvSpPr>
            <p:nvPr/>
          </p:nvSpPr>
          <p:spPr bwMode="auto">
            <a:xfrm>
              <a:off x="1387240" y="5439463"/>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9" name="Freeform 765"/>
            <p:cNvSpPr>
              <a:spLocks noEditPoints="1"/>
            </p:cNvSpPr>
            <p:nvPr/>
          </p:nvSpPr>
          <p:spPr bwMode="auto">
            <a:xfrm>
              <a:off x="1312969" y="5387796"/>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0" name="Freeform 145"/>
            <p:cNvSpPr>
              <a:spLocks noEditPoints="1"/>
            </p:cNvSpPr>
            <p:nvPr/>
          </p:nvSpPr>
          <p:spPr bwMode="auto">
            <a:xfrm>
              <a:off x="1313637" y="3532605"/>
              <a:ext cx="274218" cy="2742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1" name="Freeform 146"/>
            <p:cNvSpPr>
              <a:spLocks noEditPoints="1"/>
            </p:cNvSpPr>
            <p:nvPr/>
          </p:nvSpPr>
          <p:spPr bwMode="auto">
            <a:xfrm>
              <a:off x="1376545" y="3618096"/>
              <a:ext cx="154046" cy="103235"/>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3" name="Freeform 527"/>
            <p:cNvSpPr>
              <a:spLocks noEditPoints="1"/>
            </p:cNvSpPr>
            <p:nvPr/>
          </p:nvSpPr>
          <p:spPr bwMode="auto">
            <a:xfrm>
              <a:off x="1312989" y="2045723"/>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5" name="Freeform 528"/>
            <p:cNvSpPr>
              <a:spLocks noEditPoints="1"/>
            </p:cNvSpPr>
            <p:nvPr/>
          </p:nvSpPr>
          <p:spPr bwMode="auto">
            <a:xfrm>
              <a:off x="1375326" y="2096726"/>
              <a:ext cx="149770" cy="161105"/>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7" name="Freeform 113"/>
            <p:cNvSpPr>
              <a:spLocks noEditPoints="1"/>
            </p:cNvSpPr>
            <p:nvPr/>
          </p:nvSpPr>
          <p:spPr bwMode="auto">
            <a:xfrm>
              <a:off x="1312989" y="2417322"/>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9" name="Freeform 114"/>
            <p:cNvSpPr>
              <a:spLocks noEditPoints="1"/>
            </p:cNvSpPr>
            <p:nvPr/>
          </p:nvSpPr>
          <p:spPr bwMode="auto">
            <a:xfrm>
              <a:off x="1364801" y="2469134"/>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1" name="Freeform 817"/>
            <p:cNvSpPr>
              <a:spLocks noEditPoints="1"/>
            </p:cNvSpPr>
            <p:nvPr/>
          </p:nvSpPr>
          <p:spPr bwMode="auto">
            <a:xfrm>
              <a:off x="1313915" y="6130701"/>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AD7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3" name="Freeform 818"/>
            <p:cNvSpPr>
              <a:spLocks noEditPoints="1"/>
            </p:cNvSpPr>
            <p:nvPr/>
          </p:nvSpPr>
          <p:spPr bwMode="auto">
            <a:xfrm>
              <a:off x="1370281" y="6182235"/>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5" name="Freeform 796"/>
            <p:cNvSpPr>
              <a:spLocks noEditPoints="1"/>
            </p:cNvSpPr>
            <p:nvPr/>
          </p:nvSpPr>
          <p:spPr bwMode="auto">
            <a:xfrm>
              <a:off x="1369456" y="4371313"/>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17" name="Freeform 797"/>
            <p:cNvSpPr>
              <a:spLocks noEditPoints="1"/>
            </p:cNvSpPr>
            <p:nvPr/>
          </p:nvSpPr>
          <p:spPr bwMode="auto">
            <a:xfrm>
              <a:off x="1375944"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19" name="Freeform 798"/>
            <p:cNvSpPr>
              <a:spLocks noEditPoints="1"/>
            </p:cNvSpPr>
            <p:nvPr/>
          </p:nvSpPr>
          <p:spPr bwMode="auto">
            <a:xfrm>
              <a:off x="1427037" y="4371313"/>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0" name="Freeform 799"/>
            <p:cNvSpPr>
              <a:spLocks noEditPoints="1"/>
            </p:cNvSpPr>
            <p:nvPr/>
          </p:nvSpPr>
          <p:spPr bwMode="auto">
            <a:xfrm>
              <a:off x="1433525"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1" name="Freeform 800"/>
            <p:cNvSpPr>
              <a:spLocks noEditPoints="1"/>
            </p:cNvSpPr>
            <p:nvPr/>
          </p:nvSpPr>
          <p:spPr bwMode="auto">
            <a:xfrm>
              <a:off x="1484618" y="4371313"/>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2" name="Freeform 801"/>
            <p:cNvSpPr>
              <a:spLocks noEditPoints="1"/>
            </p:cNvSpPr>
            <p:nvPr/>
          </p:nvSpPr>
          <p:spPr bwMode="auto">
            <a:xfrm>
              <a:off x="1490295" y="4325897"/>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3" name="Freeform 802"/>
            <p:cNvSpPr>
              <a:spLocks noEditPoints="1"/>
            </p:cNvSpPr>
            <p:nvPr/>
          </p:nvSpPr>
          <p:spPr bwMode="auto">
            <a:xfrm>
              <a:off x="1312686" y="4273993"/>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7" name="Freeform 193"/>
            <p:cNvSpPr>
              <a:spLocks noEditPoints="1"/>
            </p:cNvSpPr>
            <p:nvPr/>
          </p:nvSpPr>
          <p:spPr bwMode="auto">
            <a:xfrm>
              <a:off x="1313915" y="1675604"/>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8" name="Freeform 194"/>
            <p:cNvSpPr>
              <a:spLocks noEditPoints="1"/>
            </p:cNvSpPr>
            <p:nvPr/>
          </p:nvSpPr>
          <p:spPr bwMode="auto">
            <a:xfrm>
              <a:off x="1365449" y="1755320"/>
              <a:ext cx="170706" cy="12642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9" name="Freeform 796"/>
            <p:cNvSpPr>
              <a:spLocks noEditPoints="1"/>
            </p:cNvSpPr>
            <p:nvPr/>
          </p:nvSpPr>
          <p:spPr bwMode="auto">
            <a:xfrm>
              <a:off x="1369456" y="28862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71" name="Freeform 797"/>
            <p:cNvSpPr>
              <a:spLocks noEditPoints="1"/>
            </p:cNvSpPr>
            <p:nvPr/>
          </p:nvSpPr>
          <p:spPr bwMode="auto">
            <a:xfrm>
              <a:off x="1375944"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72" name="Freeform 798"/>
            <p:cNvSpPr>
              <a:spLocks noEditPoints="1"/>
            </p:cNvSpPr>
            <p:nvPr/>
          </p:nvSpPr>
          <p:spPr bwMode="auto">
            <a:xfrm>
              <a:off x="1427037" y="28862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3" name="Freeform 799"/>
            <p:cNvSpPr>
              <a:spLocks noEditPoints="1"/>
            </p:cNvSpPr>
            <p:nvPr/>
          </p:nvSpPr>
          <p:spPr bwMode="auto">
            <a:xfrm>
              <a:off x="1433525"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4" name="Freeform 800"/>
            <p:cNvSpPr>
              <a:spLocks noEditPoints="1"/>
            </p:cNvSpPr>
            <p:nvPr/>
          </p:nvSpPr>
          <p:spPr bwMode="auto">
            <a:xfrm>
              <a:off x="1484618" y="28862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5" name="Freeform 801"/>
            <p:cNvSpPr>
              <a:spLocks noEditPoints="1"/>
            </p:cNvSpPr>
            <p:nvPr/>
          </p:nvSpPr>
          <p:spPr bwMode="auto">
            <a:xfrm>
              <a:off x="1490295" y="28408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7" name="Freeform 802"/>
            <p:cNvSpPr>
              <a:spLocks noEditPoints="1"/>
            </p:cNvSpPr>
            <p:nvPr/>
          </p:nvSpPr>
          <p:spPr bwMode="auto">
            <a:xfrm>
              <a:off x="1312686" y="27889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8" name="Freeform 388"/>
            <p:cNvSpPr>
              <a:spLocks noEditPoints="1"/>
            </p:cNvSpPr>
            <p:nvPr/>
          </p:nvSpPr>
          <p:spPr bwMode="auto">
            <a:xfrm>
              <a:off x="1312989" y="3161006"/>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9" name="Freeform 389"/>
            <p:cNvSpPr>
              <a:spLocks noEditPoints="1"/>
            </p:cNvSpPr>
            <p:nvPr/>
          </p:nvSpPr>
          <p:spPr bwMode="auto">
            <a:xfrm>
              <a:off x="1363992" y="3246820"/>
              <a:ext cx="172439" cy="120626"/>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0" name="Freeform 764"/>
            <p:cNvSpPr>
              <a:spLocks noEditPoints="1"/>
            </p:cNvSpPr>
            <p:nvPr/>
          </p:nvSpPr>
          <p:spPr bwMode="auto">
            <a:xfrm>
              <a:off x="1387240" y="3954835"/>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1" name="Freeform 765"/>
            <p:cNvSpPr>
              <a:spLocks noEditPoints="1"/>
            </p:cNvSpPr>
            <p:nvPr/>
          </p:nvSpPr>
          <p:spPr bwMode="auto">
            <a:xfrm>
              <a:off x="1312969" y="3903168"/>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2" name="Freeform 113"/>
            <p:cNvSpPr>
              <a:spLocks noEditPoints="1"/>
            </p:cNvSpPr>
            <p:nvPr/>
          </p:nvSpPr>
          <p:spPr bwMode="auto">
            <a:xfrm>
              <a:off x="1312989" y="4646078"/>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3" name="Freeform 114"/>
            <p:cNvSpPr>
              <a:spLocks noEditPoints="1"/>
            </p:cNvSpPr>
            <p:nvPr/>
          </p:nvSpPr>
          <p:spPr bwMode="auto">
            <a:xfrm>
              <a:off x="1364801" y="4697890"/>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4" name="Freeform 817"/>
            <p:cNvSpPr>
              <a:spLocks noEditPoints="1"/>
            </p:cNvSpPr>
            <p:nvPr/>
          </p:nvSpPr>
          <p:spPr bwMode="auto">
            <a:xfrm>
              <a:off x="1313915" y="5017677"/>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5" name="Freeform 818"/>
            <p:cNvSpPr>
              <a:spLocks noEditPoints="1"/>
            </p:cNvSpPr>
            <p:nvPr/>
          </p:nvSpPr>
          <p:spPr bwMode="auto">
            <a:xfrm>
              <a:off x="1370281" y="5069211"/>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6" name="Freeform 796"/>
            <p:cNvSpPr>
              <a:spLocks noEditPoints="1"/>
            </p:cNvSpPr>
            <p:nvPr/>
          </p:nvSpPr>
          <p:spPr bwMode="auto">
            <a:xfrm>
              <a:off x="1369456" y="58559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87" name="Freeform 797"/>
            <p:cNvSpPr>
              <a:spLocks noEditPoints="1"/>
            </p:cNvSpPr>
            <p:nvPr/>
          </p:nvSpPr>
          <p:spPr bwMode="auto">
            <a:xfrm>
              <a:off x="1375944"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88" name="Freeform 798"/>
            <p:cNvSpPr>
              <a:spLocks noEditPoints="1"/>
            </p:cNvSpPr>
            <p:nvPr/>
          </p:nvSpPr>
          <p:spPr bwMode="auto">
            <a:xfrm>
              <a:off x="1427037" y="58559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9" name="Freeform 799"/>
            <p:cNvSpPr>
              <a:spLocks noEditPoints="1"/>
            </p:cNvSpPr>
            <p:nvPr/>
          </p:nvSpPr>
          <p:spPr bwMode="auto">
            <a:xfrm>
              <a:off x="1433525"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0" name="Freeform 800"/>
            <p:cNvSpPr>
              <a:spLocks noEditPoints="1"/>
            </p:cNvSpPr>
            <p:nvPr/>
          </p:nvSpPr>
          <p:spPr bwMode="auto">
            <a:xfrm>
              <a:off x="1484618" y="58559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1" name="Freeform 801"/>
            <p:cNvSpPr>
              <a:spLocks noEditPoints="1"/>
            </p:cNvSpPr>
            <p:nvPr/>
          </p:nvSpPr>
          <p:spPr bwMode="auto">
            <a:xfrm>
              <a:off x="1490295" y="58105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2" name="Freeform 802"/>
            <p:cNvSpPr>
              <a:spLocks noEditPoints="1"/>
            </p:cNvSpPr>
            <p:nvPr/>
          </p:nvSpPr>
          <p:spPr bwMode="auto">
            <a:xfrm>
              <a:off x="1312686" y="57586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cxnSp>
          <p:nvCxnSpPr>
            <p:cNvPr id="193" name="Straight Connector 192"/>
            <p:cNvCxnSpPr/>
            <p:nvPr/>
          </p:nvCxnSpPr>
          <p:spPr>
            <a:xfrm>
              <a:off x="1230560" y="4646079"/>
              <a:ext cx="1" cy="1388284"/>
            </a:xfrm>
            <a:prstGeom prst="line">
              <a:avLst/>
            </a:prstGeom>
            <a:ln w="19050">
              <a:solidFill>
                <a:srgbClr val="008750"/>
              </a:solidFill>
              <a:tailEnd type="none"/>
            </a:ln>
          </p:spPr>
          <p:style>
            <a:lnRef idx="1">
              <a:schemeClr val="accent1"/>
            </a:lnRef>
            <a:fillRef idx="0">
              <a:schemeClr val="accent1"/>
            </a:fillRef>
            <a:effectRef idx="0">
              <a:schemeClr val="accent1"/>
            </a:effectRef>
            <a:fontRef idx="minor">
              <a:schemeClr val="tx1"/>
            </a:fontRef>
          </p:style>
        </p:cxnSp>
      </p:grpSp>
      <p:sp>
        <p:nvSpPr>
          <p:cNvPr id="83" name="TextBox 1"/>
          <p:cNvSpPr txBox="1"/>
          <p:nvPr>
            <p:custDataLst>
              <p:tags r:id="rId13"/>
            </p:custDataLst>
          </p:nvPr>
        </p:nvSpPr>
        <p:spPr>
          <a:xfrm>
            <a:off x="6384652" y="1411471"/>
            <a:ext cx="5003842" cy="980140"/>
          </a:xfrm>
          <a:prstGeom prst="rect">
            <a:avLst/>
          </a:prstGeom>
          <a:solidFill>
            <a:schemeClr val="bg1">
              <a:lumMod val="20000"/>
              <a:lumOff val="80000"/>
            </a:schemeClr>
          </a:solidFill>
          <a:ln>
            <a:solidFill>
              <a:srgbClr val="C00000"/>
            </a:solidFill>
          </a:ln>
        </p:spPr>
        <p:txBody>
          <a:bodyPr wrap="square" lIns="0" tIns="36576" rIns="0" bIns="0" rtlCol="0">
            <a:spAutoFit/>
          </a:bodyPr>
          <a:lstStyle/>
          <a:p>
            <a:pPr>
              <a:lnSpc>
                <a:spcPct val="85000"/>
              </a:lnSpc>
              <a:spcAft>
                <a:spcPts val="600"/>
              </a:spcAft>
              <a:buClr>
                <a:schemeClr val="accent2"/>
              </a:buClr>
              <a:buSzPct val="70000"/>
            </a:pPr>
            <a:r>
              <a:rPr lang="fr-CA" sz="1200" b="1" dirty="0">
                <a:latin typeface="EYInterstate Light" panose="02000506000000020004" pitchFamily="2" charset="0"/>
              </a:rPr>
              <a:t>Les administrateurs décentralisés</a:t>
            </a:r>
            <a:r>
              <a:rPr lang="fr-CA" sz="1200" dirty="0">
                <a:latin typeface="EYInterstate Light" panose="02000506000000020004" pitchFamily="2" charset="0"/>
              </a:rPr>
              <a:t> se concentrent davantage sur les fonctions administratives liées à la gestion du personnel pour appuyer un groupe ministériel. Dans une structure décentralisée, les professionnels des RH relèvent de différents gestionnaires, et ils ne sont pas nécessairement en interaction les uns avec les autres, et ils n’offrent pas tous les mêmes services. Ils sont généralement proches des gestionnaires qu’ils appuient. </a:t>
            </a:r>
          </a:p>
        </p:txBody>
      </p:sp>
      <p:pic>
        <p:nvPicPr>
          <p:cNvPr id="62" name="Picture 61"/>
          <p:cNvPicPr>
            <a:picLocks/>
          </p:cNvPicPr>
          <p:nvPr>
            <p:custDataLst>
              <p:tags r:id="rId14"/>
            </p:custDataLst>
          </p:nvPr>
        </p:nvPicPr>
        <p:blipFill rotWithShape="1">
          <a:blip r:embed="rId16" cstate="email">
            <a:extLst>
              <a:ext uri="{28A0092B-C50C-407E-A947-70E740481C1C}">
                <a14:useLocalDpi xmlns:a14="http://schemas.microsoft.com/office/drawing/2010/main"/>
              </a:ext>
            </a:extLst>
          </a:blip>
          <a:srcRect/>
          <a:stretch/>
        </p:blipFill>
        <p:spPr>
          <a:xfrm>
            <a:off x="809856" y="1552017"/>
            <a:ext cx="656221" cy="1089417"/>
          </a:xfrm>
          <a:prstGeom prst="rect">
            <a:avLst/>
          </a:prstGeom>
          <a:noFill/>
          <a:ln>
            <a:noFill/>
          </a:ln>
        </p:spPr>
      </p:pic>
    </p:spTree>
    <p:extLst>
      <p:ext uri="{BB962C8B-B14F-4D97-AF65-F5344CB8AC3E}">
        <p14:creationId xmlns:p14="http://schemas.microsoft.com/office/powerpoint/2010/main" val="2903621613"/>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custDataLst>
              <p:tags r:id="rId1"/>
            </p:custDataLst>
          </p:nvPr>
        </p:nvSpPr>
        <p:spPr>
          <a:xfrm>
            <a:off x="500706" y="511899"/>
            <a:ext cx="8017370"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Activité 3</a:t>
            </a:r>
          </a:p>
        </p:txBody>
      </p:sp>
      <p:sp>
        <p:nvSpPr>
          <p:cNvPr id="80" name="TextBox 79"/>
          <p:cNvSpPr txBox="1"/>
          <p:nvPr>
            <p:custDataLst>
              <p:tags r:id="rId2"/>
            </p:custDataLst>
          </p:nvPr>
        </p:nvSpPr>
        <p:spPr>
          <a:xfrm>
            <a:off x="500706" y="1137094"/>
            <a:ext cx="10067338" cy="1200329"/>
          </a:xfrm>
          <a:prstGeom prst="rect">
            <a:avLst/>
          </a:prstGeom>
          <a:noFill/>
        </p:spPr>
        <p:txBody>
          <a:bodyPr wrap="square" lIns="0" tIns="0" rIns="0" bIns="0" rtlCol="0" anchor="t" anchorCtr="0">
            <a:spAutoFit/>
          </a:bodyPr>
          <a:lstStyle/>
          <a:p>
            <a:r>
              <a:rPr lang="fr-CA" sz="1300" b="1" dirty="0">
                <a:solidFill>
                  <a:srgbClr val="4B4B4B"/>
                </a:solidFill>
                <a:latin typeface="EYInterstate Light" panose="02000506000000020004" pitchFamily="2" charset="0"/>
              </a:rPr>
              <a:t>Objectif : </a:t>
            </a:r>
            <a:r>
              <a:rPr lang="fr-CA" sz="1300" dirty="0">
                <a:solidFill>
                  <a:srgbClr val="4B4B4B"/>
                </a:solidFill>
                <a:latin typeface="EYInterstate Light" panose="02000506000000020004" pitchFamily="2" charset="0"/>
              </a:rPr>
              <a:t>cibler les principaux domaines de possibilités, les moments qui comptent, et les outils technologiques habilitants en matière d’exactitude de paiement aux employés relativement à la persona désignée.  </a:t>
            </a:r>
          </a:p>
          <a:p>
            <a:endParaRPr lang="en-CA" sz="1300" dirty="0">
              <a:solidFill>
                <a:srgbClr val="969696"/>
              </a:solidFill>
              <a:latin typeface="EYInterstate Light" panose="02000506000000020004" pitchFamily="2" charset="0"/>
            </a:endParaRPr>
          </a:p>
          <a:p>
            <a:r>
              <a:rPr lang="fr-CA" sz="1300" b="1" dirty="0">
                <a:solidFill>
                  <a:srgbClr val="4B4B4B"/>
                </a:solidFill>
                <a:latin typeface="EYInterstate Light" panose="02000506000000020004" pitchFamily="2" charset="0"/>
              </a:rPr>
              <a:t>Directives</a:t>
            </a:r>
            <a:r>
              <a:rPr lang="fr-CA" sz="1300" dirty="0">
                <a:solidFill>
                  <a:srgbClr val="4B4B4B"/>
                </a:solidFill>
                <a:latin typeface="EYInterstate Light" panose="02000506000000020004" pitchFamily="2" charset="0"/>
              </a:rPr>
              <a:t> : rassemblez-vous en groupes de 3 personnes autour de l’affiche de la persona dans la salle. À l’aide de l’histoire de Chris, concentrez-vous sur votre persona et saisissez les principaux domaines de possibilités, les moments qui comptent, et les outils technologiques habilitants dans le processus de recrutement et d’embauche. Utilisez les notes autocollantes fournies pour inscrire vos réponses sur les affiches. </a:t>
            </a:r>
          </a:p>
        </p:txBody>
      </p:sp>
      <p:pic>
        <p:nvPicPr>
          <p:cNvPr id="2" name="Picture 1"/>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284126" y="2758408"/>
            <a:ext cx="7888142" cy="2696283"/>
          </a:xfrm>
          <a:prstGeom prst="rect">
            <a:avLst/>
          </a:prstGeom>
        </p:spPr>
      </p:pic>
      <p:grpSp>
        <p:nvGrpSpPr>
          <p:cNvPr id="289" name="Group 288"/>
          <p:cNvGrpSpPr/>
          <p:nvPr>
            <p:custDataLst>
              <p:tags r:id="rId4"/>
            </p:custDataLst>
          </p:nvPr>
        </p:nvGrpSpPr>
        <p:grpSpPr>
          <a:xfrm>
            <a:off x="8375539" y="2689767"/>
            <a:ext cx="3438133" cy="2937532"/>
            <a:chOff x="5093442" y="1666076"/>
            <a:chExt cx="5322254" cy="4190295"/>
          </a:xfrm>
        </p:grpSpPr>
        <p:pic>
          <p:nvPicPr>
            <p:cNvPr id="290" name="Picture 289"/>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489503" y="1666076"/>
              <a:ext cx="822420" cy="1079497"/>
            </a:xfrm>
            <a:prstGeom prst="rect">
              <a:avLst/>
            </a:prstGeom>
            <a:ln>
              <a:noFill/>
            </a:ln>
          </p:spPr>
        </p:pic>
        <p:pic>
          <p:nvPicPr>
            <p:cNvPr id="291" name="Picture 290"/>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5523344" y="4776371"/>
              <a:ext cx="754737" cy="1080000"/>
            </a:xfrm>
            <a:prstGeom prst="rect">
              <a:avLst/>
            </a:prstGeom>
            <a:ln>
              <a:noFill/>
            </a:ln>
          </p:spPr>
        </p:pic>
        <p:sp>
          <p:nvSpPr>
            <p:cNvPr id="292" name="TextBox 291"/>
            <p:cNvSpPr txBox="1"/>
            <p:nvPr/>
          </p:nvSpPr>
          <p:spPr>
            <a:xfrm>
              <a:off x="5093442" y="2745573"/>
              <a:ext cx="1614540" cy="526840"/>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Gestionnaire du personnel</a:t>
              </a:r>
            </a:p>
          </p:txBody>
        </p:sp>
        <p:pic>
          <p:nvPicPr>
            <p:cNvPr id="294" name="Picture 293"/>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655653" y="4790151"/>
              <a:ext cx="760043" cy="1066220"/>
            </a:xfrm>
            <a:prstGeom prst="rect">
              <a:avLst/>
            </a:prstGeom>
            <a:ln>
              <a:noFill/>
            </a:ln>
          </p:spPr>
        </p:pic>
        <p:pic>
          <p:nvPicPr>
            <p:cNvPr id="296" name="Picture 29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711408" y="2490861"/>
              <a:ext cx="2642799" cy="2640985"/>
            </a:xfrm>
            <a:prstGeom prst="rect">
              <a:avLst/>
            </a:prstGeom>
          </p:spPr>
        </p:pic>
      </p:grpSp>
      <p:sp>
        <p:nvSpPr>
          <p:cNvPr id="299" name="TextBox 298"/>
          <p:cNvSpPr txBox="1"/>
          <p:nvPr>
            <p:custDataLst>
              <p:tags r:id="rId5"/>
            </p:custDataLst>
          </p:nvPr>
        </p:nvSpPr>
        <p:spPr>
          <a:xfrm>
            <a:off x="11127959" y="3528559"/>
            <a:ext cx="982761" cy="369332"/>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Administrateur </a:t>
            </a:r>
          </a:p>
          <a:p>
            <a:pPr algn="ctr"/>
            <a:r>
              <a:rPr lang="fr-CA" sz="1200" b="1" dirty="0">
                <a:solidFill>
                  <a:srgbClr val="4B4B4B"/>
                </a:solidFill>
                <a:latin typeface="EYInterstate Light" panose="02000506000000020004" pitchFamily="2" charset="0"/>
              </a:rPr>
              <a:t>décentralisé</a:t>
            </a:r>
          </a:p>
        </p:txBody>
      </p:sp>
      <p:sp>
        <p:nvSpPr>
          <p:cNvPr id="17" name="TextBox 16"/>
          <p:cNvSpPr txBox="1"/>
          <p:nvPr>
            <p:custDataLst>
              <p:tags r:id="rId6"/>
            </p:custDataLst>
          </p:nvPr>
        </p:nvSpPr>
        <p:spPr>
          <a:xfrm>
            <a:off x="8480159" y="5774289"/>
            <a:ext cx="1717154" cy="184666"/>
          </a:xfrm>
          <a:prstGeom prst="rect">
            <a:avLst/>
          </a:prstGeom>
          <a:noFill/>
        </p:spPr>
        <p:txBody>
          <a:bodyPr wrap="square" lIns="0" tIns="0" rIns="0" bIns="0" rtlCol="0" anchor="t" anchorCtr="0">
            <a:spAutoFit/>
          </a:bodyPr>
          <a:lstStyle/>
          <a:p>
            <a:r>
              <a:rPr lang="fr-CA" sz="1200" b="1" dirty="0">
                <a:solidFill>
                  <a:srgbClr val="4B4B4B"/>
                </a:solidFill>
                <a:latin typeface="EYInterstate Light" panose="02000506000000020004" pitchFamily="2" charset="0"/>
              </a:rPr>
              <a:t>Spécialiste des ressources humaines </a:t>
            </a:r>
          </a:p>
        </p:txBody>
      </p:sp>
      <p:sp>
        <p:nvSpPr>
          <p:cNvPr id="18" name="TextBox 17"/>
          <p:cNvSpPr txBox="1"/>
          <p:nvPr>
            <p:custDataLst>
              <p:tags r:id="rId7"/>
            </p:custDataLst>
          </p:nvPr>
        </p:nvSpPr>
        <p:spPr>
          <a:xfrm>
            <a:off x="11127959" y="5781080"/>
            <a:ext cx="982761" cy="553998"/>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Conseiller en rémunération et à la paie</a:t>
            </a:r>
          </a:p>
        </p:txBody>
      </p:sp>
      <p:pic>
        <p:nvPicPr>
          <p:cNvPr id="19" name="Picture 18"/>
          <p:cNvPicPr>
            <a:picLocks/>
          </p:cNvPicPr>
          <p:nvPr>
            <p:custDataLst>
              <p:tags r:id="rId8"/>
            </p:custDataLst>
          </p:nvPr>
        </p:nvPicPr>
        <p:blipFill rotWithShape="1">
          <a:blip r:embed="rId16" cstate="email">
            <a:extLst>
              <a:ext uri="{28A0092B-C50C-407E-A947-70E740481C1C}">
                <a14:useLocalDpi xmlns:a14="http://schemas.microsoft.com/office/drawing/2010/main"/>
              </a:ext>
            </a:extLst>
          </a:blip>
          <a:srcRect/>
          <a:stretch/>
        </p:blipFill>
        <p:spPr>
          <a:xfrm>
            <a:off x="11149426" y="2689767"/>
            <a:ext cx="586850" cy="781035"/>
          </a:xfrm>
          <a:prstGeom prst="rect">
            <a:avLst/>
          </a:prstGeom>
          <a:noFill/>
          <a:ln>
            <a:noFill/>
          </a:ln>
        </p:spPr>
      </p:pic>
      <p:pic>
        <p:nvPicPr>
          <p:cNvPr id="20" name="Picture 19"/>
          <p:cNvPicPr>
            <a:picLocks/>
          </p:cNvPicPr>
          <p:nvPr>
            <p:custDataLst>
              <p:tags r:id="rId9"/>
            </p:custDataLst>
          </p:nvPr>
        </p:nvPicPr>
        <p:blipFill rotWithShape="1">
          <a:blip r:embed="rId17" cstate="email">
            <a:extLst>
              <a:ext uri="{BEBA8EAE-BF5A-486C-A8C5-ECC9F3942E4B}">
                <a14:imgProps xmlns:a14="http://schemas.microsoft.com/office/drawing/2010/main">
                  <a14:imgLayer r:embed="rId18">
                    <a14:imgEffect>
                      <a14:backgroundRemoval t="0" b="98684" l="0" r="100000"/>
                    </a14:imgEffect>
                  </a14:imgLayer>
                </a14:imgProps>
              </a:ext>
              <a:ext uri="{28A0092B-C50C-407E-A947-70E740481C1C}">
                <a14:useLocalDpi xmlns:a14="http://schemas.microsoft.com/office/drawing/2010/main"/>
              </a:ext>
            </a:extLst>
          </a:blip>
          <a:srcRect/>
          <a:stretch/>
        </p:blipFill>
        <p:spPr>
          <a:xfrm>
            <a:off x="9990285" y="3415707"/>
            <a:ext cx="577759" cy="937589"/>
          </a:xfrm>
          <a:prstGeom prst="rect">
            <a:avLst/>
          </a:prstGeom>
          <a:ln>
            <a:noFill/>
          </a:ln>
        </p:spPr>
      </p:pic>
    </p:spTree>
    <p:extLst>
      <p:ext uri="{BB962C8B-B14F-4D97-AF65-F5344CB8AC3E}">
        <p14:creationId xmlns:p14="http://schemas.microsoft.com/office/powerpoint/2010/main" val="1553851923"/>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13381" t="3945" b="23185"/>
          <a:stretch/>
        </p:blipFill>
        <p:spPr>
          <a:xfrm flipH="1">
            <a:off x="0" y="8280"/>
            <a:ext cx="12214680" cy="6858000"/>
          </a:xfrm>
          <a:prstGeom prst="rect">
            <a:avLst/>
          </a:prstGeom>
        </p:spPr>
      </p:pic>
      <p:sp>
        <p:nvSpPr>
          <p:cNvPr id="11" name="Text Box 2"/>
          <p:cNvSpPr txBox="1">
            <a:spLocks noChangeArrowheads="1"/>
          </p:cNvSpPr>
          <p:nvPr/>
        </p:nvSpPr>
        <p:spPr bwMode="auto">
          <a:xfrm rot="5400000">
            <a:off x="5488897" y="33571"/>
            <a:ext cx="6858004" cy="6593561"/>
          </a:xfrm>
          <a:prstGeom prst="rect">
            <a:avLst/>
          </a:prstGeom>
          <a:solidFill>
            <a:srgbClr val="FFFFFF">
              <a:alpha val="85098"/>
            </a:srgbClr>
          </a:solidFill>
          <a:ln w="9525">
            <a:noFill/>
            <a:miter lim="800000"/>
            <a:headEnd/>
            <a:tailEnd/>
          </a:ln>
        </p:spPr>
        <p:txBody>
          <a:bodyPr rot="0" vert="horz" wrap="square" lIns="540000" tIns="0" rIns="540000" bIns="0" anchor="ctr" anchorCtr="0">
            <a:noAutofit/>
          </a:bodyPr>
          <a:lstStyle/>
          <a:p>
            <a:pPr>
              <a:tabLst>
                <a:tab pos="4371975" algn="l"/>
                <a:tab pos="11517313" algn="r"/>
              </a:tabLst>
            </a:pPr>
            <a:endParaRPr lang="en-CA" sz="2400" baseline="8000" dirty="0">
              <a:solidFill>
                <a:srgbClr val="999999"/>
              </a:solidFill>
              <a:effectLst/>
              <a:latin typeface="EYInterstate Light" panose="02000506000000020004" pitchFamily="2" charset="0"/>
              <a:ea typeface="Times New Roman" panose="02020603050405020304" pitchFamily="18" charset="0"/>
              <a:cs typeface="Arial" panose="020B0604020202020204" pitchFamily="34" charset="0"/>
            </a:endParaRPr>
          </a:p>
        </p:txBody>
      </p:sp>
      <p:cxnSp>
        <p:nvCxnSpPr>
          <p:cNvPr id="12" name="Straight Connector 11"/>
          <p:cNvCxnSpPr/>
          <p:nvPr/>
        </p:nvCxnSpPr>
        <p:spPr>
          <a:xfrm rot="5400000" flipH="1">
            <a:off x="2192117" y="3437278"/>
            <a:ext cx="6858004"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7" name="Text Placeholder 5"/>
          <p:cNvSpPr txBox="1">
            <a:spLocks/>
          </p:cNvSpPr>
          <p:nvPr/>
        </p:nvSpPr>
        <p:spPr>
          <a:xfrm>
            <a:off x="6686026" y="2589825"/>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smtClean="0">
                <a:solidFill>
                  <a:srgbClr val="C00000"/>
                </a:solidFill>
                <a:latin typeface="EYInterstate Light" panose="02000506000000020004" pitchFamily="2" charset="0"/>
              </a:rPr>
              <a:t>Introductions / </a:t>
            </a:r>
            <a:r>
              <a:rPr lang="fr-CA" b="1" dirty="0" smtClean="0">
                <a:solidFill>
                  <a:srgbClr val="C00000"/>
                </a:solidFill>
                <a:latin typeface="EYInterstate Light" panose="02000506000000020004" pitchFamily="2" charset="0"/>
              </a:rPr>
              <a:t>objectifs</a:t>
            </a:r>
            <a:r>
              <a:rPr lang="en-US" b="1" dirty="0" smtClean="0">
                <a:solidFill>
                  <a:srgbClr val="C00000"/>
                </a:solidFill>
                <a:latin typeface="EYInterstate Light" panose="02000506000000020004" pitchFamily="2" charset="0"/>
              </a:rPr>
              <a:t> de </a:t>
            </a:r>
            <a:r>
              <a:rPr lang="fr-CA" b="1" dirty="0" smtClean="0">
                <a:solidFill>
                  <a:srgbClr val="C00000"/>
                </a:solidFill>
                <a:latin typeface="EYInterstate Light" panose="02000506000000020004" pitchFamily="2" charset="0"/>
              </a:rPr>
              <a:t>l’atelier</a:t>
            </a:r>
          </a:p>
          <a:p>
            <a:r>
              <a:rPr lang="en-US" dirty="0" smtClean="0">
                <a:solidFill>
                  <a:schemeClr val="tx1"/>
                </a:solidFill>
                <a:latin typeface="EYInterstate Light" panose="02000506000000020004" pitchFamily="2" charset="0"/>
              </a:rPr>
              <a:t>9h05 </a:t>
            </a:r>
            <a:r>
              <a:rPr lang="en-US" dirty="0">
                <a:solidFill>
                  <a:schemeClr val="tx1"/>
                </a:solidFill>
                <a:latin typeface="EYInterstate Light" panose="02000506000000020004" pitchFamily="2" charset="0"/>
              </a:rPr>
              <a:t>à </a:t>
            </a:r>
            <a:r>
              <a:rPr lang="en-US" dirty="0" smtClean="0">
                <a:solidFill>
                  <a:schemeClr val="tx1"/>
                </a:solidFill>
                <a:latin typeface="EYInterstate Light" panose="02000506000000020004" pitchFamily="2" charset="0"/>
              </a:rPr>
              <a:t>9h15 </a:t>
            </a:r>
            <a:r>
              <a:rPr lang="en-US" dirty="0">
                <a:solidFill>
                  <a:schemeClr val="tx1"/>
                </a:solidFill>
                <a:latin typeface="EYInterstate Light" panose="02000506000000020004" pitchFamily="2" charset="0"/>
              </a:rPr>
              <a:t>| Kirsten Tisdale </a:t>
            </a:r>
          </a:p>
        </p:txBody>
      </p:sp>
      <p:sp>
        <p:nvSpPr>
          <p:cNvPr id="18" name="Text Placeholder 5"/>
          <p:cNvSpPr txBox="1">
            <a:spLocks/>
          </p:cNvSpPr>
          <p:nvPr/>
        </p:nvSpPr>
        <p:spPr>
          <a:xfrm>
            <a:off x="6239483" y="2660365"/>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rgbClr val="4B4B4B"/>
                </a:solidFill>
                <a:latin typeface="EYInterstate Light" panose="02000506000000020004" pitchFamily="2" charset="0"/>
              </a:rPr>
              <a:t>2</a:t>
            </a:r>
            <a:endParaRPr lang="en-US" dirty="0">
              <a:solidFill>
                <a:srgbClr val="4B4B4B"/>
              </a:solidFill>
              <a:latin typeface="EYInterstate Light" panose="02000506000000020004" pitchFamily="2" charset="0"/>
            </a:endParaRPr>
          </a:p>
        </p:txBody>
      </p:sp>
      <p:sp>
        <p:nvSpPr>
          <p:cNvPr id="19" name="Text Placeholder 5"/>
          <p:cNvSpPr txBox="1">
            <a:spLocks/>
          </p:cNvSpPr>
          <p:nvPr/>
        </p:nvSpPr>
        <p:spPr>
          <a:xfrm>
            <a:off x="6685417" y="3032996"/>
            <a:ext cx="4816597" cy="683264"/>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1" dirty="0" smtClean="0">
                <a:solidFill>
                  <a:srgbClr val="C00000"/>
                </a:solidFill>
                <a:latin typeface="EYInterstate Light" panose="02000506000000020004" pitchFamily="2" charset="0"/>
              </a:rPr>
              <a:t>Revue de </a:t>
            </a:r>
            <a:r>
              <a:rPr lang="en-CA" b="1" dirty="0" err="1" smtClean="0">
                <a:solidFill>
                  <a:srgbClr val="C00000"/>
                </a:solidFill>
                <a:latin typeface="EYInterstate Light" panose="02000506000000020004" pitchFamily="2" charset="0"/>
              </a:rPr>
              <a:t>l’énoncé</a:t>
            </a:r>
            <a:r>
              <a:rPr lang="en-CA" b="1" dirty="0" smtClean="0">
                <a:solidFill>
                  <a:srgbClr val="C00000"/>
                </a:solidFill>
                <a:latin typeface="EYInterstate Light" panose="02000506000000020004" pitchFamily="2" charset="0"/>
              </a:rPr>
              <a:t> et </a:t>
            </a:r>
            <a:r>
              <a:rPr lang="fr-CA" b="1" dirty="0" smtClean="0">
                <a:solidFill>
                  <a:srgbClr val="C00000"/>
                </a:solidFill>
                <a:latin typeface="EYInterstate Light" panose="02000506000000020004" pitchFamily="2" charset="0"/>
              </a:rPr>
              <a:t>principes</a:t>
            </a:r>
            <a:r>
              <a:rPr lang="en-CA" b="1" dirty="0" smtClean="0">
                <a:solidFill>
                  <a:srgbClr val="C00000"/>
                </a:solidFill>
                <a:latin typeface="EYInterstate Light" panose="02000506000000020004" pitchFamily="2" charset="0"/>
              </a:rPr>
              <a:t> </a:t>
            </a:r>
            <a:r>
              <a:rPr lang="fr-CA" b="1" dirty="0" smtClean="0">
                <a:solidFill>
                  <a:srgbClr val="C00000"/>
                </a:solidFill>
                <a:latin typeface="EYInterstate Light" panose="02000506000000020004" pitchFamily="2" charset="0"/>
              </a:rPr>
              <a:t>directeurs</a:t>
            </a:r>
            <a:r>
              <a:rPr lang="en-CA" b="1" dirty="0" smtClean="0">
                <a:solidFill>
                  <a:srgbClr val="C00000"/>
                </a:solidFill>
                <a:latin typeface="EYInterstate Light" panose="02000506000000020004" pitchFamily="2" charset="0"/>
              </a:rPr>
              <a:t> du government du Canada </a:t>
            </a:r>
          </a:p>
          <a:p>
            <a:r>
              <a:rPr lang="en-US" dirty="0" smtClean="0">
                <a:solidFill>
                  <a:schemeClr val="tx1"/>
                </a:solidFill>
                <a:latin typeface="EYInterstate Light" panose="02000506000000020004" pitchFamily="2" charset="0"/>
              </a:rPr>
              <a:t>9h15 à 9h45 | </a:t>
            </a:r>
            <a:r>
              <a:rPr lang="en-US" dirty="0">
                <a:solidFill>
                  <a:schemeClr val="tx1"/>
                </a:solidFill>
                <a:latin typeface="EYInterstate Light" panose="02000506000000020004" pitchFamily="2" charset="0"/>
              </a:rPr>
              <a:t>Warren Tomlin </a:t>
            </a:r>
            <a:r>
              <a:rPr lang="en-US" dirty="0" smtClean="0">
                <a:solidFill>
                  <a:schemeClr val="tx1"/>
                </a:solidFill>
                <a:latin typeface="EYInterstate Light" panose="02000506000000020004" pitchFamily="2" charset="0"/>
              </a:rPr>
              <a:t>et </a:t>
            </a:r>
            <a:r>
              <a:rPr lang="en-US" dirty="0">
                <a:solidFill>
                  <a:schemeClr val="tx1"/>
                </a:solidFill>
                <a:latin typeface="EYInterstate Light" panose="02000506000000020004" pitchFamily="2" charset="0"/>
              </a:rPr>
              <a:t>Paul Tucker</a:t>
            </a:r>
          </a:p>
        </p:txBody>
      </p:sp>
      <p:sp>
        <p:nvSpPr>
          <p:cNvPr id="20" name="Text Placeholder 5"/>
          <p:cNvSpPr txBox="1">
            <a:spLocks/>
          </p:cNvSpPr>
          <p:nvPr/>
        </p:nvSpPr>
        <p:spPr>
          <a:xfrm>
            <a:off x="6238875" y="3168797"/>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3</a:t>
            </a:r>
          </a:p>
        </p:txBody>
      </p:sp>
      <p:sp>
        <p:nvSpPr>
          <p:cNvPr id="22" name="Text Placeholder 5"/>
          <p:cNvSpPr txBox="1">
            <a:spLocks/>
          </p:cNvSpPr>
          <p:nvPr/>
        </p:nvSpPr>
        <p:spPr>
          <a:xfrm>
            <a:off x="6227519" y="3670029"/>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4</a:t>
            </a:r>
          </a:p>
        </p:txBody>
      </p:sp>
      <p:sp>
        <p:nvSpPr>
          <p:cNvPr id="27" name="Text Placeholder 5"/>
          <p:cNvSpPr txBox="1">
            <a:spLocks/>
          </p:cNvSpPr>
          <p:nvPr/>
        </p:nvSpPr>
        <p:spPr>
          <a:xfrm>
            <a:off x="6235685" y="4545010"/>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rgbClr val="4B4B4B"/>
                </a:solidFill>
                <a:latin typeface="EYInterstate Light" panose="02000506000000020004" pitchFamily="2" charset="0"/>
              </a:rPr>
              <a:t>5</a:t>
            </a:r>
            <a:endParaRPr lang="en-US" dirty="0">
              <a:solidFill>
                <a:srgbClr val="4B4B4B"/>
              </a:solidFill>
              <a:latin typeface="EYInterstate Light" panose="02000506000000020004" pitchFamily="2" charset="0"/>
            </a:endParaRPr>
          </a:p>
        </p:txBody>
      </p:sp>
      <p:sp>
        <p:nvSpPr>
          <p:cNvPr id="30" name="Text Placeholder 5"/>
          <p:cNvSpPr txBox="1">
            <a:spLocks/>
          </p:cNvSpPr>
          <p:nvPr/>
        </p:nvSpPr>
        <p:spPr>
          <a:xfrm>
            <a:off x="6686026" y="5850445"/>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rgbClr val="C00000"/>
                </a:solidFill>
                <a:latin typeface="EYInterstate Light" panose="02000506000000020004" pitchFamily="2" charset="0"/>
              </a:rPr>
              <a:t>Conclusion</a:t>
            </a:r>
          </a:p>
          <a:p>
            <a:r>
              <a:rPr lang="en-US" dirty="0">
                <a:solidFill>
                  <a:schemeClr val="tx1"/>
                </a:solidFill>
                <a:latin typeface="EYInterstate Light" panose="02000506000000020004" pitchFamily="2" charset="0"/>
              </a:rPr>
              <a:t>12h45 à </a:t>
            </a:r>
            <a:r>
              <a:rPr lang="en-US" dirty="0" smtClean="0">
                <a:solidFill>
                  <a:schemeClr val="tx1"/>
                </a:solidFill>
                <a:latin typeface="EYInterstate Light" panose="02000506000000020004" pitchFamily="2" charset="0"/>
              </a:rPr>
              <a:t>13h00</a:t>
            </a:r>
            <a:r>
              <a:rPr lang="en-US" dirty="0">
                <a:solidFill>
                  <a:schemeClr val="tx1"/>
                </a:solidFill>
                <a:latin typeface="EYInterstate Light" panose="02000506000000020004" pitchFamily="2" charset="0"/>
              </a:rPr>
              <a:t> | Kirsten </a:t>
            </a:r>
            <a:r>
              <a:rPr lang="en-US" dirty="0" smtClean="0">
                <a:solidFill>
                  <a:schemeClr val="tx1"/>
                </a:solidFill>
                <a:latin typeface="EYInterstate Light" panose="02000506000000020004" pitchFamily="2" charset="0"/>
              </a:rPr>
              <a:t>Tisdale</a:t>
            </a:r>
            <a:r>
              <a:rPr lang="en-US" dirty="0">
                <a:solidFill>
                  <a:schemeClr val="tx1"/>
                </a:solidFill>
                <a:latin typeface="EYInterstate Light" panose="02000506000000020004" pitchFamily="2" charset="0"/>
              </a:rPr>
              <a:t> </a:t>
            </a:r>
          </a:p>
        </p:txBody>
      </p:sp>
      <p:cxnSp>
        <p:nvCxnSpPr>
          <p:cNvPr id="32" name="Straight Connector 31"/>
          <p:cNvCxnSpPr/>
          <p:nvPr/>
        </p:nvCxnSpPr>
        <p:spPr>
          <a:xfrm>
            <a:off x="6626205" y="1572605"/>
            <a:ext cx="0" cy="4793026"/>
          </a:xfrm>
          <a:prstGeom prst="line">
            <a:avLst/>
          </a:prstGeom>
          <a:ln>
            <a:solidFill>
              <a:srgbClr val="969696"/>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5"/>
          <p:cNvSpPr txBox="1">
            <a:spLocks/>
          </p:cNvSpPr>
          <p:nvPr/>
        </p:nvSpPr>
        <p:spPr>
          <a:xfrm>
            <a:off x="6227519" y="5408864"/>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6</a:t>
            </a:r>
          </a:p>
        </p:txBody>
      </p:sp>
      <p:sp>
        <p:nvSpPr>
          <p:cNvPr id="43" name="TextBox 42"/>
          <p:cNvSpPr txBox="1"/>
          <p:nvPr/>
        </p:nvSpPr>
        <p:spPr>
          <a:xfrm>
            <a:off x="6235684" y="659554"/>
            <a:ext cx="5006554" cy="400110"/>
          </a:xfrm>
          <a:prstGeom prst="rect">
            <a:avLst/>
          </a:prstGeom>
          <a:noFill/>
        </p:spPr>
        <p:txBody>
          <a:bodyPr wrap="square" lIns="0" tIns="0" rIns="0" bIns="0" rtlCol="0" anchor="t" anchorCtr="0">
            <a:spAutoFit/>
          </a:bodyPr>
          <a:lstStyle/>
          <a:p>
            <a:r>
              <a:rPr lang="fr-CA" sz="2600" dirty="0" smtClean="0">
                <a:solidFill>
                  <a:srgbClr val="4B4B4B"/>
                </a:solidFill>
                <a:latin typeface="EYInterstate Light" panose="02000506000000020004" pitchFamily="2" charset="0"/>
              </a:rPr>
              <a:t>Ordre</a:t>
            </a:r>
            <a:r>
              <a:rPr lang="en-GB" sz="2600" dirty="0" smtClean="0">
                <a:solidFill>
                  <a:srgbClr val="4B4B4B"/>
                </a:solidFill>
                <a:latin typeface="EYInterstate Light" panose="02000506000000020004" pitchFamily="2" charset="0"/>
              </a:rPr>
              <a:t> du jour – le 20 </a:t>
            </a:r>
            <a:r>
              <a:rPr lang="fr-CA" sz="2600" dirty="0" smtClean="0">
                <a:solidFill>
                  <a:srgbClr val="4B4B4B"/>
                </a:solidFill>
                <a:latin typeface="EYInterstate Light" panose="02000506000000020004" pitchFamily="2" charset="0"/>
              </a:rPr>
              <a:t>septembre</a:t>
            </a:r>
            <a:r>
              <a:rPr lang="en-GB" sz="2600" dirty="0" smtClean="0">
                <a:solidFill>
                  <a:srgbClr val="4B4B4B"/>
                </a:solidFill>
                <a:latin typeface="EYInterstate Light" panose="02000506000000020004" pitchFamily="2" charset="0"/>
              </a:rPr>
              <a:t>  </a:t>
            </a:r>
            <a:endParaRPr lang="en-GB" sz="2600" dirty="0">
              <a:solidFill>
                <a:srgbClr val="4B4B4B"/>
              </a:solidFill>
              <a:latin typeface="EYInterstate Light" panose="02000506000000020004" pitchFamily="2" charset="0"/>
            </a:endParaRPr>
          </a:p>
        </p:txBody>
      </p:sp>
      <p:cxnSp>
        <p:nvCxnSpPr>
          <p:cNvPr id="44" name="Straight Connector 43"/>
          <p:cNvCxnSpPr/>
          <p:nvPr/>
        </p:nvCxnSpPr>
        <p:spPr>
          <a:xfrm>
            <a:off x="6235685"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17454" y="4126180"/>
            <a:ext cx="169872" cy="309152"/>
          </a:xfrm>
          <a:prstGeom prst="rect">
            <a:avLst/>
          </a:prstGeom>
        </p:spPr>
      </p:pic>
      <p:pic>
        <p:nvPicPr>
          <p:cNvPr id="36" name="Picture 35"/>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26229" y="1740496"/>
            <a:ext cx="169872" cy="309152"/>
          </a:xfrm>
          <a:prstGeom prst="rect">
            <a:avLst/>
          </a:prstGeom>
        </p:spPr>
      </p:pic>
      <p:sp>
        <p:nvSpPr>
          <p:cNvPr id="37" name="Text Placeholder 5"/>
          <p:cNvSpPr txBox="1">
            <a:spLocks/>
          </p:cNvSpPr>
          <p:nvPr/>
        </p:nvSpPr>
        <p:spPr>
          <a:xfrm>
            <a:off x="6686026" y="1645620"/>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b="1" dirty="0" smtClean="0">
                <a:solidFill>
                  <a:srgbClr val="C00000"/>
                </a:solidFill>
                <a:latin typeface="EYInterstate Light" panose="02000506000000020004" pitchFamily="2" charset="0"/>
              </a:rPr>
              <a:t>Arrivée</a:t>
            </a:r>
            <a:r>
              <a:rPr lang="en-CA" b="1" dirty="0" smtClean="0">
                <a:solidFill>
                  <a:srgbClr val="C00000"/>
                </a:solidFill>
                <a:latin typeface="EYInterstate Light" panose="02000506000000020004" pitchFamily="2" charset="0"/>
              </a:rPr>
              <a:t> et </a:t>
            </a:r>
            <a:r>
              <a:rPr lang="fr-CA" b="1" dirty="0" smtClean="0">
                <a:solidFill>
                  <a:srgbClr val="C00000"/>
                </a:solidFill>
                <a:latin typeface="EYInterstate Light" panose="02000506000000020004" pitchFamily="2" charset="0"/>
              </a:rPr>
              <a:t>rafraîchissements</a:t>
            </a:r>
          </a:p>
          <a:p>
            <a:r>
              <a:rPr lang="en-US" dirty="0" smtClean="0">
                <a:solidFill>
                  <a:schemeClr val="tx1"/>
                </a:solidFill>
                <a:latin typeface="EYInterstate Light" panose="02000506000000020004" pitchFamily="2" charset="0"/>
              </a:rPr>
              <a:t>8h30 à 9h</a:t>
            </a:r>
            <a:endParaRPr lang="en-CA" b="1" dirty="0">
              <a:solidFill>
                <a:schemeClr val="tx1"/>
              </a:solidFill>
              <a:latin typeface="EYInterstate Light" panose="02000506000000020004" pitchFamily="2" charset="0"/>
            </a:endParaRPr>
          </a:p>
        </p:txBody>
      </p:sp>
      <p:pic>
        <p:nvPicPr>
          <p:cNvPr id="45" name="Picture 44"/>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17454" y="5006323"/>
            <a:ext cx="169872" cy="309152"/>
          </a:xfrm>
          <a:prstGeom prst="rect">
            <a:avLst/>
          </a:prstGeom>
        </p:spPr>
      </p:pic>
      <p:sp>
        <p:nvSpPr>
          <p:cNvPr id="46" name="Text Placeholder 5"/>
          <p:cNvSpPr txBox="1">
            <a:spLocks/>
          </p:cNvSpPr>
          <p:nvPr/>
        </p:nvSpPr>
        <p:spPr>
          <a:xfrm>
            <a:off x="6235685" y="5929523"/>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rgbClr val="4B4B4B"/>
                </a:solidFill>
                <a:latin typeface="EYInterstate Light" panose="02000506000000020004" pitchFamily="2" charset="0"/>
              </a:rPr>
              <a:t>7</a:t>
            </a:r>
            <a:endParaRPr lang="en-US" dirty="0">
              <a:solidFill>
                <a:srgbClr val="4B4B4B"/>
              </a:solidFill>
              <a:latin typeface="EYInterstate Light" panose="02000506000000020004" pitchFamily="2" charset="0"/>
            </a:endParaRPr>
          </a:p>
        </p:txBody>
      </p:sp>
      <p:sp>
        <p:nvSpPr>
          <p:cNvPr id="31" name="Text Placeholder 5"/>
          <p:cNvSpPr txBox="1">
            <a:spLocks/>
          </p:cNvSpPr>
          <p:nvPr/>
        </p:nvSpPr>
        <p:spPr>
          <a:xfrm>
            <a:off x="6246458" y="2162040"/>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1</a:t>
            </a:r>
          </a:p>
        </p:txBody>
      </p:sp>
      <p:sp>
        <p:nvSpPr>
          <p:cNvPr id="39" name="Text Placeholder 5"/>
          <p:cNvSpPr txBox="1">
            <a:spLocks/>
          </p:cNvSpPr>
          <p:nvPr/>
        </p:nvSpPr>
        <p:spPr>
          <a:xfrm>
            <a:off x="6685417" y="2132462"/>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b="1" dirty="0" err="1" smtClean="0">
                <a:solidFill>
                  <a:srgbClr val="C00000"/>
                </a:solidFill>
                <a:latin typeface="EYInterstate Light" panose="02000506000000020004" pitchFamily="2" charset="0"/>
              </a:rPr>
              <a:t>Môt</a:t>
            </a:r>
            <a:r>
              <a:rPr lang="fr-CA" b="1" dirty="0" smtClean="0">
                <a:solidFill>
                  <a:srgbClr val="C00000"/>
                </a:solidFill>
                <a:latin typeface="EYInterstate Light" panose="02000506000000020004" pitchFamily="2" charset="0"/>
              </a:rPr>
              <a:t> de bienvenue</a:t>
            </a:r>
          </a:p>
          <a:p>
            <a:r>
              <a:rPr lang="en-US" dirty="0" smtClean="0">
                <a:solidFill>
                  <a:schemeClr val="tx1"/>
                </a:solidFill>
                <a:latin typeface="EYInterstate Light" panose="02000506000000020004" pitchFamily="2" charset="0"/>
              </a:rPr>
              <a:t>9h </a:t>
            </a:r>
            <a:r>
              <a:rPr lang="en-US" dirty="0">
                <a:solidFill>
                  <a:schemeClr val="tx1"/>
                </a:solidFill>
                <a:latin typeface="EYInterstate Light" panose="02000506000000020004" pitchFamily="2" charset="0"/>
              </a:rPr>
              <a:t>à </a:t>
            </a:r>
            <a:r>
              <a:rPr lang="en-US" dirty="0" smtClean="0">
                <a:solidFill>
                  <a:schemeClr val="tx1"/>
                </a:solidFill>
                <a:latin typeface="EYInterstate Light" panose="02000506000000020004" pitchFamily="2" charset="0"/>
              </a:rPr>
              <a:t>9h05 </a:t>
            </a:r>
            <a:r>
              <a:rPr lang="en-US" dirty="0">
                <a:solidFill>
                  <a:schemeClr val="tx1"/>
                </a:solidFill>
                <a:latin typeface="EYInterstate Light" panose="02000506000000020004" pitchFamily="2" charset="0"/>
              </a:rPr>
              <a:t>| Kirsten Tisdale </a:t>
            </a:r>
          </a:p>
        </p:txBody>
      </p:sp>
      <p:sp>
        <p:nvSpPr>
          <p:cNvPr id="35" name="TextBox 1"/>
          <p:cNvSpPr txBox="1"/>
          <p:nvPr/>
        </p:nvSpPr>
        <p:spPr>
          <a:xfrm>
            <a:off x="126454" y="1097624"/>
            <a:ext cx="5165657" cy="1785104"/>
          </a:xfrm>
          <a:prstGeom prst="rect">
            <a:avLst/>
          </a:prstGeom>
          <a:noFill/>
        </p:spPr>
        <p:txBody>
          <a:bodyPr wrap="square" lIns="0" tIns="0" rIns="0" bIns="0" rtlCol="0" anchor="t" anchorCtr="0">
            <a:spAutoFit/>
          </a:bodyPr>
          <a:lstStyle/>
          <a:p>
            <a:r>
              <a:rPr lang="fr-CA" sz="3200" dirty="0" smtClean="0">
                <a:solidFill>
                  <a:schemeClr val="tx2"/>
                </a:solidFill>
                <a:latin typeface="Futura Std Book" panose="020B0802020204020204" pitchFamily="34" charset="0"/>
              </a:rPr>
              <a:t>Projet</a:t>
            </a:r>
            <a:r>
              <a:rPr lang="en-GB" sz="3200" dirty="0" smtClean="0">
                <a:solidFill>
                  <a:schemeClr val="tx2"/>
                </a:solidFill>
                <a:latin typeface="Futura Std Book" panose="020B0802020204020204" pitchFamily="34" charset="0"/>
              </a:rPr>
              <a:t> RH et </a:t>
            </a:r>
            <a:r>
              <a:rPr lang="fr-CA" sz="3200" dirty="0" smtClean="0">
                <a:solidFill>
                  <a:schemeClr val="tx2"/>
                </a:solidFill>
                <a:latin typeface="Futura Std Book" panose="020B0802020204020204" pitchFamily="34" charset="0"/>
              </a:rPr>
              <a:t>paye</a:t>
            </a:r>
            <a:r>
              <a:rPr lang="en-GB" sz="3200" dirty="0">
                <a:solidFill>
                  <a:schemeClr val="tx2"/>
                </a:solidFill>
                <a:latin typeface="Futura Std Book" panose="020B0802020204020204" pitchFamily="34" charset="0"/>
              </a:rPr>
              <a:t> Polaris </a:t>
            </a:r>
            <a:r>
              <a:rPr lang="en-GB" sz="3200" dirty="0" smtClean="0">
                <a:solidFill>
                  <a:schemeClr val="tx2"/>
                </a:solidFill>
                <a:latin typeface="Futura Std Book" panose="020B0802020204020204" pitchFamily="34" charset="0"/>
              </a:rPr>
              <a:t>Atelier de travail</a:t>
            </a:r>
          </a:p>
          <a:p>
            <a:endParaRPr lang="en-GB" sz="2000" b="1" dirty="0">
              <a:solidFill>
                <a:schemeClr val="tx2"/>
              </a:solidFill>
              <a:latin typeface="Futura Std Book" panose="020B0802020204020204" pitchFamily="34" charset="0"/>
            </a:endParaRPr>
          </a:p>
          <a:p>
            <a:r>
              <a:rPr lang="fr-CA" sz="2000" b="1" dirty="0" smtClean="0">
                <a:solidFill>
                  <a:schemeClr val="tx2"/>
                </a:solidFill>
                <a:latin typeface="Futura Std Book" panose="020B0802020204020204" pitchFamily="34" charset="0"/>
              </a:rPr>
              <a:t>Gouvernement</a:t>
            </a:r>
            <a:r>
              <a:rPr lang="en-GB" sz="2000" b="1" dirty="0" smtClean="0">
                <a:solidFill>
                  <a:schemeClr val="tx2"/>
                </a:solidFill>
                <a:latin typeface="Futura Std Book" panose="020B0802020204020204" pitchFamily="34" charset="0"/>
              </a:rPr>
              <a:t> du Canada </a:t>
            </a:r>
            <a:r>
              <a:rPr lang="en-GB" sz="3200" b="1" dirty="0" smtClean="0">
                <a:solidFill>
                  <a:schemeClr val="tx2"/>
                </a:solidFill>
                <a:latin typeface="Futura Std Book" panose="020B0802020204020204" pitchFamily="34" charset="0"/>
              </a:rPr>
              <a:t> </a:t>
            </a:r>
            <a:endParaRPr lang="en-GB" sz="3200" b="1" dirty="0">
              <a:solidFill>
                <a:schemeClr val="tx2"/>
              </a:solidFill>
              <a:latin typeface="Futura Std Book" panose="020B0802020204020204" pitchFamily="34" charset="0"/>
            </a:endParaRPr>
          </a:p>
        </p:txBody>
      </p:sp>
      <p:sp>
        <p:nvSpPr>
          <p:cNvPr id="29" name="Text Placeholder 5"/>
          <p:cNvSpPr txBox="1">
            <a:spLocks/>
          </p:cNvSpPr>
          <p:nvPr/>
        </p:nvSpPr>
        <p:spPr>
          <a:xfrm>
            <a:off x="6703685" y="3679946"/>
            <a:ext cx="4816475" cy="461665"/>
          </a:xfrm>
          <a:prstGeom prst="rect">
            <a:avLst/>
          </a:prstGeom>
        </p:spPr>
        <p:txBody>
          <a:bodyPr wrap="square" anchor="ctr">
            <a:spAutoFit/>
          </a:bodyPr>
          <a:lstStyle/>
          <a:p>
            <a:pPr>
              <a:spcAft>
                <a:spcPts val="0"/>
              </a:spcAft>
            </a:pPr>
            <a:r>
              <a:rPr lang="fr-CA" sz="1200" b="1" kern="1200" dirty="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Aperçus et tendances de RH et paye </a:t>
            </a:r>
            <a:endParaRPr lang="en-CA" sz="1000" dirty="0">
              <a:effectLst/>
              <a:latin typeface="EYInterstate Light" panose="02000506000000020004" pitchFamily="2" charset="0"/>
              <a:ea typeface="Times New Roman" panose="02020603050405020304" pitchFamily="18" charset="0"/>
            </a:endParaRPr>
          </a:p>
          <a:p>
            <a:pPr>
              <a:spcAft>
                <a:spcPts val="0"/>
              </a:spcAft>
            </a:pPr>
            <a:r>
              <a:rPr lang="en-US" sz="1200" kern="1200" dirty="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9h45 </a:t>
            </a:r>
            <a:r>
              <a:rPr lang="fr-CA" sz="1200" kern="1200" dirty="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à </a:t>
            </a:r>
            <a:r>
              <a:rPr lang="en-US" sz="1200" kern="1200" dirty="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10h15 | Paul Tucker</a:t>
            </a:r>
            <a:endParaRPr lang="en-CA" sz="1000" dirty="0">
              <a:effectLst/>
              <a:latin typeface="EYInterstate Light" panose="02000506000000020004" pitchFamily="2" charset="0"/>
              <a:ea typeface="Times New Roman" panose="02020603050405020304" pitchFamily="18" charset="0"/>
            </a:endParaRPr>
          </a:p>
        </p:txBody>
      </p:sp>
      <p:sp>
        <p:nvSpPr>
          <p:cNvPr id="40" name="Text Placeholder 5"/>
          <p:cNvSpPr txBox="1">
            <a:spLocks/>
          </p:cNvSpPr>
          <p:nvPr/>
        </p:nvSpPr>
        <p:spPr>
          <a:xfrm>
            <a:off x="6697334" y="4166028"/>
            <a:ext cx="4816475" cy="276999"/>
          </a:xfrm>
          <a:prstGeom prst="rect">
            <a:avLst/>
          </a:prstGeom>
        </p:spPr>
        <p:txBody>
          <a:bodyPr wrap="square" anchor="ctr">
            <a:spAutoFit/>
          </a:bodyPr>
          <a:lstStyle/>
          <a:p>
            <a:pPr>
              <a:spcAft>
                <a:spcPts val="0"/>
              </a:spcAft>
            </a:pPr>
            <a:r>
              <a:rPr lang="fr-CA" sz="1200" b="1" kern="1200" dirty="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Pause (15 </a:t>
            </a:r>
            <a:r>
              <a:rPr lang="fr-CA" sz="1200" b="1" kern="1200" dirty="0" smtClean="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minutes) : </a:t>
            </a:r>
            <a:r>
              <a:rPr lang="fr-CA" sz="1200" b="1" kern="1200" dirty="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Des rafraîchissements seront </a:t>
            </a:r>
            <a:r>
              <a:rPr lang="fr-CA" sz="1200" b="1" kern="1200" dirty="0" smtClean="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servis</a:t>
            </a:r>
            <a:endParaRPr lang="en-CA" sz="1000" b="1" dirty="0">
              <a:effectLst/>
              <a:latin typeface="EYInterstate Light" panose="02000506000000020004" pitchFamily="2" charset="0"/>
              <a:ea typeface="Times New Roman" panose="02020603050405020304" pitchFamily="18" charset="0"/>
            </a:endParaRPr>
          </a:p>
        </p:txBody>
      </p:sp>
      <p:sp>
        <p:nvSpPr>
          <p:cNvPr id="41" name="Text Placeholder 5"/>
          <p:cNvSpPr txBox="1">
            <a:spLocks/>
          </p:cNvSpPr>
          <p:nvPr/>
        </p:nvSpPr>
        <p:spPr>
          <a:xfrm>
            <a:off x="6697332" y="4518406"/>
            <a:ext cx="4816475" cy="461665"/>
          </a:xfrm>
          <a:prstGeom prst="rect">
            <a:avLst/>
          </a:prstGeom>
        </p:spPr>
        <p:txBody>
          <a:bodyPr wrap="square" anchor="ctr">
            <a:spAutoFit/>
          </a:bodyPr>
          <a:lstStyle/>
          <a:p>
            <a:pPr>
              <a:spcAft>
                <a:spcPts val="0"/>
              </a:spcAft>
            </a:pPr>
            <a:r>
              <a:rPr lang="fr-CA" sz="1200" b="1" kern="1200" dirty="0" smtClean="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Activités </a:t>
            </a:r>
            <a:r>
              <a:rPr lang="fr-CA" sz="1200" b="1" kern="1200" dirty="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no.1 et no.2 : </a:t>
            </a:r>
            <a:r>
              <a:rPr lang="fr-CA" sz="1200" b="1" kern="1200" dirty="0" smtClean="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Processus de paye : défis et opportunités</a:t>
            </a:r>
            <a:endParaRPr lang="en-CA" sz="1200" dirty="0">
              <a:effectLst/>
              <a:latin typeface="EYInterstate Light" panose="02000506000000020004" pitchFamily="2" charset="0"/>
              <a:ea typeface="Times New Roman" panose="02020603050405020304" pitchFamily="18" charset="0"/>
            </a:endParaRPr>
          </a:p>
          <a:p>
            <a:pPr>
              <a:spcAft>
                <a:spcPts val="0"/>
              </a:spcAft>
            </a:pPr>
            <a:r>
              <a:rPr lang="fr-CA" sz="1200" kern="1200" dirty="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10h30 à </a:t>
            </a:r>
            <a:r>
              <a:rPr lang="fr-CA" sz="1200" kern="1200" dirty="0" smtClean="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11h30 | </a:t>
            </a:r>
            <a:r>
              <a:rPr lang="fr-CA" sz="1200" kern="1200" dirty="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Paul </a:t>
            </a:r>
            <a:r>
              <a:rPr lang="fr-CA" sz="1200" kern="1200" dirty="0" smtClean="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Tucker, </a:t>
            </a:r>
            <a:r>
              <a:rPr lang="fr-CA" sz="1200" kern="1200" dirty="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Atir Syed et Tracey De Angelis </a:t>
            </a:r>
            <a:endParaRPr lang="en-CA" sz="1200" dirty="0">
              <a:effectLst/>
              <a:latin typeface="EYInterstate Light" panose="02000506000000020004" pitchFamily="2" charset="0"/>
              <a:ea typeface="Times New Roman" panose="02020603050405020304" pitchFamily="18" charset="0"/>
            </a:endParaRPr>
          </a:p>
        </p:txBody>
      </p:sp>
      <p:sp>
        <p:nvSpPr>
          <p:cNvPr id="47" name="Text Placeholder 5"/>
          <p:cNvSpPr txBox="1">
            <a:spLocks/>
          </p:cNvSpPr>
          <p:nvPr/>
        </p:nvSpPr>
        <p:spPr>
          <a:xfrm>
            <a:off x="6697331" y="5348928"/>
            <a:ext cx="4816475" cy="461665"/>
          </a:xfrm>
          <a:prstGeom prst="rect">
            <a:avLst/>
          </a:prstGeom>
        </p:spPr>
        <p:txBody>
          <a:bodyPr wrap="square" anchor="ctr">
            <a:spAutoFit/>
          </a:bodyPr>
          <a:lstStyle/>
          <a:p>
            <a:pPr>
              <a:spcAft>
                <a:spcPts val="0"/>
              </a:spcAft>
            </a:pPr>
            <a:r>
              <a:rPr lang="fr-CA" sz="1200" b="1" kern="1200" dirty="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Activité </a:t>
            </a:r>
            <a:r>
              <a:rPr lang="fr-CA" sz="1200" b="1" kern="1200" dirty="0" smtClean="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no.3 : </a:t>
            </a:r>
            <a:r>
              <a:rPr lang="fr-CA" sz="1200" b="1" kern="1200" dirty="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Processus </a:t>
            </a:r>
            <a:r>
              <a:rPr lang="fr-CA" sz="1200" b="1" kern="1200" dirty="0" smtClean="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défis et opportunités</a:t>
            </a:r>
          </a:p>
          <a:p>
            <a:pPr>
              <a:spcAft>
                <a:spcPts val="0"/>
              </a:spcAft>
            </a:pPr>
            <a:r>
              <a:rPr lang="en-US" sz="1200" kern="1200" dirty="0" smtClean="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12h15 </a:t>
            </a:r>
            <a:r>
              <a:rPr lang="fr-CA" sz="1200" dirty="0">
                <a:solidFill>
                  <a:srgbClr val="000000"/>
                </a:solidFill>
                <a:latin typeface="EYInterstate Light" panose="02000506000000020004" pitchFamily="2" charset="0"/>
                <a:ea typeface="Times New Roman" panose="02020603050405020304" pitchFamily="18" charset="0"/>
                <a:cs typeface="Times New Roman" panose="02020603050405020304" pitchFamily="18" charset="0"/>
              </a:rPr>
              <a:t>à </a:t>
            </a:r>
            <a:r>
              <a:rPr lang="en-US" sz="1200" kern="1200" dirty="0" smtClean="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12h45 | </a:t>
            </a:r>
            <a:r>
              <a:rPr lang="en-US" sz="1200" kern="1200" dirty="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Paul </a:t>
            </a:r>
            <a:r>
              <a:rPr lang="en-US" sz="1200" kern="1200" dirty="0" smtClean="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Tucker, </a:t>
            </a:r>
            <a:r>
              <a:rPr lang="en-US" sz="1200" kern="1200" dirty="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Atir Syed </a:t>
            </a:r>
            <a:r>
              <a:rPr lang="en-US" sz="1200" kern="1200" dirty="0" smtClean="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et </a:t>
            </a:r>
            <a:r>
              <a:rPr lang="en-US" sz="1200" kern="1200" dirty="0">
                <a:solidFill>
                  <a:srgbClr val="000000"/>
                </a:solidFill>
                <a:effectLst/>
                <a:latin typeface="EYInterstate Light" panose="02000506000000020004" pitchFamily="2" charset="0"/>
                <a:ea typeface="Times New Roman" panose="02020603050405020304" pitchFamily="18" charset="0"/>
                <a:cs typeface="Times New Roman" panose="02020603050405020304" pitchFamily="18" charset="0"/>
              </a:rPr>
              <a:t>Tracey De Angelis</a:t>
            </a:r>
            <a:endParaRPr lang="en-CA" sz="1200" dirty="0">
              <a:effectLst/>
              <a:latin typeface="EYInterstate Light" panose="02000506000000020004" pitchFamily="2" charset="0"/>
              <a:ea typeface="Times New Roman" panose="02020603050405020304" pitchFamily="18" charset="0"/>
            </a:endParaRPr>
          </a:p>
        </p:txBody>
      </p:sp>
      <p:sp>
        <p:nvSpPr>
          <p:cNvPr id="48" name="Text Placeholder 5"/>
          <p:cNvSpPr txBox="1">
            <a:spLocks/>
          </p:cNvSpPr>
          <p:nvPr/>
        </p:nvSpPr>
        <p:spPr>
          <a:xfrm>
            <a:off x="6697333" y="5042495"/>
            <a:ext cx="4816475" cy="276999"/>
          </a:xfrm>
          <a:prstGeom prst="rect">
            <a:avLst/>
          </a:prstGeom>
        </p:spPr>
        <p:txBody>
          <a:bodyPr wrap="square" anchor="ctr">
            <a:spAutoFit/>
          </a:bodyPr>
          <a:lstStyle/>
          <a:p>
            <a:pPr>
              <a:spcAft>
                <a:spcPts val="0"/>
              </a:spcAft>
            </a:pPr>
            <a:r>
              <a:rPr lang="fr-CA" sz="1200" b="1" dirty="0" smtClean="0">
                <a:solidFill>
                  <a:srgbClr val="C00000"/>
                </a:solidFill>
                <a:latin typeface="EYInterstate Light" panose="02000506000000020004" pitchFamily="2" charset="0"/>
                <a:ea typeface="Times New Roman" panose="02020603050405020304" pitchFamily="18" charset="0"/>
                <a:cs typeface="Times New Roman" panose="02020603050405020304" pitchFamily="18" charset="0"/>
              </a:rPr>
              <a:t>Lunch</a:t>
            </a:r>
            <a:r>
              <a:rPr lang="fr-CA" sz="1200" b="1" kern="1200" dirty="0" smtClean="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 </a:t>
            </a:r>
            <a:r>
              <a:rPr lang="fr-CA" sz="1200" b="1" kern="1200" dirty="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45 </a:t>
            </a:r>
            <a:r>
              <a:rPr lang="fr-CA" sz="1200" b="1" kern="1200" dirty="0" err="1" smtClean="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mins</a:t>
            </a:r>
            <a:r>
              <a:rPr lang="fr-CA" sz="1200" b="1" kern="1200" dirty="0" smtClean="0">
                <a:solidFill>
                  <a:srgbClr val="C00000"/>
                </a:solidFill>
                <a:effectLst/>
                <a:latin typeface="EYInterstate Light" panose="02000506000000020004" pitchFamily="2" charset="0"/>
                <a:ea typeface="Times New Roman" panose="02020603050405020304" pitchFamily="18" charset="0"/>
                <a:cs typeface="Times New Roman" panose="02020603050405020304" pitchFamily="18" charset="0"/>
              </a:rPr>
              <a:t>) : Un lunch sera fourni</a:t>
            </a:r>
            <a:endParaRPr lang="en-CA" sz="1000" b="1" dirty="0">
              <a:effectLst/>
              <a:latin typeface="EYInterstate Light" panose="02000506000000020004" pitchFamily="2" charset="0"/>
              <a:ea typeface="Times New Roman" panose="02020603050405020304" pitchFamily="18" charset="0"/>
            </a:endParaRPr>
          </a:p>
        </p:txBody>
      </p:sp>
    </p:spTree>
    <p:extLst>
      <p:ext uri="{BB962C8B-B14F-4D97-AF65-F5344CB8AC3E}">
        <p14:creationId xmlns:p14="http://schemas.microsoft.com/office/powerpoint/2010/main" val="229611205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custDataLst>
              <p:tags r:id="rId1"/>
            </p:custDataLst>
          </p:nvPr>
        </p:nvSpPr>
        <p:spPr>
          <a:xfrm>
            <a:off x="614565" y="659554"/>
            <a:ext cx="8862809"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Conseiller en rémunération et à la paie : </a:t>
            </a:r>
            <a:r>
              <a:rPr lang="fr-CA" sz="2600" i="1" dirty="0">
                <a:solidFill>
                  <a:srgbClr val="4B4B4B"/>
                </a:solidFill>
                <a:latin typeface="EYInterstate Light" panose="02000506000000020004" pitchFamily="2" charset="0"/>
              </a:rPr>
              <a:t>paiements aux employés</a:t>
            </a:r>
          </a:p>
        </p:txBody>
      </p:sp>
      <p:sp>
        <p:nvSpPr>
          <p:cNvPr id="230" name="Text Placeholder 5"/>
          <p:cNvSpPr txBox="1">
            <a:spLocks/>
          </p:cNvSpPr>
          <p:nvPr>
            <p:custDataLst>
              <p:tags r:id="rId2"/>
            </p:custDataLst>
          </p:nvPr>
        </p:nvSpPr>
        <p:spPr>
          <a:xfrm rot="5400000">
            <a:off x="8139459" y="1717381"/>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Domaines de possibilités</a:t>
            </a:r>
          </a:p>
        </p:txBody>
      </p:sp>
      <p:sp>
        <p:nvSpPr>
          <p:cNvPr id="232" name="Text Placeholder 5"/>
          <p:cNvSpPr txBox="1">
            <a:spLocks/>
          </p:cNvSpPr>
          <p:nvPr>
            <p:custDataLst>
              <p:tags r:id="rId3"/>
            </p:custDataLst>
          </p:nvPr>
        </p:nvSpPr>
        <p:spPr>
          <a:xfrm rot="5400000">
            <a:off x="8139459" y="2709376"/>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Moments</a:t>
            </a:r>
            <a:br>
              <a:rPr lang="fr-CA" sz="1050" b="1" dirty="0">
                <a:solidFill>
                  <a:srgbClr val="000000"/>
                </a:solidFill>
                <a:latin typeface="EYInterstate Light" panose="02000506000000020004" pitchFamily="2" charset="0"/>
              </a:rPr>
            </a:br>
            <a:r>
              <a:rPr lang="fr-CA" sz="1050" b="1" dirty="0">
                <a:solidFill>
                  <a:srgbClr val="000000"/>
                </a:solidFill>
                <a:latin typeface="EYInterstate Light" panose="02000506000000020004" pitchFamily="2" charset="0"/>
              </a:rPr>
              <a:t>qui comptent</a:t>
            </a:r>
          </a:p>
        </p:txBody>
      </p:sp>
      <p:sp>
        <p:nvSpPr>
          <p:cNvPr id="233" name="Text Placeholder 5"/>
          <p:cNvSpPr txBox="1">
            <a:spLocks/>
          </p:cNvSpPr>
          <p:nvPr>
            <p:custDataLst>
              <p:tags r:id="rId4"/>
            </p:custDataLst>
          </p:nvPr>
        </p:nvSpPr>
        <p:spPr>
          <a:xfrm rot="5400000">
            <a:off x="8054820" y="4104158"/>
            <a:ext cx="1214070" cy="26161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Outils habilitants</a:t>
            </a:r>
          </a:p>
        </p:txBody>
      </p:sp>
      <p:sp>
        <p:nvSpPr>
          <p:cNvPr id="197" name="TextBox 196"/>
          <p:cNvSpPr txBox="1"/>
          <p:nvPr>
            <p:custDataLst>
              <p:tags r:id="rId5"/>
            </p:custDataLst>
          </p:nvPr>
        </p:nvSpPr>
        <p:spPr>
          <a:xfrm>
            <a:off x="5573439" y="2215976"/>
            <a:ext cx="434126" cy="510861"/>
          </a:xfrm>
          <a:prstGeom prst="rect">
            <a:avLst/>
          </a:prstGeom>
          <a:noFill/>
        </p:spPr>
        <p:txBody>
          <a:bodyPr wrap="square" tIns="324000" bIns="0" rtlCol="0" anchor="ctr">
            <a:noAutofit/>
          </a:bodyPr>
          <a:lstStyle/>
          <a:p>
            <a:r>
              <a:rPr lang="fr-CA" sz="6000" dirty="0">
                <a:solidFill>
                  <a:srgbClr val="E60F2D"/>
                </a:solidFill>
                <a:latin typeface="EYInterstate Light" panose="02000506000000020004" pitchFamily="2" charset="0"/>
              </a:rPr>
              <a:t>«</a:t>
            </a:r>
          </a:p>
        </p:txBody>
      </p:sp>
      <p:sp>
        <p:nvSpPr>
          <p:cNvPr id="200" name="TextBox 199"/>
          <p:cNvSpPr txBox="1"/>
          <p:nvPr>
            <p:custDataLst>
              <p:tags r:id="rId6"/>
            </p:custDataLst>
          </p:nvPr>
        </p:nvSpPr>
        <p:spPr>
          <a:xfrm>
            <a:off x="5632217" y="2609348"/>
            <a:ext cx="2569569" cy="1500732"/>
          </a:xfrm>
          <a:prstGeom prst="rect">
            <a:avLst/>
          </a:prstGeom>
          <a:noFill/>
        </p:spPr>
        <p:txBody>
          <a:bodyPr wrap="square" lIns="108000" rIns="108000" rtlCol="0" anchor="t">
            <a:spAutoFit/>
          </a:bodyPr>
          <a:lstStyle/>
          <a:p>
            <a:pPr algn="ctr">
              <a:lnSpc>
                <a:spcPct val="120000"/>
              </a:lnSpc>
            </a:pPr>
            <a:r>
              <a:rPr lang="fr-CA" sz="1100" b="1" dirty="0">
                <a:solidFill>
                  <a:srgbClr val="C0C0C0">
                    <a:lumMod val="10000"/>
                  </a:srgbClr>
                </a:solidFill>
              </a:rPr>
              <a:t>« Je suis facilement en mesure d’exécuter des cycles de rémunération (pendant les cycles ou hors cycle) étant donné que toutes les tâches sont automatisées. »</a:t>
            </a:r>
          </a:p>
          <a:p>
            <a:pPr>
              <a:lnSpc>
                <a:spcPct val="120000"/>
              </a:lnSpc>
            </a:pPr>
            <a:r>
              <a:rPr lang="fr-CA" sz="1100" i="1" dirty="0">
                <a:solidFill>
                  <a:srgbClr val="000000"/>
                </a:solidFill>
                <a:latin typeface="EYInterstate Light" panose="02000506000000020004" pitchFamily="2" charset="0"/>
              </a:rPr>
              <a:t> </a:t>
            </a:r>
          </a:p>
        </p:txBody>
      </p:sp>
      <p:cxnSp>
        <p:nvCxnSpPr>
          <p:cNvPr id="203" name="Straight Connector 202"/>
          <p:cNvCxnSpPr/>
          <p:nvPr>
            <p:custDataLst>
              <p:tags r:id="rId7"/>
            </p:custDataLst>
          </p:nvPr>
        </p:nvCxnSpPr>
        <p:spPr>
          <a:xfrm>
            <a:off x="6004620" y="2465056"/>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212" name="TextBox 211"/>
          <p:cNvSpPr txBox="1"/>
          <p:nvPr>
            <p:custDataLst>
              <p:tags r:id="rId8"/>
            </p:custDataLst>
          </p:nvPr>
        </p:nvSpPr>
        <p:spPr>
          <a:xfrm>
            <a:off x="2699283" y="2215976"/>
            <a:ext cx="434126" cy="510861"/>
          </a:xfrm>
          <a:prstGeom prst="rect">
            <a:avLst/>
          </a:prstGeom>
          <a:noFill/>
        </p:spPr>
        <p:txBody>
          <a:bodyPr wrap="square" tIns="324000" bIns="0" rtlCol="0" anchor="ctr">
            <a:noAutofit/>
          </a:bodyPr>
          <a:lstStyle/>
          <a:p>
            <a:r>
              <a:rPr lang="fr-CA" sz="6000" dirty="0">
                <a:solidFill>
                  <a:srgbClr val="E60F2D"/>
                </a:solidFill>
                <a:latin typeface="EYInterstate Light" panose="02000506000000020004" pitchFamily="2" charset="0"/>
              </a:rPr>
              <a:t>«</a:t>
            </a:r>
          </a:p>
        </p:txBody>
      </p:sp>
      <p:sp>
        <p:nvSpPr>
          <p:cNvPr id="219" name="TextBox 218"/>
          <p:cNvSpPr txBox="1"/>
          <p:nvPr>
            <p:custDataLst>
              <p:tags r:id="rId9"/>
            </p:custDataLst>
          </p:nvPr>
        </p:nvSpPr>
        <p:spPr>
          <a:xfrm>
            <a:off x="2758061" y="2609348"/>
            <a:ext cx="2569569" cy="904863"/>
          </a:xfrm>
          <a:prstGeom prst="rect">
            <a:avLst/>
          </a:prstGeom>
          <a:noFill/>
        </p:spPr>
        <p:txBody>
          <a:bodyPr wrap="square" lIns="108000" rIns="108000" rtlCol="0" anchor="t">
            <a:spAutoFit/>
          </a:bodyPr>
          <a:lstStyle/>
          <a:p>
            <a:pPr algn="ctr">
              <a:lnSpc>
                <a:spcPct val="120000"/>
              </a:lnSpc>
            </a:pPr>
            <a:r>
              <a:rPr lang="fr-CA" sz="1100" b="1" dirty="0"/>
              <a:t>« Je suis à l’aise de déclarer que nous payons les salaires sur une base équitable et que nous avons les analyses pour le prouver. » </a:t>
            </a:r>
          </a:p>
        </p:txBody>
      </p:sp>
      <p:cxnSp>
        <p:nvCxnSpPr>
          <p:cNvPr id="220" name="Straight Connector 219"/>
          <p:cNvCxnSpPr/>
          <p:nvPr>
            <p:custDataLst>
              <p:tags r:id="rId10"/>
            </p:custDataLst>
          </p:nvPr>
        </p:nvCxnSpPr>
        <p:spPr>
          <a:xfrm>
            <a:off x="3130463" y="2465056"/>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custDataLst>
              <p:tags r:id="rId11"/>
            </p:custDataLst>
          </p:nvPr>
        </p:nvCxnSpPr>
        <p:spPr>
          <a:xfrm flipV="1">
            <a:off x="8411299" y="1277848"/>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40" name="Rectangle 239"/>
          <p:cNvSpPr/>
          <p:nvPr>
            <p:custDataLst>
              <p:tags r:id="rId12"/>
            </p:custDataLst>
          </p:nvPr>
        </p:nvSpPr>
        <p:spPr>
          <a:xfrm>
            <a:off x="2764580" y="3645639"/>
            <a:ext cx="2485644" cy="1315745"/>
          </a:xfrm>
          <a:prstGeom prst="rect">
            <a:avLst/>
          </a:prstGeom>
        </p:spPr>
        <p:txBody>
          <a:bodyPr wrap="square">
            <a:spAutoFit/>
          </a:bodyPr>
          <a:lstStyle/>
          <a:p>
            <a:pPr>
              <a:lnSpc>
                <a:spcPct val="90000"/>
              </a:lnSpc>
              <a:spcBef>
                <a:spcPts val="300"/>
              </a:spcBef>
              <a:buClr>
                <a:srgbClr val="E60F2D"/>
              </a:buClr>
              <a:buSzPct val="60000"/>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 processus d’ajustement dans un système garantit que le processus de gestion du rendement est beaucoup plus efficace et sans heurts </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données saisies en ligne permettent l’analyse des tendances</a:t>
            </a:r>
          </a:p>
        </p:txBody>
      </p:sp>
      <p:sp>
        <p:nvSpPr>
          <p:cNvPr id="241" name="Rectangle 240"/>
          <p:cNvSpPr/>
          <p:nvPr>
            <p:custDataLst>
              <p:tags r:id="rId13"/>
            </p:custDataLst>
          </p:nvPr>
        </p:nvSpPr>
        <p:spPr>
          <a:xfrm>
            <a:off x="5632217" y="3645639"/>
            <a:ext cx="2485644" cy="1785104"/>
          </a:xfrm>
          <a:prstGeom prst="rect">
            <a:avLst/>
          </a:prstGeom>
        </p:spPr>
        <p:txBody>
          <a:bodyPr wrap="square">
            <a:spAutoFit/>
          </a:bodyPr>
          <a:lstStyle/>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procédures claires et l’automatisation des tâches permettent d’avoir plus de temps à consacrer à l’exploration de données, aux rapports, et aux examens des exception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Un flux de travail logique permet de suivre les audits plus efficacement au sein du système</a:t>
            </a:r>
          </a:p>
          <a:p>
            <a:pPr marL="171450" indent="-171450">
              <a:spcBef>
                <a:spcPts val="300"/>
              </a:spcBef>
              <a:spcAft>
                <a:spcPts val="300"/>
              </a:spcAft>
              <a:buFont typeface="Arial" panose="020B0604020202020204" pitchFamily="34" charset="0"/>
              <a:buChar char="•"/>
            </a:pPr>
            <a:endParaRPr lang="en-US" sz="1000" dirty="0">
              <a:solidFill>
                <a:srgbClr val="D0DCDF">
                  <a:lumMod val="10000"/>
                </a:srgbClr>
              </a:solidFill>
            </a:endParaRPr>
          </a:p>
        </p:txBody>
      </p:sp>
      <p:cxnSp>
        <p:nvCxnSpPr>
          <p:cNvPr id="243" name="Straight Connector 242"/>
          <p:cNvCxnSpPr/>
          <p:nvPr>
            <p:custDataLst>
              <p:tags r:id="rId14"/>
            </p:custDataLst>
          </p:nvPr>
        </p:nvCxnSpPr>
        <p:spPr>
          <a:xfrm flipV="1">
            <a:off x="5520386" y="1277848"/>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47" name="Group 1"/>
          <p:cNvGrpSpPr/>
          <p:nvPr>
            <p:custDataLst>
              <p:tags r:id="rId15"/>
            </p:custDataLst>
          </p:nvPr>
        </p:nvGrpSpPr>
        <p:grpSpPr>
          <a:xfrm>
            <a:off x="2717791" y="1384794"/>
            <a:ext cx="2748414" cy="784830"/>
            <a:chOff x="1970198" y="1351686"/>
            <a:chExt cx="3167242" cy="784830"/>
          </a:xfrm>
        </p:grpSpPr>
        <p:sp>
          <p:nvSpPr>
            <p:cNvPr id="248" name="Rectangle 2"/>
            <p:cNvSpPr/>
            <p:nvPr/>
          </p:nvSpPr>
          <p:spPr>
            <a:xfrm>
              <a:off x="1970198" y="1351686"/>
              <a:ext cx="1683140" cy="507831"/>
            </a:xfrm>
            <a:prstGeom prst="rect">
              <a:avLst/>
            </a:prstGeom>
          </p:spPr>
          <p:txBody>
            <a:bodyPr wrap="square">
              <a:spAutoFit/>
            </a:bodyPr>
            <a:lstStyle/>
            <a:p>
              <a:pPr algn="ctr"/>
              <a:r>
                <a:rPr lang="fr-CA" sz="900" i="1" dirty="0">
                  <a:solidFill>
                    <a:srgbClr val="000000"/>
                  </a:solidFill>
                  <a:latin typeface="EYInterstate Light" panose="02000506000000020004" pitchFamily="2" charset="0"/>
                  <a:cs typeface="Arial" pitchFamily="34" charset="0"/>
                </a:rPr>
                <a:t>Les employés se plaignent de l’équité interne et des règles de rémunération.</a:t>
              </a:r>
            </a:p>
          </p:txBody>
        </p:sp>
        <p:sp>
          <p:nvSpPr>
            <p:cNvPr id="249" name="Rectangle 3"/>
            <p:cNvSpPr/>
            <p:nvPr/>
          </p:nvSpPr>
          <p:spPr>
            <a:xfrm>
              <a:off x="3651576" y="1351686"/>
              <a:ext cx="1485864" cy="784830"/>
            </a:xfrm>
            <a:prstGeom prst="rect">
              <a:avLst/>
            </a:prstGeom>
          </p:spPr>
          <p:txBody>
            <a:bodyPr wrap="square">
              <a:spAutoFit/>
            </a:bodyPr>
            <a:lstStyle/>
            <a:p>
              <a:pPr algn="ctr"/>
              <a:r>
                <a:rPr lang="fr-CA" sz="900" i="1" dirty="0">
                  <a:solidFill>
                    <a:srgbClr val="000000"/>
                  </a:solidFill>
                  <a:latin typeface="EYInterstate Light" panose="02000506000000020004" pitchFamily="2" charset="0"/>
                  <a:cs typeface="Arial" pitchFamily="34" charset="0"/>
                </a:rPr>
                <a:t>Les nouveaux employés exigent des salaires plus élevés que certains employés avec plus d’ancienneté. </a:t>
              </a:r>
            </a:p>
          </p:txBody>
        </p:sp>
      </p:grpSp>
      <p:grpSp>
        <p:nvGrpSpPr>
          <p:cNvPr id="250" name="Group 249"/>
          <p:cNvGrpSpPr/>
          <p:nvPr>
            <p:custDataLst>
              <p:tags r:id="rId16"/>
            </p:custDataLst>
          </p:nvPr>
        </p:nvGrpSpPr>
        <p:grpSpPr>
          <a:xfrm>
            <a:off x="5649522" y="1384794"/>
            <a:ext cx="2660573" cy="646331"/>
            <a:chOff x="2110583" y="1351686"/>
            <a:chExt cx="3066015" cy="646331"/>
          </a:xfrm>
        </p:grpSpPr>
        <p:sp>
          <p:nvSpPr>
            <p:cNvPr id="251" name="Rectangle 250"/>
            <p:cNvSpPr/>
            <p:nvPr/>
          </p:nvSpPr>
          <p:spPr>
            <a:xfrm>
              <a:off x="2110583" y="1351686"/>
              <a:ext cx="1501832" cy="646331"/>
            </a:xfrm>
            <a:prstGeom prst="rect">
              <a:avLst/>
            </a:prstGeom>
          </p:spPr>
          <p:txBody>
            <a:bodyPr wrap="square">
              <a:spAutoFit/>
            </a:bodyPr>
            <a:lstStyle/>
            <a:p>
              <a:pPr algn="ctr">
                <a:defRPr/>
              </a:pPr>
              <a:r>
                <a:rPr lang="fr-CA" sz="900" i="1" dirty="0">
                  <a:solidFill>
                    <a:srgbClr val="000000"/>
                  </a:solidFill>
                  <a:latin typeface="EYInterstate Light" panose="02000506000000020004" pitchFamily="2" charset="0"/>
                  <a:cs typeface="Arial" pitchFamily="34" charset="0"/>
                </a:rPr>
                <a:t>Les processus de travail pour les approbations entraînent des paiements hors cycle.</a:t>
              </a:r>
            </a:p>
          </p:txBody>
        </p:sp>
        <p:sp>
          <p:nvSpPr>
            <p:cNvPr id="252" name="Rectangle 251"/>
            <p:cNvSpPr/>
            <p:nvPr/>
          </p:nvSpPr>
          <p:spPr>
            <a:xfrm>
              <a:off x="3612415" y="1351686"/>
              <a:ext cx="1564183" cy="646331"/>
            </a:xfrm>
            <a:prstGeom prst="rect">
              <a:avLst/>
            </a:prstGeom>
          </p:spPr>
          <p:txBody>
            <a:bodyPr wrap="square">
              <a:spAutoFit/>
            </a:bodyPr>
            <a:lstStyle/>
            <a:p>
              <a:pPr algn="ctr">
                <a:defRPr/>
              </a:pPr>
              <a:r>
                <a:rPr lang="fr-CA" sz="900" i="1" dirty="0">
                  <a:solidFill>
                    <a:srgbClr val="000000"/>
                  </a:solidFill>
                  <a:latin typeface="EYInterstate Light" panose="02000506000000020004" pitchFamily="2" charset="0"/>
                  <a:cs typeface="Arial" pitchFamily="34" charset="0"/>
                </a:rPr>
                <a:t>La saisie des heures et les approbations ne sont pas électroniques.</a:t>
              </a:r>
            </a:p>
          </p:txBody>
        </p:sp>
      </p:grpSp>
      <p:grpSp>
        <p:nvGrpSpPr>
          <p:cNvPr id="18" name="Group 17"/>
          <p:cNvGrpSpPr/>
          <p:nvPr>
            <p:custDataLst>
              <p:tags r:id="rId17"/>
            </p:custDataLst>
          </p:nvPr>
        </p:nvGrpSpPr>
        <p:grpSpPr>
          <a:xfrm>
            <a:off x="1838723" y="1304009"/>
            <a:ext cx="357986" cy="5100466"/>
            <a:chOff x="1230560" y="1304009"/>
            <a:chExt cx="357986" cy="5100466"/>
          </a:xfrm>
        </p:grpSpPr>
        <p:sp>
          <p:nvSpPr>
            <p:cNvPr id="95" name="Freeform 903"/>
            <p:cNvSpPr>
              <a:spLocks noEditPoints="1"/>
            </p:cNvSpPr>
            <p:nvPr/>
          </p:nvSpPr>
          <p:spPr bwMode="auto">
            <a:xfrm>
              <a:off x="1312486" y="1304009"/>
              <a:ext cx="276060" cy="2752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6" name="Freeform 904"/>
            <p:cNvSpPr>
              <a:spLocks noEditPoints="1"/>
            </p:cNvSpPr>
            <p:nvPr/>
          </p:nvSpPr>
          <p:spPr bwMode="auto">
            <a:xfrm>
              <a:off x="1364298" y="1364726"/>
              <a:ext cx="173246" cy="140054"/>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8" name="Freeform 764"/>
            <p:cNvSpPr>
              <a:spLocks noEditPoints="1"/>
            </p:cNvSpPr>
            <p:nvPr/>
          </p:nvSpPr>
          <p:spPr bwMode="auto">
            <a:xfrm>
              <a:off x="1387240" y="5439463"/>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9" name="Freeform 765"/>
            <p:cNvSpPr>
              <a:spLocks noEditPoints="1"/>
            </p:cNvSpPr>
            <p:nvPr/>
          </p:nvSpPr>
          <p:spPr bwMode="auto">
            <a:xfrm>
              <a:off x="1312969" y="5387796"/>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0" name="Freeform 145"/>
            <p:cNvSpPr>
              <a:spLocks noEditPoints="1"/>
            </p:cNvSpPr>
            <p:nvPr/>
          </p:nvSpPr>
          <p:spPr bwMode="auto">
            <a:xfrm>
              <a:off x="1313637" y="3532605"/>
              <a:ext cx="274218" cy="2742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1" name="Freeform 146"/>
            <p:cNvSpPr>
              <a:spLocks noEditPoints="1"/>
            </p:cNvSpPr>
            <p:nvPr/>
          </p:nvSpPr>
          <p:spPr bwMode="auto">
            <a:xfrm>
              <a:off x="1376545" y="3618096"/>
              <a:ext cx="154046" cy="103235"/>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3" name="Freeform 527"/>
            <p:cNvSpPr>
              <a:spLocks noEditPoints="1"/>
            </p:cNvSpPr>
            <p:nvPr/>
          </p:nvSpPr>
          <p:spPr bwMode="auto">
            <a:xfrm>
              <a:off x="1312989" y="2045723"/>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5" name="Freeform 528"/>
            <p:cNvSpPr>
              <a:spLocks noEditPoints="1"/>
            </p:cNvSpPr>
            <p:nvPr/>
          </p:nvSpPr>
          <p:spPr bwMode="auto">
            <a:xfrm>
              <a:off x="1375326" y="2096726"/>
              <a:ext cx="149770" cy="161105"/>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7" name="Freeform 113"/>
            <p:cNvSpPr>
              <a:spLocks noEditPoints="1"/>
            </p:cNvSpPr>
            <p:nvPr/>
          </p:nvSpPr>
          <p:spPr bwMode="auto">
            <a:xfrm>
              <a:off x="1312989" y="2417322"/>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9" name="Freeform 114"/>
            <p:cNvSpPr>
              <a:spLocks noEditPoints="1"/>
            </p:cNvSpPr>
            <p:nvPr/>
          </p:nvSpPr>
          <p:spPr bwMode="auto">
            <a:xfrm>
              <a:off x="1364801" y="2469134"/>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1" name="Freeform 817"/>
            <p:cNvSpPr>
              <a:spLocks noEditPoints="1"/>
            </p:cNvSpPr>
            <p:nvPr/>
          </p:nvSpPr>
          <p:spPr bwMode="auto">
            <a:xfrm>
              <a:off x="1313915" y="6130701"/>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AD7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3" name="Freeform 818"/>
            <p:cNvSpPr>
              <a:spLocks noEditPoints="1"/>
            </p:cNvSpPr>
            <p:nvPr/>
          </p:nvSpPr>
          <p:spPr bwMode="auto">
            <a:xfrm>
              <a:off x="1370281" y="6182235"/>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5" name="Freeform 796"/>
            <p:cNvSpPr>
              <a:spLocks noEditPoints="1"/>
            </p:cNvSpPr>
            <p:nvPr/>
          </p:nvSpPr>
          <p:spPr bwMode="auto">
            <a:xfrm>
              <a:off x="1369456" y="4371313"/>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17" name="Freeform 797"/>
            <p:cNvSpPr>
              <a:spLocks noEditPoints="1"/>
            </p:cNvSpPr>
            <p:nvPr/>
          </p:nvSpPr>
          <p:spPr bwMode="auto">
            <a:xfrm>
              <a:off x="1375944"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19" name="Freeform 798"/>
            <p:cNvSpPr>
              <a:spLocks noEditPoints="1"/>
            </p:cNvSpPr>
            <p:nvPr/>
          </p:nvSpPr>
          <p:spPr bwMode="auto">
            <a:xfrm>
              <a:off x="1427037" y="4371313"/>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0" name="Freeform 799"/>
            <p:cNvSpPr>
              <a:spLocks noEditPoints="1"/>
            </p:cNvSpPr>
            <p:nvPr/>
          </p:nvSpPr>
          <p:spPr bwMode="auto">
            <a:xfrm>
              <a:off x="1433525"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1" name="Freeform 800"/>
            <p:cNvSpPr>
              <a:spLocks noEditPoints="1"/>
            </p:cNvSpPr>
            <p:nvPr/>
          </p:nvSpPr>
          <p:spPr bwMode="auto">
            <a:xfrm>
              <a:off x="1484618" y="4371313"/>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2" name="Freeform 801"/>
            <p:cNvSpPr>
              <a:spLocks noEditPoints="1"/>
            </p:cNvSpPr>
            <p:nvPr/>
          </p:nvSpPr>
          <p:spPr bwMode="auto">
            <a:xfrm>
              <a:off x="1490295" y="4325897"/>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3" name="Freeform 802"/>
            <p:cNvSpPr>
              <a:spLocks noEditPoints="1"/>
            </p:cNvSpPr>
            <p:nvPr/>
          </p:nvSpPr>
          <p:spPr bwMode="auto">
            <a:xfrm>
              <a:off x="1312686" y="4273993"/>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7" name="Freeform 193"/>
            <p:cNvSpPr>
              <a:spLocks noEditPoints="1"/>
            </p:cNvSpPr>
            <p:nvPr/>
          </p:nvSpPr>
          <p:spPr bwMode="auto">
            <a:xfrm>
              <a:off x="1313915" y="1675604"/>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8" name="Freeform 194"/>
            <p:cNvSpPr>
              <a:spLocks noEditPoints="1"/>
            </p:cNvSpPr>
            <p:nvPr/>
          </p:nvSpPr>
          <p:spPr bwMode="auto">
            <a:xfrm>
              <a:off x="1365449" y="1755320"/>
              <a:ext cx="170706" cy="12642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9" name="Freeform 796"/>
            <p:cNvSpPr>
              <a:spLocks noEditPoints="1"/>
            </p:cNvSpPr>
            <p:nvPr/>
          </p:nvSpPr>
          <p:spPr bwMode="auto">
            <a:xfrm>
              <a:off x="1369456" y="28862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71" name="Freeform 797"/>
            <p:cNvSpPr>
              <a:spLocks noEditPoints="1"/>
            </p:cNvSpPr>
            <p:nvPr/>
          </p:nvSpPr>
          <p:spPr bwMode="auto">
            <a:xfrm>
              <a:off x="1375944"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72" name="Freeform 798"/>
            <p:cNvSpPr>
              <a:spLocks noEditPoints="1"/>
            </p:cNvSpPr>
            <p:nvPr/>
          </p:nvSpPr>
          <p:spPr bwMode="auto">
            <a:xfrm>
              <a:off x="1427037" y="28862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3" name="Freeform 799"/>
            <p:cNvSpPr>
              <a:spLocks noEditPoints="1"/>
            </p:cNvSpPr>
            <p:nvPr/>
          </p:nvSpPr>
          <p:spPr bwMode="auto">
            <a:xfrm>
              <a:off x="1433525"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4" name="Freeform 800"/>
            <p:cNvSpPr>
              <a:spLocks noEditPoints="1"/>
            </p:cNvSpPr>
            <p:nvPr/>
          </p:nvSpPr>
          <p:spPr bwMode="auto">
            <a:xfrm>
              <a:off x="1484618" y="28862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5" name="Freeform 801"/>
            <p:cNvSpPr>
              <a:spLocks noEditPoints="1"/>
            </p:cNvSpPr>
            <p:nvPr/>
          </p:nvSpPr>
          <p:spPr bwMode="auto">
            <a:xfrm>
              <a:off x="1490295" y="28408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7" name="Freeform 802"/>
            <p:cNvSpPr>
              <a:spLocks noEditPoints="1"/>
            </p:cNvSpPr>
            <p:nvPr/>
          </p:nvSpPr>
          <p:spPr bwMode="auto">
            <a:xfrm>
              <a:off x="1312686" y="27889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8" name="Freeform 388"/>
            <p:cNvSpPr>
              <a:spLocks noEditPoints="1"/>
            </p:cNvSpPr>
            <p:nvPr/>
          </p:nvSpPr>
          <p:spPr bwMode="auto">
            <a:xfrm>
              <a:off x="1312989" y="3161006"/>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9" name="Freeform 389"/>
            <p:cNvSpPr>
              <a:spLocks noEditPoints="1"/>
            </p:cNvSpPr>
            <p:nvPr/>
          </p:nvSpPr>
          <p:spPr bwMode="auto">
            <a:xfrm>
              <a:off x="1363992" y="3246820"/>
              <a:ext cx="172439" cy="120626"/>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0" name="Freeform 764"/>
            <p:cNvSpPr>
              <a:spLocks noEditPoints="1"/>
            </p:cNvSpPr>
            <p:nvPr/>
          </p:nvSpPr>
          <p:spPr bwMode="auto">
            <a:xfrm>
              <a:off x="1387240" y="3954835"/>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1" name="Freeform 765"/>
            <p:cNvSpPr>
              <a:spLocks noEditPoints="1"/>
            </p:cNvSpPr>
            <p:nvPr/>
          </p:nvSpPr>
          <p:spPr bwMode="auto">
            <a:xfrm>
              <a:off x="1312969" y="3903168"/>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2" name="Freeform 113"/>
            <p:cNvSpPr>
              <a:spLocks noEditPoints="1"/>
            </p:cNvSpPr>
            <p:nvPr/>
          </p:nvSpPr>
          <p:spPr bwMode="auto">
            <a:xfrm>
              <a:off x="1312989" y="4646078"/>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3" name="Freeform 114"/>
            <p:cNvSpPr>
              <a:spLocks noEditPoints="1"/>
            </p:cNvSpPr>
            <p:nvPr/>
          </p:nvSpPr>
          <p:spPr bwMode="auto">
            <a:xfrm>
              <a:off x="1364801" y="4697890"/>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4" name="Freeform 817"/>
            <p:cNvSpPr>
              <a:spLocks noEditPoints="1"/>
            </p:cNvSpPr>
            <p:nvPr/>
          </p:nvSpPr>
          <p:spPr bwMode="auto">
            <a:xfrm>
              <a:off x="1313915" y="5017677"/>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5" name="Freeform 818"/>
            <p:cNvSpPr>
              <a:spLocks noEditPoints="1"/>
            </p:cNvSpPr>
            <p:nvPr/>
          </p:nvSpPr>
          <p:spPr bwMode="auto">
            <a:xfrm>
              <a:off x="1370281" y="5069211"/>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6" name="Freeform 796"/>
            <p:cNvSpPr>
              <a:spLocks noEditPoints="1"/>
            </p:cNvSpPr>
            <p:nvPr/>
          </p:nvSpPr>
          <p:spPr bwMode="auto">
            <a:xfrm>
              <a:off x="1369456" y="58559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87" name="Freeform 797"/>
            <p:cNvSpPr>
              <a:spLocks noEditPoints="1"/>
            </p:cNvSpPr>
            <p:nvPr/>
          </p:nvSpPr>
          <p:spPr bwMode="auto">
            <a:xfrm>
              <a:off x="1375944"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88" name="Freeform 798"/>
            <p:cNvSpPr>
              <a:spLocks noEditPoints="1"/>
            </p:cNvSpPr>
            <p:nvPr/>
          </p:nvSpPr>
          <p:spPr bwMode="auto">
            <a:xfrm>
              <a:off x="1427037" y="58559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9" name="Freeform 799"/>
            <p:cNvSpPr>
              <a:spLocks noEditPoints="1"/>
            </p:cNvSpPr>
            <p:nvPr/>
          </p:nvSpPr>
          <p:spPr bwMode="auto">
            <a:xfrm>
              <a:off x="1433525"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0" name="Freeform 800"/>
            <p:cNvSpPr>
              <a:spLocks noEditPoints="1"/>
            </p:cNvSpPr>
            <p:nvPr/>
          </p:nvSpPr>
          <p:spPr bwMode="auto">
            <a:xfrm>
              <a:off x="1484618" y="58559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1" name="Freeform 801"/>
            <p:cNvSpPr>
              <a:spLocks noEditPoints="1"/>
            </p:cNvSpPr>
            <p:nvPr/>
          </p:nvSpPr>
          <p:spPr bwMode="auto">
            <a:xfrm>
              <a:off x="1490295" y="58105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2" name="Freeform 802"/>
            <p:cNvSpPr>
              <a:spLocks noEditPoints="1"/>
            </p:cNvSpPr>
            <p:nvPr/>
          </p:nvSpPr>
          <p:spPr bwMode="auto">
            <a:xfrm>
              <a:off x="1312686" y="57586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cxnSp>
          <p:nvCxnSpPr>
            <p:cNvPr id="193" name="Straight Connector 192"/>
            <p:cNvCxnSpPr/>
            <p:nvPr/>
          </p:nvCxnSpPr>
          <p:spPr>
            <a:xfrm>
              <a:off x="1230560" y="4646079"/>
              <a:ext cx="1" cy="1388284"/>
            </a:xfrm>
            <a:prstGeom prst="line">
              <a:avLst/>
            </a:prstGeom>
            <a:ln w="19050">
              <a:solidFill>
                <a:srgbClr val="008750"/>
              </a:solidFill>
              <a:tailEnd type="none"/>
            </a:ln>
          </p:spPr>
          <p:style>
            <a:lnRef idx="1">
              <a:schemeClr val="accent1"/>
            </a:lnRef>
            <a:fillRef idx="0">
              <a:schemeClr val="accent1"/>
            </a:fillRef>
            <a:effectRef idx="0">
              <a:schemeClr val="accent1"/>
            </a:effectRef>
            <a:fontRef idx="minor">
              <a:schemeClr val="tx1"/>
            </a:fontRef>
          </p:style>
        </p:cxnSp>
      </p:grpSp>
      <p:cxnSp>
        <p:nvCxnSpPr>
          <p:cNvPr id="92" name="Straight Connector 91"/>
          <p:cNvCxnSpPr/>
          <p:nvPr>
            <p:custDataLst>
              <p:tags r:id="rId18"/>
            </p:custDataLst>
          </p:nvPr>
        </p:nvCxnSpPr>
        <p:spPr>
          <a:xfrm flipV="1">
            <a:off x="2527554"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custDataLst>
              <p:tags r:id="rId19"/>
            </p:custDataLst>
          </p:nvPr>
        </p:nvPicPr>
        <p:blipFill rotWithShape="1">
          <a:blip r:embed="rId22" cstate="email">
            <a:extLst>
              <a:ext uri="{28A0092B-C50C-407E-A947-70E740481C1C}">
                <a14:useLocalDpi xmlns:a14="http://schemas.microsoft.com/office/drawing/2010/main"/>
              </a:ext>
            </a:extLst>
          </a:blip>
          <a:srcRect/>
          <a:stretch/>
        </p:blipFill>
        <p:spPr>
          <a:xfrm>
            <a:off x="816787" y="1277848"/>
            <a:ext cx="706855" cy="1076093"/>
          </a:xfrm>
          <a:prstGeom prst="rect">
            <a:avLst/>
          </a:prstGeom>
          <a:ln>
            <a:noFill/>
          </a:ln>
        </p:spPr>
      </p:pic>
      <p:sp>
        <p:nvSpPr>
          <p:cNvPr id="93" name="TextBox 92"/>
          <p:cNvSpPr txBox="1"/>
          <p:nvPr>
            <p:custDataLst>
              <p:tags r:id="rId20"/>
            </p:custDataLst>
          </p:nvPr>
        </p:nvSpPr>
        <p:spPr>
          <a:xfrm>
            <a:off x="9227934" y="1379724"/>
            <a:ext cx="2834078" cy="1987722"/>
          </a:xfrm>
          <a:prstGeom prst="rect">
            <a:avLst/>
          </a:prstGeom>
          <a:solidFill>
            <a:schemeClr val="bg1">
              <a:lumMod val="20000"/>
              <a:lumOff val="80000"/>
            </a:schemeClr>
          </a:solidFill>
          <a:ln>
            <a:solidFill>
              <a:srgbClr val="C00000"/>
            </a:solidFill>
          </a:ln>
        </p:spPr>
        <p:txBody>
          <a:bodyPr wrap="square" lIns="0" tIns="36576" rIns="0" bIns="0" rtlCol="0">
            <a:spAutoFit/>
          </a:bodyPr>
          <a:lstStyle/>
          <a:p>
            <a:pPr>
              <a:lnSpc>
                <a:spcPct val="85000"/>
              </a:lnSpc>
              <a:spcAft>
                <a:spcPts val="600"/>
              </a:spcAft>
              <a:buClr>
                <a:schemeClr val="accent2"/>
              </a:buClr>
              <a:buSzPct val="70000"/>
            </a:pPr>
            <a:r>
              <a:rPr lang="fr-CA" sz="1200" b="1" dirty="0">
                <a:latin typeface="EYInterstate Light" panose="02000506000000020004" pitchFamily="2" charset="0"/>
              </a:rPr>
              <a:t>Les conseillers en rémunération et à la paie </a:t>
            </a:r>
            <a:r>
              <a:rPr lang="fr-CA" sz="1200" dirty="0">
                <a:latin typeface="EYInterstate Light" panose="02000506000000020004" pitchFamily="2" charset="0"/>
              </a:rPr>
              <a:t>se concentrent sur l’exécution de tâches administratives et en lien avec la paie pour appuyer les fonctions de paiement. En ce qui concerne la rémunération, ils examinent les salaires et les avantages sociaux en comparaison avec les tendances du marché (à l’interne et hors de la fonction publique), apportent un soutien aux processus de révision salariale annuelle, et à la planification, à la conception, à l’examen et à l’administration des primes. </a:t>
            </a:r>
          </a:p>
        </p:txBody>
      </p:sp>
    </p:spTree>
    <p:extLst>
      <p:ext uri="{BB962C8B-B14F-4D97-AF65-F5344CB8AC3E}">
        <p14:creationId xmlns:p14="http://schemas.microsoft.com/office/powerpoint/2010/main" val="11446724"/>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custDataLst>
              <p:tags r:id="rId1"/>
            </p:custDataLst>
          </p:nvPr>
        </p:nvSpPr>
        <p:spPr>
          <a:xfrm>
            <a:off x="500706" y="511899"/>
            <a:ext cx="8017370"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Activité 4</a:t>
            </a:r>
          </a:p>
        </p:txBody>
      </p:sp>
      <p:sp>
        <p:nvSpPr>
          <p:cNvPr id="80" name="TextBox 79"/>
          <p:cNvSpPr txBox="1"/>
          <p:nvPr>
            <p:custDataLst>
              <p:tags r:id="rId2"/>
            </p:custDataLst>
          </p:nvPr>
        </p:nvSpPr>
        <p:spPr>
          <a:xfrm>
            <a:off x="500706" y="1137094"/>
            <a:ext cx="10067338" cy="1200329"/>
          </a:xfrm>
          <a:prstGeom prst="rect">
            <a:avLst/>
          </a:prstGeom>
          <a:noFill/>
        </p:spPr>
        <p:txBody>
          <a:bodyPr wrap="square" lIns="0" tIns="0" rIns="0" bIns="0" rtlCol="0" anchor="t" anchorCtr="0">
            <a:spAutoFit/>
          </a:bodyPr>
          <a:lstStyle/>
          <a:p>
            <a:r>
              <a:rPr lang="fr-CA" sz="1300" b="1" dirty="0">
                <a:solidFill>
                  <a:srgbClr val="4B4B4B"/>
                </a:solidFill>
                <a:latin typeface="EYInterstate Light" panose="02000506000000020004" pitchFamily="2" charset="0"/>
              </a:rPr>
              <a:t>Objectif : </a:t>
            </a:r>
            <a:r>
              <a:rPr lang="fr-CA" sz="1300" dirty="0">
                <a:solidFill>
                  <a:srgbClr val="4B4B4B"/>
                </a:solidFill>
                <a:latin typeface="EYInterstate Light" panose="02000506000000020004" pitchFamily="2" charset="0"/>
              </a:rPr>
              <a:t>cibler les principaux domaines de possibilités, les moments qui comptent, et les outils technologiques habilitants dans le processus de gestion du rendement et du perfectionnement relativement à la persona désignée.  </a:t>
            </a:r>
          </a:p>
          <a:p>
            <a:endParaRPr lang="en-CA" sz="1300" dirty="0">
              <a:solidFill>
                <a:srgbClr val="969696"/>
              </a:solidFill>
              <a:latin typeface="EYInterstate Light" panose="02000506000000020004" pitchFamily="2" charset="0"/>
            </a:endParaRPr>
          </a:p>
          <a:p>
            <a:r>
              <a:rPr lang="fr-CA" sz="1300" b="1" dirty="0">
                <a:solidFill>
                  <a:srgbClr val="4B4B4B"/>
                </a:solidFill>
                <a:latin typeface="EYInterstate Light" panose="02000506000000020004" pitchFamily="2" charset="0"/>
              </a:rPr>
              <a:t>Directives</a:t>
            </a:r>
            <a:r>
              <a:rPr lang="fr-CA" sz="1300" dirty="0">
                <a:solidFill>
                  <a:srgbClr val="4B4B4B"/>
                </a:solidFill>
                <a:latin typeface="EYInterstate Light" panose="02000506000000020004" pitchFamily="2" charset="0"/>
              </a:rPr>
              <a:t> : rassemblez-vous en groupes de 3 personnes autour de l’affiche de la persona dans la salle. À l’aide de l’histoire de Chris, concentrez-vous sur votre persona et saisissez les principaux domaines de possibilités, les moments qui comptent, et les outils technologiques habilitants dans le processus de recrutement et d’embauche. Utilisez les notes autocollantes fournies pour inscrire vos réponses sur les affiches. </a:t>
            </a:r>
          </a:p>
        </p:txBody>
      </p:sp>
      <p:pic>
        <p:nvPicPr>
          <p:cNvPr id="2" name="Picture 1"/>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284126" y="2758408"/>
            <a:ext cx="7888142" cy="2696283"/>
          </a:xfrm>
          <a:prstGeom prst="rect">
            <a:avLst/>
          </a:prstGeom>
        </p:spPr>
      </p:pic>
      <p:grpSp>
        <p:nvGrpSpPr>
          <p:cNvPr id="289" name="Group 288"/>
          <p:cNvGrpSpPr/>
          <p:nvPr>
            <p:custDataLst>
              <p:tags r:id="rId4"/>
            </p:custDataLst>
          </p:nvPr>
        </p:nvGrpSpPr>
        <p:grpSpPr>
          <a:xfrm>
            <a:off x="8375539" y="2689767"/>
            <a:ext cx="3438133" cy="2937532"/>
            <a:chOff x="5093442" y="1666076"/>
            <a:chExt cx="5322254" cy="4190295"/>
          </a:xfrm>
        </p:grpSpPr>
        <p:pic>
          <p:nvPicPr>
            <p:cNvPr id="290" name="Picture 289"/>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489503" y="1666076"/>
              <a:ext cx="822420" cy="1079497"/>
            </a:xfrm>
            <a:prstGeom prst="rect">
              <a:avLst/>
            </a:prstGeom>
            <a:ln>
              <a:noFill/>
            </a:ln>
          </p:spPr>
        </p:pic>
        <p:pic>
          <p:nvPicPr>
            <p:cNvPr id="291" name="Picture 290"/>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5523344" y="4776371"/>
              <a:ext cx="754737" cy="1080000"/>
            </a:xfrm>
            <a:prstGeom prst="rect">
              <a:avLst/>
            </a:prstGeom>
            <a:ln>
              <a:noFill/>
            </a:ln>
          </p:spPr>
        </p:pic>
        <p:sp>
          <p:nvSpPr>
            <p:cNvPr id="292" name="TextBox 291"/>
            <p:cNvSpPr txBox="1"/>
            <p:nvPr/>
          </p:nvSpPr>
          <p:spPr>
            <a:xfrm>
              <a:off x="5093442" y="2745573"/>
              <a:ext cx="1614540" cy="526840"/>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Gestionnaire du personnel</a:t>
              </a:r>
            </a:p>
          </p:txBody>
        </p:sp>
        <p:pic>
          <p:nvPicPr>
            <p:cNvPr id="294" name="Picture 293"/>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655653" y="4790151"/>
              <a:ext cx="760043" cy="1066220"/>
            </a:xfrm>
            <a:prstGeom prst="rect">
              <a:avLst/>
            </a:prstGeom>
            <a:ln>
              <a:noFill/>
            </a:ln>
          </p:spPr>
        </p:pic>
        <p:pic>
          <p:nvPicPr>
            <p:cNvPr id="296" name="Picture 29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711408" y="2490861"/>
              <a:ext cx="2642799" cy="2640985"/>
            </a:xfrm>
            <a:prstGeom prst="rect">
              <a:avLst/>
            </a:prstGeom>
          </p:spPr>
        </p:pic>
      </p:grpSp>
      <p:sp>
        <p:nvSpPr>
          <p:cNvPr id="299" name="TextBox 298"/>
          <p:cNvSpPr txBox="1"/>
          <p:nvPr>
            <p:custDataLst>
              <p:tags r:id="rId5"/>
            </p:custDataLst>
          </p:nvPr>
        </p:nvSpPr>
        <p:spPr>
          <a:xfrm>
            <a:off x="11127959" y="3528559"/>
            <a:ext cx="982761" cy="369332"/>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Administrateur </a:t>
            </a:r>
          </a:p>
          <a:p>
            <a:pPr algn="ctr"/>
            <a:r>
              <a:rPr lang="fr-CA" sz="1200" b="1" dirty="0">
                <a:solidFill>
                  <a:srgbClr val="4B4B4B"/>
                </a:solidFill>
                <a:latin typeface="EYInterstate Light" panose="02000506000000020004" pitchFamily="2" charset="0"/>
              </a:rPr>
              <a:t>décentralisé</a:t>
            </a:r>
          </a:p>
        </p:txBody>
      </p:sp>
      <p:sp>
        <p:nvSpPr>
          <p:cNvPr id="17" name="TextBox 16"/>
          <p:cNvSpPr txBox="1"/>
          <p:nvPr>
            <p:custDataLst>
              <p:tags r:id="rId6"/>
            </p:custDataLst>
          </p:nvPr>
        </p:nvSpPr>
        <p:spPr>
          <a:xfrm>
            <a:off x="8480159" y="5774289"/>
            <a:ext cx="1717154" cy="184666"/>
          </a:xfrm>
          <a:prstGeom prst="rect">
            <a:avLst/>
          </a:prstGeom>
          <a:noFill/>
        </p:spPr>
        <p:txBody>
          <a:bodyPr wrap="square" lIns="0" tIns="0" rIns="0" bIns="0" rtlCol="0" anchor="t" anchorCtr="0">
            <a:spAutoFit/>
          </a:bodyPr>
          <a:lstStyle/>
          <a:p>
            <a:r>
              <a:rPr lang="fr-CA" sz="1200" b="1" dirty="0">
                <a:solidFill>
                  <a:srgbClr val="4B4B4B"/>
                </a:solidFill>
                <a:latin typeface="EYInterstate Light" panose="02000506000000020004" pitchFamily="2" charset="0"/>
              </a:rPr>
              <a:t>Spécialiste des ressources humaines </a:t>
            </a:r>
          </a:p>
        </p:txBody>
      </p:sp>
      <p:sp>
        <p:nvSpPr>
          <p:cNvPr id="18" name="TextBox 17"/>
          <p:cNvSpPr txBox="1"/>
          <p:nvPr>
            <p:custDataLst>
              <p:tags r:id="rId7"/>
            </p:custDataLst>
          </p:nvPr>
        </p:nvSpPr>
        <p:spPr>
          <a:xfrm>
            <a:off x="11127959" y="5781080"/>
            <a:ext cx="982761" cy="553998"/>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Conseiller en rémunération et à la paie</a:t>
            </a:r>
          </a:p>
        </p:txBody>
      </p:sp>
      <p:pic>
        <p:nvPicPr>
          <p:cNvPr id="19" name="Picture 18"/>
          <p:cNvPicPr>
            <a:picLocks/>
          </p:cNvPicPr>
          <p:nvPr>
            <p:custDataLst>
              <p:tags r:id="rId8"/>
            </p:custDataLst>
          </p:nvPr>
        </p:nvPicPr>
        <p:blipFill rotWithShape="1">
          <a:blip r:embed="rId16" cstate="email">
            <a:extLst>
              <a:ext uri="{28A0092B-C50C-407E-A947-70E740481C1C}">
                <a14:useLocalDpi xmlns:a14="http://schemas.microsoft.com/office/drawing/2010/main"/>
              </a:ext>
            </a:extLst>
          </a:blip>
          <a:srcRect/>
          <a:stretch/>
        </p:blipFill>
        <p:spPr>
          <a:xfrm>
            <a:off x="11149426" y="2689767"/>
            <a:ext cx="586850" cy="781035"/>
          </a:xfrm>
          <a:prstGeom prst="rect">
            <a:avLst/>
          </a:prstGeom>
          <a:noFill/>
          <a:ln>
            <a:noFill/>
          </a:ln>
        </p:spPr>
      </p:pic>
      <p:pic>
        <p:nvPicPr>
          <p:cNvPr id="20" name="Picture 19"/>
          <p:cNvPicPr>
            <a:picLocks/>
          </p:cNvPicPr>
          <p:nvPr>
            <p:custDataLst>
              <p:tags r:id="rId9"/>
            </p:custDataLst>
          </p:nvPr>
        </p:nvPicPr>
        <p:blipFill rotWithShape="1">
          <a:blip r:embed="rId17" cstate="email">
            <a:extLst>
              <a:ext uri="{BEBA8EAE-BF5A-486C-A8C5-ECC9F3942E4B}">
                <a14:imgProps xmlns:a14="http://schemas.microsoft.com/office/drawing/2010/main">
                  <a14:imgLayer r:embed="rId18">
                    <a14:imgEffect>
                      <a14:backgroundRemoval t="0" b="98684" l="0" r="100000"/>
                    </a14:imgEffect>
                  </a14:imgLayer>
                </a14:imgProps>
              </a:ext>
              <a:ext uri="{28A0092B-C50C-407E-A947-70E740481C1C}">
                <a14:useLocalDpi xmlns:a14="http://schemas.microsoft.com/office/drawing/2010/main"/>
              </a:ext>
            </a:extLst>
          </a:blip>
          <a:srcRect/>
          <a:stretch/>
        </p:blipFill>
        <p:spPr>
          <a:xfrm>
            <a:off x="9990285" y="3415707"/>
            <a:ext cx="577759" cy="937589"/>
          </a:xfrm>
          <a:prstGeom prst="rect">
            <a:avLst/>
          </a:prstGeom>
          <a:ln>
            <a:noFill/>
          </a:ln>
        </p:spPr>
      </p:pic>
    </p:spTree>
    <p:extLst>
      <p:ext uri="{BB962C8B-B14F-4D97-AF65-F5344CB8AC3E}">
        <p14:creationId xmlns:p14="http://schemas.microsoft.com/office/powerpoint/2010/main" val="4243873388"/>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custDataLst>
              <p:tags r:id="rId1"/>
            </p:custDataLst>
          </p:nvPr>
        </p:nvSpPr>
        <p:spPr>
          <a:xfrm>
            <a:off x="614566" y="659554"/>
            <a:ext cx="8017370"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Employés : </a:t>
            </a:r>
            <a:r>
              <a:rPr lang="fr-CA" sz="2600" i="1" dirty="0">
                <a:solidFill>
                  <a:srgbClr val="4B4B4B"/>
                </a:solidFill>
                <a:latin typeface="EYInterstate Light" panose="02000506000000020004" pitchFamily="2" charset="0"/>
              </a:rPr>
              <a:t>gestion du rendement et du perfectionnement</a:t>
            </a:r>
          </a:p>
        </p:txBody>
      </p:sp>
      <p:sp>
        <p:nvSpPr>
          <p:cNvPr id="230" name="Text Placeholder 5"/>
          <p:cNvSpPr txBox="1">
            <a:spLocks/>
          </p:cNvSpPr>
          <p:nvPr>
            <p:custDataLst>
              <p:tags r:id="rId2"/>
            </p:custDataLst>
          </p:nvPr>
        </p:nvSpPr>
        <p:spPr>
          <a:xfrm rot="5400000">
            <a:off x="5205756" y="1811801"/>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050" b="1" dirty="0">
                <a:solidFill>
                  <a:schemeClr val="tx1"/>
                </a:solidFill>
                <a:latin typeface="EYInterstate Light" panose="02000506000000020004" pitchFamily="2" charset="0"/>
              </a:rPr>
              <a:t>Domaines de possibilités</a:t>
            </a:r>
          </a:p>
        </p:txBody>
      </p:sp>
      <p:sp>
        <p:nvSpPr>
          <p:cNvPr id="232" name="Text Placeholder 5"/>
          <p:cNvSpPr txBox="1">
            <a:spLocks/>
          </p:cNvSpPr>
          <p:nvPr>
            <p:custDataLst>
              <p:tags r:id="rId3"/>
            </p:custDataLst>
          </p:nvPr>
        </p:nvSpPr>
        <p:spPr>
          <a:xfrm rot="5400000">
            <a:off x="5205756" y="2803796"/>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050" b="1" dirty="0">
                <a:solidFill>
                  <a:schemeClr val="tx1"/>
                </a:solidFill>
                <a:latin typeface="EYInterstate Light" panose="02000506000000020004" pitchFamily="2" charset="0"/>
              </a:rPr>
              <a:t>Moments</a:t>
            </a:r>
            <a:br>
              <a:rPr lang="fr-CA" sz="1050" b="1" dirty="0">
                <a:solidFill>
                  <a:schemeClr val="tx1"/>
                </a:solidFill>
                <a:latin typeface="EYInterstate Light" panose="02000506000000020004" pitchFamily="2" charset="0"/>
              </a:rPr>
            </a:br>
            <a:r>
              <a:rPr lang="fr-CA" sz="1050" b="1" dirty="0">
                <a:solidFill>
                  <a:schemeClr val="tx1"/>
                </a:solidFill>
                <a:latin typeface="EYInterstate Light" panose="02000506000000020004" pitchFamily="2" charset="0"/>
              </a:rPr>
              <a:t>qui comptent</a:t>
            </a:r>
          </a:p>
        </p:txBody>
      </p:sp>
      <p:sp>
        <p:nvSpPr>
          <p:cNvPr id="233" name="Text Placeholder 5"/>
          <p:cNvSpPr txBox="1">
            <a:spLocks/>
          </p:cNvSpPr>
          <p:nvPr>
            <p:custDataLst>
              <p:tags r:id="rId4"/>
            </p:custDataLst>
          </p:nvPr>
        </p:nvSpPr>
        <p:spPr>
          <a:xfrm rot="5400000">
            <a:off x="5121117" y="4198578"/>
            <a:ext cx="1214070" cy="26161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CA" sz="1050" b="1" dirty="0">
                <a:solidFill>
                  <a:schemeClr val="tx1"/>
                </a:solidFill>
                <a:latin typeface="EYInterstate Light" panose="02000506000000020004" pitchFamily="2" charset="0"/>
              </a:rPr>
              <a:t>Outils habilitants</a:t>
            </a:r>
          </a:p>
        </p:txBody>
      </p:sp>
      <p:sp>
        <p:nvSpPr>
          <p:cNvPr id="222" name="TextBox 221"/>
          <p:cNvSpPr txBox="1"/>
          <p:nvPr>
            <p:custDataLst>
              <p:tags r:id="rId5"/>
            </p:custDataLst>
          </p:nvPr>
        </p:nvSpPr>
        <p:spPr>
          <a:xfrm>
            <a:off x="2552700" y="2254913"/>
            <a:ext cx="434126" cy="510861"/>
          </a:xfrm>
          <a:prstGeom prst="rect">
            <a:avLst/>
          </a:prstGeom>
          <a:noFill/>
        </p:spPr>
        <p:txBody>
          <a:bodyPr wrap="square" tIns="324000" bIns="0" rtlCol="0" anchor="ctr">
            <a:noAutofit/>
          </a:bodyPr>
          <a:lstStyle/>
          <a:p>
            <a:r>
              <a:rPr lang="fr-CA" sz="6000" dirty="0">
                <a:solidFill>
                  <a:srgbClr val="E60F2D"/>
                </a:solidFill>
                <a:latin typeface="EYInterstate Light" panose="02000506000000020004" pitchFamily="2" charset="0"/>
              </a:rPr>
              <a:t>«</a:t>
            </a:r>
          </a:p>
        </p:txBody>
      </p:sp>
      <p:sp>
        <p:nvSpPr>
          <p:cNvPr id="223" name="TextBox 222"/>
          <p:cNvSpPr txBox="1"/>
          <p:nvPr>
            <p:custDataLst>
              <p:tags r:id="rId6"/>
            </p:custDataLst>
          </p:nvPr>
        </p:nvSpPr>
        <p:spPr>
          <a:xfrm>
            <a:off x="2611478" y="2648285"/>
            <a:ext cx="2734245" cy="1089337"/>
          </a:xfrm>
          <a:prstGeom prst="rect">
            <a:avLst/>
          </a:prstGeom>
          <a:noFill/>
        </p:spPr>
        <p:txBody>
          <a:bodyPr wrap="square" lIns="108000" rIns="108000" rtlCol="0" anchor="t">
            <a:spAutoFit/>
          </a:bodyPr>
          <a:lstStyle/>
          <a:p>
            <a:pPr algn="ctr">
              <a:lnSpc>
                <a:spcPct val="120000"/>
              </a:lnSpc>
            </a:pPr>
            <a:r>
              <a:rPr lang="fr-CA" sz="1100" b="1" dirty="0">
                <a:solidFill>
                  <a:schemeClr val="accent6">
                    <a:lumMod val="10000"/>
                  </a:schemeClr>
                </a:solidFill>
              </a:rPr>
              <a:t>« Je suis facilement en mesure de cibler des possibilités d’apprentissage et de perfectionnement en fonction de mon profil de compétences. »</a:t>
            </a:r>
          </a:p>
        </p:txBody>
      </p:sp>
      <p:cxnSp>
        <p:nvCxnSpPr>
          <p:cNvPr id="224" name="Straight Connector 223"/>
          <p:cNvCxnSpPr/>
          <p:nvPr>
            <p:custDataLst>
              <p:tags r:id="rId7"/>
            </p:custDataLst>
          </p:nvPr>
        </p:nvCxnSpPr>
        <p:spPr>
          <a:xfrm>
            <a:off x="2983880" y="2503993"/>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custDataLst>
              <p:tags r:id="rId8"/>
            </p:custDataLst>
          </p:nvPr>
        </p:nvCxnSpPr>
        <p:spPr>
          <a:xfrm flipV="1">
            <a:off x="5477596" y="1372268"/>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39" name="Rectangle 238"/>
          <p:cNvSpPr/>
          <p:nvPr>
            <p:custDataLst>
              <p:tags r:id="rId9"/>
            </p:custDataLst>
          </p:nvPr>
        </p:nvSpPr>
        <p:spPr>
          <a:xfrm>
            <a:off x="2613874" y="3684576"/>
            <a:ext cx="2485644" cy="1554272"/>
          </a:xfrm>
          <a:prstGeom prst="rect">
            <a:avLst/>
          </a:prstGeom>
        </p:spPr>
        <p:txBody>
          <a:bodyPr wrap="square">
            <a:spAutoFit/>
          </a:bodyPr>
          <a:lstStyle/>
          <a:p>
            <a:pPr marL="158750" indent="-158750">
              <a:lnSpc>
                <a:spcPct val="90000"/>
              </a:lnSpc>
              <a:spcBef>
                <a:spcPts val="300"/>
              </a:spcBef>
              <a:buClr>
                <a:srgbClr val="E60F2D"/>
              </a:buClr>
              <a:buSzPct val="60000"/>
              <a:buFont typeface="Arial" pitchFamily="34" charset="0"/>
              <a:buChar char="►"/>
              <a:defRPr/>
            </a:pPr>
            <a:r>
              <a:rPr lang="fr-CA" sz="1000" dirty="0">
                <a:latin typeface="EYInterstate Light" panose="02000506000000020004" pitchFamily="2" charset="0"/>
                <a:cs typeface="Arial" pitchFamily="34" charset="0"/>
              </a:rPr>
              <a:t>La solution de talents est intégrée au système d’apprentissage pour suggérer des possibilités de formation et d’apprentissage pertinentes en lien avec les compétences et les objectifs des personnes</a:t>
            </a:r>
          </a:p>
          <a:p>
            <a:pPr marL="158750" indent="-158750">
              <a:lnSpc>
                <a:spcPct val="90000"/>
              </a:lnSpc>
              <a:spcBef>
                <a:spcPts val="300"/>
              </a:spcBef>
              <a:buClr>
                <a:srgbClr val="E60F2D"/>
              </a:buClr>
              <a:buSzPct val="60000"/>
              <a:buFont typeface="Arial" pitchFamily="34" charset="0"/>
              <a:buChar char="►"/>
              <a:defRPr/>
            </a:pPr>
            <a:endParaRPr lang="en-CA" sz="1000" dirty="0">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latin typeface="EYInterstate Light" panose="02000506000000020004" pitchFamily="2" charset="0"/>
                <a:cs typeface="Arial" pitchFamily="34" charset="0"/>
              </a:rPr>
              <a:t>Les employés sont en mesure de lier des heures d’apprentissage accomplies aux objectifs de rendement</a:t>
            </a:r>
          </a:p>
        </p:txBody>
      </p:sp>
      <p:grpSp>
        <p:nvGrpSpPr>
          <p:cNvPr id="246" name="Group 245"/>
          <p:cNvGrpSpPr/>
          <p:nvPr>
            <p:custDataLst>
              <p:tags r:id="rId10"/>
            </p:custDataLst>
          </p:nvPr>
        </p:nvGrpSpPr>
        <p:grpSpPr>
          <a:xfrm>
            <a:off x="2601451" y="1423731"/>
            <a:ext cx="2707551" cy="1086451"/>
            <a:chOff x="2068836" y="1351686"/>
            <a:chExt cx="3120152" cy="1086451"/>
          </a:xfrm>
        </p:grpSpPr>
        <p:sp>
          <p:nvSpPr>
            <p:cNvPr id="244" name="Rectangle 243"/>
            <p:cNvSpPr/>
            <p:nvPr/>
          </p:nvSpPr>
          <p:spPr>
            <a:xfrm>
              <a:off x="2068836" y="1351686"/>
              <a:ext cx="1485863" cy="1086451"/>
            </a:xfrm>
            <a:prstGeom prst="rect">
              <a:avLst/>
            </a:prstGeom>
          </p:spPr>
          <p:txBody>
            <a:bodyPr wrap="square">
              <a:spAutoFit/>
            </a:bodyPr>
            <a:lstStyle/>
            <a:p>
              <a:pPr algn="ctr"/>
              <a:r>
                <a:rPr lang="fr-CA" sz="900" i="1" dirty="0">
                  <a:latin typeface="EYInterstate Light" panose="02000506000000020004" pitchFamily="2" charset="0"/>
                  <a:cs typeface="Arial" pitchFamily="34" charset="0"/>
                </a:rPr>
                <a:t>Les gens n’ont pas de catalogue de qualifications pour connaître les compétences requises pour les postes qui les intéressent.</a:t>
              </a:r>
            </a:p>
            <a:p>
              <a:pPr algn="ctr">
                <a:lnSpc>
                  <a:spcPct val="90000"/>
                </a:lnSpc>
                <a:spcBef>
                  <a:spcPts val="300"/>
                </a:spcBef>
                <a:buClr>
                  <a:srgbClr val="E60F2D"/>
                </a:buClr>
                <a:buSzPct val="60000"/>
                <a:defRPr/>
              </a:pPr>
              <a:endParaRPr lang="en-CA" sz="900" i="1" dirty="0">
                <a:latin typeface="EYInterstate Light" panose="02000506000000020004" pitchFamily="2" charset="0"/>
                <a:cs typeface="Arial" pitchFamily="34" charset="0"/>
              </a:endParaRPr>
            </a:p>
          </p:txBody>
        </p:sp>
        <p:sp>
          <p:nvSpPr>
            <p:cNvPr id="245" name="Rectangle 244"/>
            <p:cNvSpPr/>
            <p:nvPr/>
          </p:nvSpPr>
          <p:spPr>
            <a:xfrm>
              <a:off x="3600028" y="1351686"/>
              <a:ext cx="1588960" cy="840230"/>
            </a:xfrm>
            <a:prstGeom prst="rect">
              <a:avLst/>
            </a:prstGeom>
          </p:spPr>
          <p:txBody>
            <a:bodyPr wrap="square">
              <a:spAutoFit/>
            </a:bodyPr>
            <a:lstStyle/>
            <a:p>
              <a:pPr algn="ctr">
                <a:lnSpc>
                  <a:spcPct val="90000"/>
                </a:lnSpc>
                <a:spcBef>
                  <a:spcPts val="300"/>
                </a:spcBef>
                <a:buClr>
                  <a:srgbClr val="E60F2D"/>
                </a:buClr>
                <a:buSzPct val="60000"/>
                <a:defRPr/>
              </a:pPr>
              <a:r>
                <a:rPr lang="fr-CA" sz="900" i="1" dirty="0">
                  <a:latin typeface="EYInterstate Light" panose="02000506000000020004" pitchFamily="2" charset="0"/>
                  <a:cs typeface="Arial" pitchFamily="34" charset="0"/>
                </a:rPr>
                <a:t>Il n’y a pas de cycle de rétroaction entre les gestionnaires et les employés relativement aux attentes en lien avec le poste.</a:t>
              </a:r>
            </a:p>
          </p:txBody>
        </p:sp>
      </p:grpSp>
      <p:grpSp>
        <p:nvGrpSpPr>
          <p:cNvPr id="18" name="Group 17"/>
          <p:cNvGrpSpPr/>
          <p:nvPr>
            <p:custDataLst>
              <p:tags r:id="rId11"/>
            </p:custDataLst>
          </p:nvPr>
        </p:nvGrpSpPr>
        <p:grpSpPr>
          <a:xfrm>
            <a:off x="1838723" y="1304009"/>
            <a:ext cx="357986" cy="5100466"/>
            <a:chOff x="1230560" y="1304009"/>
            <a:chExt cx="357986" cy="5100466"/>
          </a:xfrm>
        </p:grpSpPr>
        <p:sp>
          <p:nvSpPr>
            <p:cNvPr id="95" name="Freeform 903"/>
            <p:cNvSpPr>
              <a:spLocks noEditPoints="1"/>
            </p:cNvSpPr>
            <p:nvPr/>
          </p:nvSpPr>
          <p:spPr bwMode="auto">
            <a:xfrm>
              <a:off x="1312486" y="1304009"/>
              <a:ext cx="276060" cy="2752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6" name="Freeform 904"/>
            <p:cNvSpPr>
              <a:spLocks noEditPoints="1"/>
            </p:cNvSpPr>
            <p:nvPr/>
          </p:nvSpPr>
          <p:spPr bwMode="auto">
            <a:xfrm>
              <a:off x="1364298" y="1364726"/>
              <a:ext cx="173246" cy="140054"/>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8" name="Freeform 764"/>
            <p:cNvSpPr>
              <a:spLocks noEditPoints="1"/>
            </p:cNvSpPr>
            <p:nvPr/>
          </p:nvSpPr>
          <p:spPr bwMode="auto">
            <a:xfrm>
              <a:off x="1387240" y="5439463"/>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9" name="Freeform 765"/>
            <p:cNvSpPr>
              <a:spLocks noEditPoints="1"/>
            </p:cNvSpPr>
            <p:nvPr/>
          </p:nvSpPr>
          <p:spPr bwMode="auto">
            <a:xfrm>
              <a:off x="1312969" y="5387796"/>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0" name="Freeform 145"/>
            <p:cNvSpPr>
              <a:spLocks noEditPoints="1"/>
            </p:cNvSpPr>
            <p:nvPr/>
          </p:nvSpPr>
          <p:spPr bwMode="auto">
            <a:xfrm>
              <a:off x="1313637" y="3532605"/>
              <a:ext cx="274218" cy="2742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1" name="Freeform 146"/>
            <p:cNvSpPr>
              <a:spLocks noEditPoints="1"/>
            </p:cNvSpPr>
            <p:nvPr/>
          </p:nvSpPr>
          <p:spPr bwMode="auto">
            <a:xfrm>
              <a:off x="1376545" y="3618096"/>
              <a:ext cx="154046" cy="103235"/>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3" name="Freeform 527"/>
            <p:cNvSpPr>
              <a:spLocks noEditPoints="1"/>
            </p:cNvSpPr>
            <p:nvPr/>
          </p:nvSpPr>
          <p:spPr bwMode="auto">
            <a:xfrm>
              <a:off x="1312989" y="2045723"/>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5" name="Freeform 528"/>
            <p:cNvSpPr>
              <a:spLocks noEditPoints="1"/>
            </p:cNvSpPr>
            <p:nvPr/>
          </p:nvSpPr>
          <p:spPr bwMode="auto">
            <a:xfrm>
              <a:off x="1375326" y="2096726"/>
              <a:ext cx="149770" cy="161105"/>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7" name="Freeform 113"/>
            <p:cNvSpPr>
              <a:spLocks noEditPoints="1"/>
            </p:cNvSpPr>
            <p:nvPr/>
          </p:nvSpPr>
          <p:spPr bwMode="auto">
            <a:xfrm>
              <a:off x="1312989" y="2417322"/>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9" name="Freeform 114"/>
            <p:cNvSpPr>
              <a:spLocks noEditPoints="1"/>
            </p:cNvSpPr>
            <p:nvPr/>
          </p:nvSpPr>
          <p:spPr bwMode="auto">
            <a:xfrm>
              <a:off x="1364801" y="2469134"/>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1" name="Freeform 817"/>
            <p:cNvSpPr>
              <a:spLocks noEditPoints="1"/>
            </p:cNvSpPr>
            <p:nvPr/>
          </p:nvSpPr>
          <p:spPr bwMode="auto">
            <a:xfrm>
              <a:off x="1313915" y="6130701"/>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AD7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3" name="Freeform 818"/>
            <p:cNvSpPr>
              <a:spLocks noEditPoints="1"/>
            </p:cNvSpPr>
            <p:nvPr/>
          </p:nvSpPr>
          <p:spPr bwMode="auto">
            <a:xfrm>
              <a:off x="1370281" y="6182235"/>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5" name="Freeform 796"/>
            <p:cNvSpPr>
              <a:spLocks noEditPoints="1"/>
            </p:cNvSpPr>
            <p:nvPr/>
          </p:nvSpPr>
          <p:spPr bwMode="auto">
            <a:xfrm>
              <a:off x="1369456" y="4371313"/>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17" name="Freeform 797"/>
            <p:cNvSpPr>
              <a:spLocks noEditPoints="1"/>
            </p:cNvSpPr>
            <p:nvPr/>
          </p:nvSpPr>
          <p:spPr bwMode="auto">
            <a:xfrm>
              <a:off x="1375944"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19" name="Freeform 798"/>
            <p:cNvSpPr>
              <a:spLocks noEditPoints="1"/>
            </p:cNvSpPr>
            <p:nvPr/>
          </p:nvSpPr>
          <p:spPr bwMode="auto">
            <a:xfrm>
              <a:off x="1427037" y="4371313"/>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0" name="Freeform 799"/>
            <p:cNvSpPr>
              <a:spLocks noEditPoints="1"/>
            </p:cNvSpPr>
            <p:nvPr/>
          </p:nvSpPr>
          <p:spPr bwMode="auto">
            <a:xfrm>
              <a:off x="1433525"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1" name="Freeform 800"/>
            <p:cNvSpPr>
              <a:spLocks noEditPoints="1"/>
            </p:cNvSpPr>
            <p:nvPr/>
          </p:nvSpPr>
          <p:spPr bwMode="auto">
            <a:xfrm>
              <a:off x="1484618" y="4371313"/>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2" name="Freeform 801"/>
            <p:cNvSpPr>
              <a:spLocks noEditPoints="1"/>
            </p:cNvSpPr>
            <p:nvPr/>
          </p:nvSpPr>
          <p:spPr bwMode="auto">
            <a:xfrm>
              <a:off x="1490295" y="4325897"/>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3" name="Freeform 802"/>
            <p:cNvSpPr>
              <a:spLocks noEditPoints="1"/>
            </p:cNvSpPr>
            <p:nvPr/>
          </p:nvSpPr>
          <p:spPr bwMode="auto">
            <a:xfrm>
              <a:off x="1312686" y="4273993"/>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7" name="Freeform 193"/>
            <p:cNvSpPr>
              <a:spLocks noEditPoints="1"/>
            </p:cNvSpPr>
            <p:nvPr/>
          </p:nvSpPr>
          <p:spPr bwMode="auto">
            <a:xfrm>
              <a:off x="1313915" y="1675604"/>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8" name="Freeform 194"/>
            <p:cNvSpPr>
              <a:spLocks noEditPoints="1"/>
            </p:cNvSpPr>
            <p:nvPr/>
          </p:nvSpPr>
          <p:spPr bwMode="auto">
            <a:xfrm>
              <a:off x="1365449" y="1755320"/>
              <a:ext cx="170706" cy="12642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9" name="Freeform 796"/>
            <p:cNvSpPr>
              <a:spLocks noEditPoints="1"/>
            </p:cNvSpPr>
            <p:nvPr/>
          </p:nvSpPr>
          <p:spPr bwMode="auto">
            <a:xfrm>
              <a:off x="1369456" y="28862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71" name="Freeform 797"/>
            <p:cNvSpPr>
              <a:spLocks noEditPoints="1"/>
            </p:cNvSpPr>
            <p:nvPr/>
          </p:nvSpPr>
          <p:spPr bwMode="auto">
            <a:xfrm>
              <a:off x="1375944"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72" name="Freeform 798"/>
            <p:cNvSpPr>
              <a:spLocks noEditPoints="1"/>
            </p:cNvSpPr>
            <p:nvPr/>
          </p:nvSpPr>
          <p:spPr bwMode="auto">
            <a:xfrm>
              <a:off x="1427037" y="28862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3" name="Freeform 799"/>
            <p:cNvSpPr>
              <a:spLocks noEditPoints="1"/>
            </p:cNvSpPr>
            <p:nvPr/>
          </p:nvSpPr>
          <p:spPr bwMode="auto">
            <a:xfrm>
              <a:off x="1433525"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4" name="Freeform 800"/>
            <p:cNvSpPr>
              <a:spLocks noEditPoints="1"/>
            </p:cNvSpPr>
            <p:nvPr/>
          </p:nvSpPr>
          <p:spPr bwMode="auto">
            <a:xfrm>
              <a:off x="1484618" y="28862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5" name="Freeform 801"/>
            <p:cNvSpPr>
              <a:spLocks noEditPoints="1"/>
            </p:cNvSpPr>
            <p:nvPr/>
          </p:nvSpPr>
          <p:spPr bwMode="auto">
            <a:xfrm>
              <a:off x="1490295" y="28408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7" name="Freeform 802"/>
            <p:cNvSpPr>
              <a:spLocks noEditPoints="1"/>
            </p:cNvSpPr>
            <p:nvPr/>
          </p:nvSpPr>
          <p:spPr bwMode="auto">
            <a:xfrm>
              <a:off x="1312686" y="27889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8" name="Freeform 388"/>
            <p:cNvSpPr>
              <a:spLocks noEditPoints="1"/>
            </p:cNvSpPr>
            <p:nvPr/>
          </p:nvSpPr>
          <p:spPr bwMode="auto">
            <a:xfrm>
              <a:off x="1312989" y="3161006"/>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9" name="Freeform 389"/>
            <p:cNvSpPr>
              <a:spLocks noEditPoints="1"/>
            </p:cNvSpPr>
            <p:nvPr/>
          </p:nvSpPr>
          <p:spPr bwMode="auto">
            <a:xfrm>
              <a:off x="1363992" y="3246820"/>
              <a:ext cx="172439" cy="120626"/>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0" name="Freeform 764"/>
            <p:cNvSpPr>
              <a:spLocks noEditPoints="1"/>
            </p:cNvSpPr>
            <p:nvPr/>
          </p:nvSpPr>
          <p:spPr bwMode="auto">
            <a:xfrm>
              <a:off x="1387240" y="3954835"/>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1" name="Freeform 765"/>
            <p:cNvSpPr>
              <a:spLocks noEditPoints="1"/>
            </p:cNvSpPr>
            <p:nvPr/>
          </p:nvSpPr>
          <p:spPr bwMode="auto">
            <a:xfrm>
              <a:off x="1312969" y="3903168"/>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2" name="Freeform 113"/>
            <p:cNvSpPr>
              <a:spLocks noEditPoints="1"/>
            </p:cNvSpPr>
            <p:nvPr/>
          </p:nvSpPr>
          <p:spPr bwMode="auto">
            <a:xfrm>
              <a:off x="1312989" y="4646078"/>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3" name="Freeform 114"/>
            <p:cNvSpPr>
              <a:spLocks noEditPoints="1"/>
            </p:cNvSpPr>
            <p:nvPr/>
          </p:nvSpPr>
          <p:spPr bwMode="auto">
            <a:xfrm>
              <a:off x="1364801" y="4697890"/>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4" name="Freeform 817"/>
            <p:cNvSpPr>
              <a:spLocks noEditPoints="1"/>
            </p:cNvSpPr>
            <p:nvPr/>
          </p:nvSpPr>
          <p:spPr bwMode="auto">
            <a:xfrm>
              <a:off x="1313915" y="5017677"/>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5" name="Freeform 818"/>
            <p:cNvSpPr>
              <a:spLocks noEditPoints="1"/>
            </p:cNvSpPr>
            <p:nvPr/>
          </p:nvSpPr>
          <p:spPr bwMode="auto">
            <a:xfrm>
              <a:off x="1370281" y="5069211"/>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6" name="Freeform 796"/>
            <p:cNvSpPr>
              <a:spLocks noEditPoints="1"/>
            </p:cNvSpPr>
            <p:nvPr/>
          </p:nvSpPr>
          <p:spPr bwMode="auto">
            <a:xfrm>
              <a:off x="1369456" y="58559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87" name="Freeform 797"/>
            <p:cNvSpPr>
              <a:spLocks noEditPoints="1"/>
            </p:cNvSpPr>
            <p:nvPr/>
          </p:nvSpPr>
          <p:spPr bwMode="auto">
            <a:xfrm>
              <a:off x="1375944"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88" name="Freeform 798"/>
            <p:cNvSpPr>
              <a:spLocks noEditPoints="1"/>
            </p:cNvSpPr>
            <p:nvPr/>
          </p:nvSpPr>
          <p:spPr bwMode="auto">
            <a:xfrm>
              <a:off x="1427037" y="58559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9" name="Freeform 799"/>
            <p:cNvSpPr>
              <a:spLocks noEditPoints="1"/>
            </p:cNvSpPr>
            <p:nvPr/>
          </p:nvSpPr>
          <p:spPr bwMode="auto">
            <a:xfrm>
              <a:off x="1433525"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0" name="Freeform 800"/>
            <p:cNvSpPr>
              <a:spLocks noEditPoints="1"/>
            </p:cNvSpPr>
            <p:nvPr/>
          </p:nvSpPr>
          <p:spPr bwMode="auto">
            <a:xfrm>
              <a:off x="1484618" y="58559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1" name="Freeform 801"/>
            <p:cNvSpPr>
              <a:spLocks noEditPoints="1"/>
            </p:cNvSpPr>
            <p:nvPr/>
          </p:nvSpPr>
          <p:spPr bwMode="auto">
            <a:xfrm>
              <a:off x="1490295" y="58105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2" name="Freeform 802"/>
            <p:cNvSpPr>
              <a:spLocks noEditPoints="1"/>
            </p:cNvSpPr>
            <p:nvPr/>
          </p:nvSpPr>
          <p:spPr bwMode="auto">
            <a:xfrm>
              <a:off x="1312686" y="57586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cxnSp>
          <p:nvCxnSpPr>
            <p:cNvPr id="193" name="Straight Connector 192"/>
            <p:cNvCxnSpPr/>
            <p:nvPr/>
          </p:nvCxnSpPr>
          <p:spPr>
            <a:xfrm>
              <a:off x="1230560" y="4646079"/>
              <a:ext cx="1" cy="1388284"/>
            </a:xfrm>
            <a:prstGeom prst="line">
              <a:avLst/>
            </a:prstGeom>
            <a:ln w="19050">
              <a:solidFill>
                <a:srgbClr val="008750"/>
              </a:solidFill>
              <a:tailEnd type="none"/>
            </a:ln>
          </p:spPr>
          <p:style>
            <a:lnRef idx="1">
              <a:schemeClr val="accent1"/>
            </a:lnRef>
            <a:fillRef idx="0">
              <a:schemeClr val="accent1"/>
            </a:fillRef>
            <a:effectRef idx="0">
              <a:schemeClr val="accent1"/>
            </a:effectRef>
            <a:fontRef idx="minor">
              <a:schemeClr val="tx1"/>
            </a:fontRef>
          </p:style>
        </p:cxnSp>
      </p:grpSp>
      <p:cxnSp>
        <p:nvCxnSpPr>
          <p:cNvPr id="92" name="Straight Connector 91"/>
          <p:cNvCxnSpPr/>
          <p:nvPr>
            <p:custDataLst>
              <p:tags r:id="rId12"/>
            </p:custDataLst>
          </p:nvPr>
        </p:nvCxnSpPr>
        <p:spPr>
          <a:xfrm flipV="1">
            <a:off x="2527554"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TextBox 60"/>
          <p:cNvSpPr txBox="1"/>
          <p:nvPr>
            <p:custDataLst>
              <p:tags r:id="rId13"/>
            </p:custDataLst>
          </p:nvPr>
        </p:nvSpPr>
        <p:spPr>
          <a:xfrm>
            <a:off x="6693176" y="1441634"/>
            <a:ext cx="3970341" cy="666208"/>
          </a:xfrm>
          <a:prstGeom prst="rect">
            <a:avLst/>
          </a:prstGeom>
          <a:solidFill>
            <a:schemeClr val="bg1">
              <a:lumMod val="20000"/>
              <a:lumOff val="80000"/>
            </a:schemeClr>
          </a:solidFill>
          <a:ln>
            <a:solidFill>
              <a:srgbClr val="C00000"/>
            </a:solidFill>
          </a:ln>
        </p:spPr>
        <p:txBody>
          <a:bodyPr wrap="square" lIns="0" tIns="36576" rIns="0" bIns="0" rtlCol="0">
            <a:spAutoFit/>
          </a:bodyPr>
          <a:lstStyle/>
          <a:p>
            <a:pPr>
              <a:lnSpc>
                <a:spcPct val="85000"/>
              </a:lnSpc>
              <a:spcAft>
                <a:spcPts val="600"/>
              </a:spcAft>
              <a:buClr>
                <a:schemeClr val="accent2"/>
              </a:buClr>
              <a:buSzPct val="70000"/>
            </a:pPr>
            <a:r>
              <a:rPr lang="fr-CA" sz="1200" b="1" dirty="0">
                <a:latin typeface="EYInterstate Light" panose="02000506000000020004" pitchFamily="2" charset="0"/>
              </a:rPr>
              <a:t>Les employés </a:t>
            </a:r>
            <a:r>
              <a:rPr lang="fr-CA" sz="1200" dirty="0">
                <a:latin typeface="EYInterstate Light" panose="02000506000000020004" pitchFamily="2" charset="0"/>
              </a:rPr>
              <a:t>représentent tous les types de fonctions, y compris les aspects les plus complexes. Cela comprend également les travailleurs à temps plein, à temps partiel, les postes à durée indéterminée et les postes à durée déterminée.  </a:t>
            </a:r>
          </a:p>
        </p:txBody>
      </p:sp>
      <p:pic>
        <p:nvPicPr>
          <p:cNvPr id="62" name="Picture 61"/>
          <p:cNvPicPr>
            <a:picLocks/>
          </p:cNvPicPr>
          <p:nvPr>
            <p:custDataLst>
              <p:tags r:id="rId14"/>
            </p:custDataLst>
          </p:nvPr>
        </p:nvPicPr>
        <p:blipFill rotWithShape="1">
          <a:blip r:embed="rId16" cstate="email">
            <a:extLst>
              <a:ext uri="{BEBA8EAE-BF5A-486C-A8C5-ECC9F3942E4B}">
                <a14:imgProps xmlns:a14="http://schemas.microsoft.com/office/drawing/2010/main">
                  <a14:imgLayer r:embed="rId17">
                    <a14:imgEffect>
                      <a14:backgroundRemoval t="0" b="98684" l="0" r="100000"/>
                    </a14:imgEffect>
                  </a14:imgLayer>
                </a14:imgProps>
              </a:ext>
              <a:ext uri="{28A0092B-C50C-407E-A947-70E740481C1C}">
                <a14:useLocalDpi xmlns:a14="http://schemas.microsoft.com/office/drawing/2010/main"/>
              </a:ext>
            </a:extLst>
          </a:blip>
          <a:srcRect/>
          <a:stretch/>
        </p:blipFill>
        <p:spPr>
          <a:xfrm>
            <a:off x="822122" y="1290306"/>
            <a:ext cx="743712" cy="1178828"/>
          </a:xfrm>
          <a:prstGeom prst="rect">
            <a:avLst/>
          </a:prstGeom>
          <a:ln>
            <a:noFill/>
          </a:ln>
        </p:spPr>
      </p:pic>
    </p:spTree>
    <p:extLst>
      <p:ext uri="{BB962C8B-B14F-4D97-AF65-F5344CB8AC3E}">
        <p14:creationId xmlns:p14="http://schemas.microsoft.com/office/powerpoint/2010/main" val="3615620142"/>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custDataLst>
              <p:tags r:id="rId1"/>
            </p:custDataLst>
          </p:nvPr>
        </p:nvSpPr>
        <p:spPr>
          <a:xfrm>
            <a:off x="500706" y="511899"/>
            <a:ext cx="8017370"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Activité 5</a:t>
            </a:r>
          </a:p>
        </p:txBody>
      </p:sp>
      <p:sp>
        <p:nvSpPr>
          <p:cNvPr id="80" name="TextBox 79"/>
          <p:cNvSpPr txBox="1"/>
          <p:nvPr>
            <p:custDataLst>
              <p:tags r:id="rId2"/>
            </p:custDataLst>
          </p:nvPr>
        </p:nvSpPr>
        <p:spPr>
          <a:xfrm>
            <a:off x="500706" y="1137094"/>
            <a:ext cx="10067338" cy="1200329"/>
          </a:xfrm>
          <a:prstGeom prst="rect">
            <a:avLst/>
          </a:prstGeom>
          <a:noFill/>
        </p:spPr>
        <p:txBody>
          <a:bodyPr wrap="square" lIns="0" tIns="0" rIns="0" bIns="0" rtlCol="0" anchor="t" anchorCtr="0">
            <a:spAutoFit/>
          </a:bodyPr>
          <a:lstStyle/>
          <a:p>
            <a:r>
              <a:rPr lang="fr-CA" sz="1300" b="1" dirty="0">
                <a:solidFill>
                  <a:srgbClr val="4B4B4B"/>
                </a:solidFill>
                <a:latin typeface="EYInterstate Light" panose="02000506000000020004" pitchFamily="2" charset="0"/>
              </a:rPr>
              <a:t>Objectif : </a:t>
            </a:r>
            <a:r>
              <a:rPr lang="fr-CA" sz="1300" dirty="0">
                <a:solidFill>
                  <a:srgbClr val="4B4B4B"/>
                </a:solidFill>
                <a:latin typeface="EYInterstate Light" panose="02000506000000020004" pitchFamily="2" charset="0"/>
              </a:rPr>
              <a:t>cibler les principaux domaines de possibilités, les moments qui comptent, et les outils technologiques habilitants en matière de départs relativement à la persona désignée.  </a:t>
            </a:r>
          </a:p>
          <a:p>
            <a:endParaRPr lang="en-CA" sz="1300" dirty="0">
              <a:solidFill>
                <a:srgbClr val="969696"/>
              </a:solidFill>
              <a:latin typeface="EYInterstate Light" panose="02000506000000020004" pitchFamily="2" charset="0"/>
            </a:endParaRPr>
          </a:p>
          <a:p>
            <a:r>
              <a:rPr lang="fr-CA" sz="1300" b="1" dirty="0">
                <a:solidFill>
                  <a:srgbClr val="4B4B4B"/>
                </a:solidFill>
                <a:latin typeface="EYInterstate Light" panose="02000506000000020004" pitchFamily="2" charset="0"/>
              </a:rPr>
              <a:t>Directives</a:t>
            </a:r>
            <a:r>
              <a:rPr lang="fr-CA" sz="1300" dirty="0">
                <a:solidFill>
                  <a:srgbClr val="4B4B4B"/>
                </a:solidFill>
                <a:latin typeface="EYInterstate Light" panose="02000506000000020004" pitchFamily="2" charset="0"/>
              </a:rPr>
              <a:t> : rassemblez-vous en groupes de 3 personnes autour de l’affiche de la persona dans la salle. À l’aide de l’histoire de Chris, concentrez-vous sur votre persona et saisissez les principaux domaines de possibilités, les moments qui comptent, et les outils technologiques habilitants dans le processus de recrutement et d’embauche. Utilisez les notes autocollantes fournies pour inscrire vos réponses sur les affiches. </a:t>
            </a:r>
          </a:p>
        </p:txBody>
      </p:sp>
      <p:pic>
        <p:nvPicPr>
          <p:cNvPr id="2" name="Picture 1"/>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284126" y="2758408"/>
            <a:ext cx="7888142" cy="2696283"/>
          </a:xfrm>
          <a:prstGeom prst="rect">
            <a:avLst/>
          </a:prstGeom>
        </p:spPr>
      </p:pic>
      <p:grpSp>
        <p:nvGrpSpPr>
          <p:cNvPr id="289" name="Group 288"/>
          <p:cNvGrpSpPr/>
          <p:nvPr>
            <p:custDataLst>
              <p:tags r:id="rId4"/>
            </p:custDataLst>
          </p:nvPr>
        </p:nvGrpSpPr>
        <p:grpSpPr>
          <a:xfrm>
            <a:off x="8375539" y="2689767"/>
            <a:ext cx="3438133" cy="2937532"/>
            <a:chOff x="5093442" y="1666076"/>
            <a:chExt cx="5322254" cy="4190295"/>
          </a:xfrm>
        </p:grpSpPr>
        <p:pic>
          <p:nvPicPr>
            <p:cNvPr id="290" name="Picture 289"/>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5489503" y="1666076"/>
              <a:ext cx="822420" cy="1079497"/>
            </a:xfrm>
            <a:prstGeom prst="rect">
              <a:avLst/>
            </a:prstGeom>
            <a:ln>
              <a:noFill/>
            </a:ln>
          </p:spPr>
        </p:pic>
        <p:pic>
          <p:nvPicPr>
            <p:cNvPr id="291" name="Picture 290"/>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5523344" y="4776371"/>
              <a:ext cx="754737" cy="1080000"/>
            </a:xfrm>
            <a:prstGeom prst="rect">
              <a:avLst/>
            </a:prstGeom>
            <a:ln>
              <a:noFill/>
            </a:ln>
          </p:spPr>
        </p:pic>
        <p:sp>
          <p:nvSpPr>
            <p:cNvPr id="292" name="TextBox 291"/>
            <p:cNvSpPr txBox="1"/>
            <p:nvPr/>
          </p:nvSpPr>
          <p:spPr>
            <a:xfrm>
              <a:off x="5093442" y="2745573"/>
              <a:ext cx="1614540" cy="526840"/>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Gestionnaire du personnel</a:t>
              </a:r>
            </a:p>
          </p:txBody>
        </p:sp>
        <p:pic>
          <p:nvPicPr>
            <p:cNvPr id="294" name="Picture 293"/>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9655653" y="4790151"/>
              <a:ext cx="760043" cy="1066220"/>
            </a:xfrm>
            <a:prstGeom prst="rect">
              <a:avLst/>
            </a:prstGeom>
            <a:ln>
              <a:noFill/>
            </a:ln>
          </p:spPr>
        </p:pic>
        <p:pic>
          <p:nvPicPr>
            <p:cNvPr id="296" name="Picture 29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711408" y="2490861"/>
              <a:ext cx="2642799" cy="2640985"/>
            </a:xfrm>
            <a:prstGeom prst="rect">
              <a:avLst/>
            </a:prstGeom>
          </p:spPr>
        </p:pic>
      </p:grpSp>
      <p:sp>
        <p:nvSpPr>
          <p:cNvPr id="299" name="TextBox 298"/>
          <p:cNvSpPr txBox="1"/>
          <p:nvPr>
            <p:custDataLst>
              <p:tags r:id="rId5"/>
            </p:custDataLst>
          </p:nvPr>
        </p:nvSpPr>
        <p:spPr>
          <a:xfrm>
            <a:off x="11127959" y="3528559"/>
            <a:ext cx="982761" cy="369332"/>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Administrateur </a:t>
            </a:r>
          </a:p>
          <a:p>
            <a:pPr algn="ctr"/>
            <a:r>
              <a:rPr lang="fr-CA" sz="1200" b="1" dirty="0">
                <a:solidFill>
                  <a:srgbClr val="4B4B4B"/>
                </a:solidFill>
                <a:latin typeface="EYInterstate Light" panose="02000506000000020004" pitchFamily="2" charset="0"/>
              </a:rPr>
              <a:t>décentralisé</a:t>
            </a:r>
          </a:p>
        </p:txBody>
      </p:sp>
      <p:sp>
        <p:nvSpPr>
          <p:cNvPr id="17" name="TextBox 16"/>
          <p:cNvSpPr txBox="1"/>
          <p:nvPr>
            <p:custDataLst>
              <p:tags r:id="rId6"/>
            </p:custDataLst>
          </p:nvPr>
        </p:nvSpPr>
        <p:spPr>
          <a:xfrm>
            <a:off x="8480159" y="5774289"/>
            <a:ext cx="1717154" cy="184666"/>
          </a:xfrm>
          <a:prstGeom prst="rect">
            <a:avLst/>
          </a:prstGeom>
          <a:noFill/>
        </p:spPr>
        <p:txBody>
          <a:bodyPr wrap="square" lIns="0" tIns="0" rIns="0" bIns="0" rtlCol="0" anchor="t" anchorCtr="0">
            <a:spAutoFit/>
          </a:bodyPr>
          <a:lstStyle/>
          <a:p>
            <a:r>
              <a:rPr lang="fr-CA" sz="1200" b="1" dirty="0">
                <a:solidFill>
                  <a:srgbClr val="4B4B4B"/>
                </a:solidFill>
                <a:latin typeface="EYInterstate Light" panose="02000506000000020004" pitchFamily="2" charset="0"/>
              </a:rPr>
              <a:t>Spécialiste des ressources humaines </a:t>
            </a:r>
          </a:p>
        </p:txBody>
      </p:sp>
      <p:sp>
        <p:nvSpPr>
          <p:cNvPr id="18" name="TextBox 17"/>
          <p:cNvSpPr txBox="1"/>
          <p:nvPr>
            <p:custDataLst>
              <p:tags r:id="rId7"/>
            </p:custDataLst>
          </p:nvPr>
        </p:nvSpPr>
        <p:spPr>
          <a:xfrm>
            <a:off x="11127959" y="5781080"/>
            <a:ext cx="982761" cy="553998"/>
          </a:xfrm>
          <a:prstGeom prst="rect">
            <a:avLst/>
          </a:prstGeom>
          <a:noFill/>
        </p:spPr>
        <p:txBody>
          <a:bodyPr wrap="square" lIns="0" tIns="0" rIns="0" bIns="0" rtlCol="0" anchor="t" anchorCtr="0">
            <a:spAutoFit/>
          </a:bodyPr>
          <a:lstStyle/>
          <a:p>
            <a:pPr algn="ctr"/>
            <a:r>
              <a:rPr lang="fr-CA" sz="1200" b="1" dirty="0">
                <a:solidFill>
                  <a:srgbClr val="4B4B4B"/>
                </a:solidFill>
                <a:latin typeface="EYInterstate Light" panose="02000506000000020004" pitchFamily="2" charset="0"/>
              </a:rPr>
              <a:t>Conseiller en rémunération et à la paie</a:t>
            </a:r>
          </a:p>
        </p:txBody>
      </p:sp>
      <p:pic>
        <p:nvPicPr>
          <p:cNvPr id="19" name="Picture 18"/>
          <p:cNvPicPr>
            <a:picLocks/>
          </p:cNvPicPr>
          <p:nvPr>
            <p:custDataLst>
              <p:tags r:id="rId8"/>
            </p:custDataLst>
          </p:nvPr>
        </p:nvPicPr>
        <p:blipFill rotWithShape="1">
          <a:blip r:embed="rId16" cstate="email">
            <a:extLst>
              <a:ext uri="{28A0092B-C50C-407E-A947-70E740481C1C}">
                <a14:useLocalDpi xmlns:a14="http://schemas.microsoft.com/office/drawing/2010/main"/>
              </a:ext>
            </a:extLst>
          </a:blip>
          <a:srcRect/>
          <a:stretch/>
        </p:blipFill>
        <p:spPr>
          <a:xfrm>
            <a:off x="11149426" y="2689767"/>
            <a:ext cx="586850" cy="781035"/>
          </a:xfrm>
          <a:prstGeom prst="rect">
            <a:avLst/>
          </a:prstGeom>
          <a:noFill/>
          <a:ln>
            <a:noFill/>
          </a:ln>
        </p:spPr>
      </p:pic>
      <p:pic>
        <p:nvPicPr>
          <p:cNvPr id="20" name="Picture 19"/>
          <p:cNvPicPr>
            <a:picLocks/>
          </p:cNvPicPr>
          <p:nvPr>
            <p:custDataLst>
              <p:tags r:id="rId9"/>
            </p:custDataLst>
          </p:nvPr>
        </p:nvPicPr>
        <p:blipFill rotWithShape="1">
          <a:blip r:embed="rId17" cstate="email">
            <a:extLst>
              <a:ext uri="{28A0092B-C50C-407E-A947-70E740481C1C}">
                <a14:useLocalDpi xmlns:a14="http://schemas.microsoft.com/office/drawing/2010/main"/>
              </a:ext>
            </a:extLst>
          </a:blip>
          <a:srcRect/>
          <a:stretch/>
        </p:blipFill>
        <p:spPr>
          <a:xfrm>
            <a:off x="9944352" y="3528559"/>
            <a:ext cx="659987" cy="851857"/>
          </a:xfrm>
          <a:prstGeom prst="rect">
            <a:avLst/>
          </a:prstGeom>
          <a:ln>
            <a:noFill/>
          </a:ln>
        </p:spPr>
      </p:pic>
    </p:spTree>
    <p:extLst>
      <p:ext uri="{BB962C8B-B14F-4D97-AF65-F5344CB8AC3E}">
        <p14:creationId xmlns:p14="http://schemas.microsoft.com/office/powerpoint/2010/main" val="323674498"/>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custDataLst>
              <p:tags r:id="rId1"/>
            </p:custDataLst>
          </p:nvPr>
        </p:nvSpPr>
        <p:spPr>
          <a:xfrm>
            <a:off x="614566" y="659554"/>
            <a:ext cx="8017370"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Gestionnaire du personnel : </a:t>
            </a:r>
            <a:r>
              <a:rPr lang="fr-CA" sz="2600" i="1" dirty="0">
                <a:solidFill>
                  <a:srgbClr val="4B4B4B"/>
                </a:solidFill>
                <a:latin typeface="EYInterstate Light" panose="02000506000000020004" pitchFamily="2" charset="0"/>
              </a:rPr>
              <a:t>départ</a:t>
            </a:r>
          </a:p>
        </p:txBody>
      </p:sp>
      <p:sp>
        <p:nvSpPr>
          <p:cNvPr id="230" name="Text Placeholder 5"/>
          <p:cNvSpPr txBox="1">
            <a:spLocks/>
          </p:cNvSpPr>
          <p:nvPr>
            <p:custDataLst>
              <p:tags r:id="rId2"/>
            </p:custDataLst>
          </p:nvPr>
        </p:nvSpPr>
        <p:spPr>
          <a:xfrm rot="5400000">
            <a:off x="5105932" y="1707549"/>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Domaines de possibilités</a:t>
            </a:r>
          </a:p>
        </p:txBody>
      </p:sp>
      <p:sp>
        <p:nvSpPr>
          <p:cNvPr id="232" name="Text Placeholder 5"/>
          <p:cNvSpPr txBox="1">
            <a:spLocks/>
          </p:cNvSpPr>
          <p:nvPr>
            <p:custDataLst>
              <p:tags r:id="rId3"/>
            </p:custDataLst>
          </p:nvPr>
        </p:nvSpPr>
        <p:spPr>
          <a:xfrm rot="5400000">
            <a:off x="5105932" y="2699544"/>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Moments</a:t>
            </a:r>
            <a:br>
              <a:rPr lang="fr-CA" sz="1050" b="1" dirty="0">
                <a:solidFill>
                  <a:srgbClr val="000000"/>
                </a:solidFill>
                <a:latin typeface="EYInterstate Light" panose="02000506000000020004" pitchFamily="2" charset="0"/>
              </a:rPr>
            </a:br>
            <a:r>
              <a:rPr lang="fr-CA" sz="1050" b="1" dirty="0">
                <a:solidFill>
                  <a:srgbClr val="000000"/>
                </a:solidFill>
                <a:latin typeface="EYInterstate Light" panose="02000506000000020004" pitchFamily="2" charset="0"/>
              </a:rPr>
              <a:t>qui comptent</a:t>
            </a:r>
          </a:p>
        </p:txBody>
      </p:sp>
      <p:sp>
        <p:nvSpPr>
          <p:cNvPr id="233" name="Text Placeholder 5"/>
          <p:cNvSpPr txBox="1">
            <a:spLocks/>
          </p:cNvSpPr>
          <p:nvPr>
            <p:custDataLst>
              <p:tags r:id="rId4"/>
            </p:custDataLst>
          </p:nvPr>
        </p:nvSpPr>
        <p:spPr>
          <a:xfrm rot="5400000">
            <a:off x="5021293" y="4094326"/>
            <a:ext cx="1214070" cy="26161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fr-CA" sz="1050" b="1" dirty="0">
                <a:solidFill>
                  <a:srgbClr val="000000"/>
                </a:solidFill>
                <a:latin typeface="EYInterstate Light" panose="02000506000000020004" pitchFamily="2" charset="0"/>
              </a:rPr>
              <a:t>Outils habilitants</a:t>
            </a:r>
          </a:p>
        </p:txBody>
      </p:sp>
      <p:sp>
        <p:nvSpPr>
          <p:cNvPr id="222" name="TextBox 221"/>
          <p:cNvSpPr txBox="1"/>
          <p:nvPr>
            <p:custDataLst>
              <p:tags r:id="rId5"/>
            </p:custDataLst>
          </p:nvPr>
        </p:nvSpPr>
        <p:spPr>
          <a:xfrm>
            <a:off x="2552700" y="2254913"/>
            <a:ext cx="434126" cy="510861"/>
          </a:xfrm>
          <a:prstGeom prst="rect">
            <a:avLst/>
          </a:prstGeom>
          <a:noFill/>
        </p:spPr>
        <p:txBody>
          <a:bodyPr wrap="square" tIns="324000" bIns="0" rtlCol="0" anchor="ctr">
            <a:noAutofit/>
          </a:bodyPr>
          <a:lstStyle/>
          <a:p>
            <a:r>
              <a:rPr lang="fr-CA" sz="6000" dirty="0">
                <a:solidFill>
                  <a:srgbClr val="E60F2D"/>
                </a:solidFill>
                <a:latin typeface="EYInterstate Light" panose="02000506000000020004" pitchFamily="2" charset="0"/>
              </a:rPr>
              <a:t>«</a:t>
            </a:r>
          </a:p>
        </p:txBody>
      </p:sp>
      <p:sp>
        <p:nvSpPr>
          <p:cNvPr id="223" name="TextBox 222"/>
          <p:cNvSpPr txBox="1"/>
          <p:nvPr>
            <p:custDataLst>
              <p:tags r:id="rId6"/>
            </p:custDataLst>
          </p:nvPr>
        </p:nvSpPr>
        <p:spPr>
          <a:xfrm>
            <a:off x="2611478" y="2648285"/>
            <a:ext cx="2734245" cy="938719"/>
          </a:xfrm>
          <a:prstGeom prst="rect">
            <a:avLst/>
          </a:prstGeom>
          <a:noFill/>
        </p:spPr>
        <p:txBody>
          <a:bodyPr wrap="square" lIns="108000" rIns="108000" rtlCol="0" anchor="t">
            <a:spAutoFit/>
          </a:bodyPr>
          <a:lstStyle/>
          <a:p>
            <a:pPr algn="ctr"/>
            <a:r>
              <a:rPr lang="fr-CA" sz="1100" b="1" dirty="0">
                <a:solidFill>
                  <a:srgbClr val="C0C0C0">
                    <a:lumMod val="10000"/>
                  </a:srgbClr>
                </a:solidFill>
              </a:rPr>
              <a:t>« Je suis prêt et apte à évaluer les besoins d’embauche et de suivre les mouvements grâce à quelques changements récents dans mon effectif. »</a:t>
            </a:r>
          </a:p>
        </p:txBody>
      </p:sp>
      <p:cxnSp>
        <p:nvCxnSpPr>
          <p:cNvPr id="224" name="Straight Connector 223"/>
          <p:cNvCxnSpPr/>
          <p:nvPr>
            <p:custDataLst>
              <p:tags r:id="rId7"/>
            </p:custDataLst>
          </p:nvPr>
        </p:nvCxnSpPr>
        <p:spPr>
          <a:xfrm>
            <a:off x="2983880" y="2503993"/>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239" name="Rectangle 238"/>
          <p:cNvSpPr/>
          <p:nvPr>
            <p:custDataLst>
              <p:tags r:id="rId8"/>
            </p:custDataLst>
          </p:nvPr>
        </p:nvSpPr>
        <p:spPr>
          <a:xfrm>
            <a:off x="2613874" y="3684576"/>
            <a:ext cx="2485644" cy="2323713"/>
          </a:xfrm>
          <a:prstGeom prst="rect">
            <a:avLst/>
          </a:prstGeom>
        </p:spPr>
        <p:txBody>
          <a:bodyPr wrap="square">
            <a:spAutoFit/>
          </a:bodyPr>
          <a:lstStyle/>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gestionnaires du personnel sont en mesure de générer des rapports personnalisés sur leurs équipes, y compris les mouvements, les résiliations, et les promotion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gestionnaires du personnel ont un accès tangible aux données clés de leur effectif (mouvements, événements, productivité, engagement) par rapport au reste de l’université</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fr-CA" sz="1000" dirty="0">
                <a:solidFill>
                  <a:srgbClr val="000000"/>
                </a:solidFill>
                <a:latin typeface="EYInterstate Light" panose="02000506000000020004" pitchFamily="2" charset="0"/>
                <a:cs typeface="Arial" pitchFamily="34" charset="0"/>
              </a:rPr>
              <a:t>Les analyses permettent aux gestionnaires du personnel d’avoir un aperçu de la diversité de leurs équipes</a:t>
            </a:r>
          </a:p>
        </p:txBody>
      </p:sp>
      <p:cxnSp>
        <p:nvCxnSpPr>
          <p:cNvPr id="242" name="Straight Connector 241"/>
          <p:cNvCxnSpPr/>
          <p:nvPr>
            <p:custDataLst>
              <p:tags r:id="rId9"/>
            </p:custDataLst>
          </p:nvPr>
        </p:nvCxnSpPr>
        <p:spPr>
          <a:xfrm flipV="1">
            <a:off x="5382123"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46" name="Group 245"/>
          <p:cNvGrpSpPr/>
          <p:nvPr>
            <p:custDataLst>
              <p:tags r:id="rId10"/>
            </p:custDataLst>
          </p:nvPr>
        </p:nvGrpSpPr>
        <p:grpSpPr>
          <a:xfrm>
            <a:off x="2601451" y="1423731"/>
            <a:ext cx="2707551" cy="646331"/>
            <a:chOff x="2068836" y="1351686"/>
            <a:chExt cx="3120152" cy="646331"/>
          </a:xfrm>
        </p:grpSpPr>
        <p:sp>
          <p:nvSpPr>
            <p:cNvPr id="244" name="Rectangle 243"/>
            <p:cNvSpPr/>
            <p:nvPr/>
          </p:nvSpPr>
          <p:spPr>
            <a:xfrm>
              <a:off x="2068836" y="1351686"/>
              <a:ext cx="1485863" cy="507831"/>
            </a:xfrm>
            <a:prstGeom prst="rect">
              <a:avLst/>
            </a:prstGeom>
          </p:spPr>
          <p:txBody>
            <a:bodyPr wrap="square">
              <a:spAutoFit/>
            </a:bodyPr>
            <a:lstStyle/>
            <a:p>
              <a:pPr algn="ctr"/>
              <a:r>
                <a:rPr lang="fr-CA" sz="900" i="1" dirty="0">
                  <a:solidFill>
                    <a:srgbClr val="000000"/>
                  </a:solidFill>
                  <a:latin typeface="EYInterstate Light" panose="02000506000000020004" pitchFamily="2" charset="0"/>
                  <a:cs typeface="Arial" pitchFamily="34" charset="0"/>
                </a:rPr>
                <a:t>Les sondages de départ ne sont pas utilisés systématiquement.</a:t>
              </a:r>
            </a:p>
          </p:txBody>
        </p:sp>
        <p:sp>
          <p:nvSpPr>
            <p:cNvPr id="245" name="Rectangle 244"/>
            <p:cNvSpPr/>
            <p:nvPr/>
          </p:nvSpPr>
          <p:spPr>
            <a:xfrm>
              <a:off x="3600028" y="1351686"/>
              <a:ext cx="1588960" cy="646331"/>
            </a:xfrm>
            <a:prstGeom prst="rect">
              <a:avLst/>
            </a:prstGeom>
          </p:spPr>
          <p:txBody>
            <a:bodyPr wrap="square">
              <a:spAutoFit/>
            </a:bodyPr>
            <a:lstStyle/>
            <a:p>
              <a:pPr algn="ctr"/>
              <a:r>
                <a:rPr lang="fr-CA" sz="900" i="1" dirty="0">
                  <a:solidFill>
                    <a:srgbClr val="000000"/>
                  </a:solidFill>
                  <a:latin typeface="EYInterstate Light" panose="02000506000000020004" pitchFamily="2" charset="0"/>
                  <a:cs typeface="Arial" pitchFamily="34" charset="0"/>
                </a:rPr>
                <a:t>Le processus de cessation d’emploi est papier, cela ne représente donc pas le processus complet.</a:t>
              </a:r>
            </a:p>
          </p:txBody>
        </p:sp>
      </p:grpSp>
      <p:grpSp>
        <p:nvGrpSpPr>
          <p:cNvPr id="18" name="Group 17"/>
          <p:cNvGrpSpPr/>
          <p:nvPr>
            <p:custDataLst>
              <p:tags r:id="rId11"/>
            </p:custDataLst>
          </p:nvPr>
        </p:nvGrpSpPr>
        <p:grpSpPr>
          <a:xfrm>
            <a:off x="1838723" y="1304009"/>
            <a:ext cx="357986" cy="5100466"/>
            <a:chOff x="1230560" y="1304009"/>
            <a:chExt cx="357986" cy="5100466"/>
          </a:xfrm>
        </p:grpSpPr>
        <p:sp>
          <p:nvSpPr>
            <p:cNvPr id="95" name="Freeform 903"/>
            <p:cNvSpPr>
              <a:spLocks noEditPoints="1"/>
            </p:cNvSpPr>
            <p:nvPr/>
          </p:nvSpPr>
          <p:spPr bwMode="auto">
            <a:xfrm>
              <a:off x="1312486" y="1304009"/>
              <a:ext cx="276060" cy="2752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6" name="Freeform 904"/>
            <p:cNvSpPr>
              <a:spLocks noEditPoints="1"/>
            </p:cNvSpPr>
            <p:nvPr/>
          </p:nvSpPr>
          <p:spPr bwMode="auto">
            <a:xfrm>
              <a:off x="1364298" y="1364726"/>
              <a:ext cx="173246" cy="140054"/>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8" name="Freeform 764"/>
            <p:cNvSpPr>
              <a:spLocks noEditPoints="1"/>
            </p:cNvSpPr>
            <p:nvPr/>
          </p:nvSpPr>
          <p:spPr bwMode="auto">
            <a:xfrm>
              <a:off x="1387240" y="5439463"/>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99" name="Freeform 765"/>
            <p:cNvSpPr>
              <a:spLocks noEditPoints="1"/>
            </p:cNvSpPr>
            <p:nvPr/>
          </p:nvSpPr>
          <p:spPr bwMode="auto">
            <a:xfrm>
              <a:off x="1312969" y="5387796"/>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0" name="Freeform 145"/>
            <p:cNvSpPr>
              <a:spLocks noEditPoints="1"/>
            </p:cNvSpPr>
            <p:nvPr/>
          </p:nvSpPr>
          <p:spPr bwMode="auto">
            <a:xfrm>
              <a:off x="1313637" y="3532605"/>
              <a:ext cx="274218" cy="2742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1" name="Freeform 146"/>
            <p:cNvSpPr>
              <a:spLocks noEditPoints="1"/>
            </p:cNvSpPr>
            <p:nvPr/>
          </p:nvSpPr>
          <p:spPr bwMode="auto">
            <a:xfrm>
              <a:off x="1376545" y="3618096"/>
              <a:ext cx="154046" cy="103235"/>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3" name="Freeform 527"/>
            <p:cNvSpPr>
              <a:spLocks noEditPoints="1"/>
            </p:cNvSpPr>
            <p:nvPr/>
          </p:nvSpPr>
          <p:spPr bwMode="auto">
            <a:xfrm>
              <a:off x="1312989" y="2045723"/>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5" name="Freeform 528"/>
            <p:cNvSpPr>
              <a:spLocks noEditPoints="1"/>
            </p:cNvSpPr>
            <p:nvPr/>
          </p:nvSpPr>
          <p:spPr bwMode="auto">
            <a:xfrm>
              <a:off x="1375326" y="2096726"/>
              <a:ext cx="149770" cy="161105"/>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7" name="Freeform 113"/>
            <p:cNvSpPr>
              <a:spLocks noEditPoints="1"/>
            </p:cNvSpPr>
            <p:nvPr/>
          </p:nvSpPr>
          <p:spPr bwMode="auto">
            <a:xfrm>
              <a:off x="1312989" y="2417322"/>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09" name="Freeform 114"/>
            <p:cNvSpPr>
              <a:spLocks noEditPoints="1"/>
            </p:cNvSpPr>
            <p:nvPr/>
          </p:nvSpPr>
          <p:spPr bwMode="auto">
            <a:xfrm>
              <a:off x="1364801" y="2469134"/>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1" name="Freeform 817"/>
            <p:cNvSpPr>
              <a:spLocks noEditPoints="1"/>
            </p:cNvSpPr>
            <p:nvPr/>
          </p:nvSpPr>
          <p:spPr bwMode="auto">
            <a:xfrm>
              <a:off x="1313915" y="6130701"/>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AD7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3" name="Freeform 818"/>
            <p:cNvSpPr>
              <a:spLocks noEditPoints="1"/>
            </p:cNvSpPr>
            <p:nvPr/>
          </p:nvSpPr>
          <p:spPr bwMode="auto">
            <a:xfrm>
              <a:off x="1370281" y="6182235"/>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15" name="Freeform 796"/>
            <p:cNvSpPr>
              <a:spLocks noEditPoints="1"/>
            </p:cNvSpPr>
            <p:nvPr/>
          </p:nvSpPr>
          <p:spPr bwMode="auto">
            <a:xfrm>
              <a:off x="1369456" y="4371313"/>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17" name="Freeform 797"/>
            <p:cNvSpPr>
              <a:spLocks noEditPoints="1"/>
            </p:cNvSpPr>
            <p:nvPr/>
          </p:nvSpPr>
          <p:spPr bwMode="auto">
            <a:xfrm>
              <a:off x="1375944"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19" name="Freeform 798"/>
            <p:cNvSpPr>
              <a:spLocks noEditPoints="1"/>
            </p:cNvSpPr>
            <p:nvPr/>
          </p:nvSpPr>
          <p:spPr bwMode="auto">
            <a:xfrm>
              <a:off x="1427037" y="4371313"/>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0" name="Freeform 799"/>
            <p:cNvSpPr>
              <a:spLocks noEditPoints="1"/>
            </p:cNvSpPr>
            <p:nvPr/>
          </p:nvSpPr>
          <p:spPr bwMode="auto">
            <a:xfrm>
              <a:off x="1433525"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1" name="Freeform 800"/>
            <p:cNvSpPr>
              <a:spLocks noEditPoints="1"/>
            </p:cNvSpPr>
            <p:nvPr/>
          </p:nvSpPr>
          <p:spPr bwMode="auto">
            <a:xfrm>
              <a:off x="1484618" y="4371313"/>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2" name="Freeform 801"/>
            <p:cNvSpPr>
              <a:spLocks noEditPoints="1"/>
            </p:cNvSpPr>
            <p:nvPr/>
          </p:nvSpPr>
          <p:spPr bwMode="auto">
            <a:xfrm>
              <a:off x="1490295" y="4325897"/>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23" name="Freeform 802"/>
            <p:cNvSpPr>
              <a:spLocks noEditPoints="1"/>
            </p:cNvSpPr>
            <p:nvPr/>
          </p:nvSpPr>
          <p:spPr bwMode="auto">
            <a:xfrm>
              <a:off x="1312686" y="4273993"/>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7" name="Freeform 193"/>
            <p:cNvSpPr>
              <a:spLocks noEditPoints="1"/>
            </p:cNvSpPr>
            <p:nvPr/>
          </p:nvSpPr>
          <p:spPr bwMode="auto">
            <a:xfrm>
              <a:off x="1313915" y="1675604"/>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8" name="Freeform 194"/>
            <p:cNvSpPr>
              <a:spLocks noEditPoints="1"/>
            </p:cNvSpPr>
            <p:nvPr/>
          </p:nvSpPr>
          <p:spPr bwMode="auto">
            <a:xfrm>
              <a:off x="1365449" y="1755320"/>
              <a:ext cx="170706" cy="12642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69" name="Freeform 796"/>
            <p:cNvSpPr>
              <a:spLocks noEditPoints="1"/>
            </p:cNvSpPr>
            <p:nvPr/>
          </p:nvSpPr>
          <p:spPr bwMode="auto">
            <a:xfrm>
              <a:off x="1369456" y="28862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71" name="Freeform 797"/>
            <p:cNvSpPr>
              <a:spLocks noEditPoints="1"/>
            </p:cNvSpPr>
            <p:nvPr/>
          </p:nvSpPr>
          <p:spPr bwMode="auto">
            <a:xfrm>
              <a:off x="1375944"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72" name="Freeform 798"/>
            <p:cNvSpPr>
              <a:spLocks noEditPoints="1"/>
            </p:cNvSpPr>
            <p:nvPr/>
          </p:nvSpPr>
          <p:spPr bwMode="auto">
            <a:xfrm>
              <a:off x="1427037" y="28862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3" name="Freeform 799"/>
            <p:cNvSpPr>
              <a:spLocks noEditPoints="1"/>
            </p:cNvSpPr>
            <p:nvPr/>
          </p:nvSpPr>
          <p:spPr bwMode="auto">
            <a:xfrm>
              <a:off x="1433525"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4" name="Freeform 800"/>
            <p:cNvSpPr>
              <a:spLocks noEditPoints="1"/>
            </p:cNvSpPr>
            <p:nvPr/>
          </p:nvSpPr>
          <p:spPr bwMode="auto">
            <a:xfrm>
              <a:off x="1484618" y="28862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5" name="Freeform 801"/>
            <p:cNvSpPr>
              <a:spLocks noEditPoints="1"/>
            </p:cNvSpPr>
            <p:nvPr/>
          </p:nvSpPr>
          <p:spPr bwMode="auto">
            <a:xfrm>
              <a:off x="1490295" y="28408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7" name="Freeform 802"/>
            <p:cNvSpPr>
              <a:spLocks noEditPoints="1"/>
            </p:cNvSpPr>
            <p:nvPr/>
          </p:nvSpPr>
          <p:spPr bwMode="auto">
            <a:xfrm>
              <a:off x="1312686" y="27889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8" name="Freeform 388"/>
            <p:cNvSpPr>
              <a:spLocks noEditPoints="1"/>
            </p:cNvSpPr>
            <p:nvPr/>
          </p:nvSpPr>
          <p:spPr bwMode="auto">
            <a:xfrm>
              <a:off x="1312989" y="3161006"/>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79" name="Freeform 389"/>
            <p:cNvSpPr>
              <a:spLocks noEditPoints="1"/>
            </p:cNvSpPr>
            <p:nvPr/>
          </p:nvSpPr>
          <p:spPr bwMode="auto">
            <a:xfrm>
              <a:off x="1363992" y="3246820"/>
              <a:ext cx="172439" cy="120626"/>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0" name="Freeform 764"/>
            <p:cNvSpPr>
              <a:spLocks noEditPoints="1"/>
            </p:cNvSpPr>
            <p:nvPr/>
          </p:nvSpPr>
          <p:spPr bwMode="auto">
            <a:xfrm>
              <a:off x="1387240" y="3954835"/>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1" name="Freeform 765"/>
            <p:cNvSpPr>
              <a:spLocks noEditPoints="1"/>
            </p:cNvSpPr>
            <p:nvPr/>
          </p:nvSpPr>
          <p:spPr bwMode="auto">
            <a:xfrm>
              <a:off x="1312969" y="3903168"/>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2" name="Freeform 113"/>
            <p:cNvSpPr>
              <a:spLocks noEditPoints="1"/>
            </p:cNvSpPr>
            <p:nvPr/>
          </p:nvSpPr>
          <p:spPr bwMode="auto">
            <a:xfrm>
              <a:off x="1312989" y="4646078"/>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3" name="Freeform 114"/>
            <p:cNvSpPr>
              <a:spLocks noEditPoints="1"/>
            </p:cNvSpPr>
            <p:nvPr/>
          </p:nvSpPr>
          <p:spPr bwMode="auto">
            <a:xfrm>
              <a:off x="1364801" y="4697890"/>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4" name="Freeform 817"/>
            <p:cNvSpPr>
              <a:spLocks noEditPoints="1"/>
            </p:cNvSpPr>
            <p:nvPr/>
          </p:nvSpPr>
          <p:spPr bwMode="auto">
            <a:xfrm>
              <a:off x="1313915" y="5017677"/>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5" name="Freeform 818"/>
            <p:cNvSpPr>
              <a:spLocks noEditPoints="1"/>
            </p:cNvSpPr>
            <p:nvPr/>
          </p:nvSpPr>
          <p:spPr bwMode="auto">
            <a:xfrm>
              <a:off x="1370281" y="5069211"/>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6" name="Freeform 796"/>
            <p:cNvSpPr>
              <a:spLocks noEditPoints="1"/>
            </p:cNvSpPr>
            <p:nvPr/>
          </p:nvSpPr>
          <p:spPr bwMode="auto">
            <a:xfrm>
              <a:off x="1369456" y="58559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87" name="Freeform 797"/>
            <p:cNvSpPr>
              <a:spLocks noEditPoints="1"/>
            </p:cNvSpPr>
            <p:nvPr/>
          </p:nvSpPr>
          <p:spPr bwMode="auto">
            <a:xfrm>
              <a:off x="1375944"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dirty="0">
                <a:solidFill>
                  <a:srgbClr val="002040"/>
                </a:solidFill>
                <a:latin typeface="EYInterstate" panose="02000503020000020004" pitchFamily="2" charset="0"/>
              </a:endParaRPr>
            </a:p>
          </p:txBody>
        </p:sp>
        <p:sp>
          <p:nvSpPr>
            <p:cNvPr id="188" name="Freeform 798"/>
            <p:cNvSpPr>
              <a:spLocks noEditPoints="1"/>
            </p:cNvSpPr>
            <p:nvPr/>
          </p:nvSpPr>
          <p:spPr bwMode="auto">
            <a:xfrm>
              <a:off x="1427037" y="58559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89" name="Freeform 799"/>
            <p:cNvSpPr>
              <a:spLocks noEditPoints="1"/>
            </p:cNvSpPr>
            <p:nvPr/>
          </p:nvSpPr>
          <p:spPr bwMode="auto">
            <a:xfrm>
              <a:off x="1433525"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0" name="Freeform 800"/>
            <p:cNvSpPr>
              <a:spLocks noEditPoints="1"/>
            </p:cNvSpPr>
            <p:nvPr/>
          </p:nvSpPr>
          <p:spPr bwMode="auto">
            <a:xfrm>
              <a:off x="1484618" y="58559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1" name="Freeform 801"/>
            <p:cNvSpPr>
              <a:spLocks noEditPoints="1"/>
            </p:cNvSpPr>
            <p:nvPr/>
          </p:nvSpPr>
          <p:spPr bwMode="auto">
            <a:xfrm>
              <a:off x="1490295" y="58105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sp>
          <p:nvSpPr>
            <p:cNvPr id="192" name="Freeform 802"/>
            <p:cNvSpPr>
              <a:spLocks noEditPoints="1"/>
            </p:cNvSpPr>
            <p:nvPr/>
          </p:nvSpPr>
          <p:spPr bwMode="auto">
            <a:xfrm>
              <a:off x="1312686" y="57586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dirty="0">
                <a:solidFill>
                  <a:srgbClr val="002040"/>
                </a:solidFill>
                <a:latin typeface="EYInterstate" panose="02000503020000020004" pitchFamily="2" charset="0"/>
              </a:endParaRPr>
            </a:p>
          </p:txBody>
        </p:sp>
        <p:cxnSp>
          <p:nvCxnSpPr>
            <p:cNvPr id="193" name="Straight Connector 192"/>
            <p:cNvCxnSpPr/>
            <p:nvPr/>
          </p:nvCxnSpPr>
          <p:spPr>
            <a:xfrm>
              <a:off x="1230560" y="4646079"/>
              <a:ext cx="1" cy="1388284"/>
            </a:xfrm>
            <a:prstGeom prst="line">
              <a:avLst/>
            </a:prstGeom>
            <a:ln w="19050">
              <a:solidFill>
                <a:srgbClr val="008750"/>
              </a:solidFill>
              <a:tailEnd type="none"/>
            </a:ln>
          </p:spPr>
          <p:style>
            <a:lnRef idx="1">
              <a:schemeClr val="accent1"/>
            </a:lnRef>
            <a:fillRef idx="0">
              <a:schemeClr val="accent1"/>
            </a:fillRef>
            <a:effectRef idx="0">
              <a:schemeClr val="accent1"/>
            </a:effectRef>
            <a:fontRef idx="minor">
              <a:schemeClr val="tx1"/>
            </a:fontRef>
          </p:style>
        </p:cxnSp>
      </p:grpSp>
      <p:cxnSp>
        <p:nvCxnSpPr>
          <p:cNvPr id="92" name="Straight Connector 91"/>
          <p:cNvCxnSpPr/>
          <p:nvPr>
            <p:custDataLst>
              <p:tags r:id="rId12"/>
            </p:custDataLst>
          </p:nvPr>
        </p:nvCxnSpPr>
        <p:spPr>
          <a:xfrm flipV="1">
            <a:off x="2527554"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custDataLst>
              <p:tags r:id="rId13"/>
            </p:custDataLst>
          </p:nvPr>
        </p:nvPicPr>
        <p:blipFill rotWithShape="1">
          <a:blip r:embed="rId16" cstate="email">
            <a:extLst>
              <a:ext uri="{28A0092B-C50C-407E-A947-70E740481C1C}">
                <a14:useLocalDpi xmlns:a14="http://schemas.microsoft.com/office/drawing/2010/main"/>
              </a:ext>
            </a:extLst>
          </a:blip>
          <a:srcRect/>
          <a:stretch/>
        </p:blipFill>
        <p:spPr>
          <a:xfrm>
            <a:off x="759186" y="1221824"/>
            <a:ext cx="784218" cy="1117056"/>
          </a:xfrm>
          <a:prstGeom prst="rect">
            <a:avLst/>
          </a:prstGeom>
          <a:ln>
            <a:noFill/>
          </a:ln>
        </p:spPr>
      </p:pic>
      <p:sp>
        <p:nvSpPr>
          <p:cNvPr id="80" name="TextBox 79"/>
          <p:cNvSpPr txBox="1"/>
          <p:nvPr>
            <p:custDataLst>
              <p:tags r:id="rId14"/>
            </p:custDataLst>
          </p:nvPr>
        </p:nvSpPr>
        <p:spPr>
          <a:xfrm>
            <a:off x="6693176" y="1441634"/>
            <a:ext cx="4454435" cy="823174"/>
          </a:xfrm>
          <a:prstGeom prst="rect">
            <a:avLst/>
          </a:prstGeom>
          <a:solidFill>
            <a:schemeClr val="bg1">
              <a:lumMod val="20000"/>
              <a:lumOff val="80000"/>
            </a:schemeClr>
          </a:solidFill>
          <a:ln>
            <a:solidFill>
              <a:srgbClr val="C00000"/>
            </a:solidFill>
          </a:ln>
        </p:spPr>
        <p:txBody>
          <a:bodyPr wrap="square" lIns="0" tIns="36576" rIns="0" bIns="0" rtlCol="0">
            <a:spAutoFit/>
          </a:bodyPr>
          <a:lstStyle/>
          <a:p>
            <a:pPr>
              <a:lnSpc>
                <a:spcPct val="85000"/>
              </a:lnSpc>
              <a:spcAft>
                <a:spcPts val="600"/>
              </a:spcAft>
              <a:buClr>
                <a:schemeClr val="accent2"/>
              </a:buClr>
              <a:buSzPct val="70000"/>
            </a:pPr>
            <a:r>
              <a:rPr lang="fr-CA" sz="1200" b="1" dirty="0">
                <a:latin typeface="EYInterstate Light" panose="02000506000000020004" pitchFamily="2" charset="0"/>
              </a:rPr>
              <a:t>Les gestionnaires du personnel</a:t>
            </a:r>
            <a:r>
              <a:rPr lang="fr-CA" sz="1200" dirty="0">
                <a:latin typeface="EYInterstate Light" panose="02000506000000020004" pitchFamily="2" charset="0"/>
              </a:rPr>
              <a:t> sont responsables de certaines tâches ou d’un sous-ensemble de l’organisation. Ils participent généralement aux processus d’embauche, ils motivent leurs équipes, et ils sont responsables de la gestion du rendement des employés qui relèvent d’eux.  </a:t>
            </a:r>
          </a:p>
        </p:txBody>
      </p:sp>
    </p:spTree>
    <p:extLst>
      <p:ext uri="{BB962C8B-B14F-4D97-AF65-F5344CB8AC3E}">
        <p14:creationId xmlns:p14="http://schemas.microsoft.com/office/powerpoint/2010/main" val="687308393"/>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custDataLst>
              <p:tags r:id="rId1"/>
            </p:custDataLst>
          </p:nvPr>
        </p:nvPicPr>
        <p:blipFill>
          <a:blip r:embed="rId4" cstate="email">
            <a:extLst>
              <a:ext uri="{28A0092B-C50C-407E-A947-70E740481C1C}">
                <a14:useLocalDpi xmlns:a14="http://schemas.microsoft.com/office/drawing/2010/main"/>
              </a:ext>
            </a:extLst>
          </a:blip>
          <a:stretch>
            <a:fillRect/>
          </a:stretch>
        </p:blipFill>
        <p:spPr>
          <a:xfrm flipH="1">
            <a:off x="3174" y="0"/>
            <a:ext cx="12203342" cy="6858000"/>
          </a:xfrm>
          <a:prstGeom prst="rect">
            <a:avLst/>
          </a:prstGeom>
        </p:spPr>
      </p:pic>
      <p:sp>
        <p:nvSpPr>
          <p:cNvPr id="38" name="TextBox 37"/>
          <p:cNvSpPr txBox="1"/>
          <p:nvPr>
            <p:custDataLst>
              <p:tags r:id="rId2"/>
            </p:custDataLst>
          </p:nvPr>
        </p:nvSpPr>
        <p:spPr>
          <a:xfrm>
            <a:off x="609600" y="534850"/>
            <a:ext cx="4111634" cy="923330"/>
          </a:xfrm>
          <a:prstGeom prst="rect">
            <a:avLst/>
          </a:prstGeom>
          <a:noFill/>
        </p:spPr>
        <p:txBody>
          <a:bodyPr wrap="square" lIns="0" tIns="0" rIns="0" bIns="0" rtlCol="0" anchor="t" anchorCtr="0">
            <a:spAutoFit/>
          </a:bodyPr>
          <a:lstStyle/>
          <a:p>
            <a:r>
              <a:rPr lang="fr-CA" sz="6000" dirty="0">
                <a:solidFill>
                  <a:schemeClr val="tx2"/>
                </a:solidFill>
                <a:latin typeface="EYInterstate Light" panose="02000506000000020004" pitchFamily="2" charset="0"/>
              </a:rPr>
              <a:t>Merci</a:t>
            </a:r>
          </a:p>
        </p:txBody>
      </p:sp>
    </p:spTree>
    <p:extLst>
      <p:ext uri="{BB962C8B-B14F-4D97-AF65-F5344CB8AC3E}">
        <p14:creationId xmlns:p14="http://schemas.microsoft.com/office/powerpoint/2010/main" val="2557729905"/>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6980034" cy="400110"/>
          </a:xfrm>
          <a:prstGeom prst="rect">
            <a:avLst/>
          </a:prstGeom>
          <a:noFill/>
        </p:spPr>
        <p:txBody>
          <a:bodyPr wrap="square" lIns="0" tIns="0" rIns="0" bIns="0" rtlCol="0" anchor="t" anchorCtr="0">
            <a:spAutoFit/>
          </a:bodyPr>
          <a:lstStyle/>
          <a:p>
            <a:r>
              <a:rPr lang="fr-CA" sz="2600" dirty="0">
                <a:solidFill>
                  <a:srgbClr val="4B4B4B"/>
                </a:solidFill>
                <a:latin typeface="EYInterstate Light" panose="02000506000000020004" pitchFamily="2" charset="0"/>
              </a:rPr>
              <a:t>Objectifs pour la journée </a:t>
            </a:r>
          </a:p>
        </p:txBody>
      </p:sp>
      <p:sp>
        <p:nvSpPr>
          <p:cNvPr id="16" name="Isosceles Triangle 15"/>
          <p:cNvSpPr/>
          <p:nvPr/>
        </p:nvSpPr>
        <p:spPr>
          <a:xfrm rot="5400000">
            <a:off x="7728497" y="3644708"/>
            <a:ext cx="1115968" cy="765394"/>
          </a:xfrm>
          <a:prstGeom prst="triangle">
            <a:avLst/>
          </a:prstGeom>
          <a:solidFill>
            <a:srgbClr val="E60F2D"/>
          </a:solidFill>
          <a:ln>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00" dirty="0">
              <a:solidFill>
                <a:srgbClr val="646464"/>
              </a:solidFill>
              <a:latin typeface="EYInterstate Light" panose="02000506000000020004" pitchFamily="2" charset="0"/>
            </a:endParaRPr>
          </a:p>
        </p:txBody>
      </p:sp>
      <p:sp>
        <p:nvSpPr>
          <p:cNvPr id="23" name="Oval 22"/>
          <p:cNvSpPr/>
          <p:nvPr/>
        </p:nvSpPr>
        <p:spPr>
          <a:xfrm>
            <a:off x="6943505" y="3402136"/>
            <a:ext cx="1268710" cy="1250541"/>
          </a:xfrm>
          <a:prstGeom prst="ellipse">
            <a:avLst/>
          </a:prstGeom>
          <a:solidFill>
            <a:schemeClr val="tx2"/>
          </a:solidFill>
          <a:ln w="76200">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00" dirty="0">
              <a:solidFill>
                <a:srgbClr val="646464"/>
              </a:solidFill>
              <a:latin typeface="EYInterstate Light" panose="02000506000000020004" pitchFamily="2" charset="0"/>
            </a:endParaRPr>
          </a:p>
        </p:txBody>
      </p:sp>
      <p:pic>
        <p:nvPicPr>
          <p:cNvPr id="24" name="Picture 4" descr="http://www.lundquist.it/wp-content/uploads/2013/02/iconmonstr-compass-7-icon.png"/>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60118" y="3517079"/>
            <a:ext cx="1035482" cy="1020653"/>
          </a:xfrm>
          <a:prstGeom prst="rect">
            <a:avLst/>
          </a:prstGeom>
          <a:noFill/>
          <a:extLst>
            <a:ext uri="{909E8E84-426E-40dd-AFC4-6F175D3DCCD1}">
              <a14:hiddenFill xmlns="" xmlns:a14="http://schemas.microsoft.com/office/drawing/2010/main">
                <a:solidFill>
                  <a:srgbClr val="FFFFFF"/>
                </a:solidFill>
              </a14:hiddenFill>
            </a:ext>
          </a:extLst>
        </p:spPr>
      </p:pic>
      <p:sp>
        <p:nvSpPr>
          <p:cNvPr id="25" name="TextBox 24"/>
          <p:cNvSpPr txBox="1"/>
          <p:nvPr/>
        </p:nvSpPr>
        <p:spPr>
          <a:xfrm>
            <a:off x="8890000" y="2775268"/>
            <a:ext cx="3164840" cy="2411942"/>
          </a:xfrm>
          <a:prstGeom prst="rect">
            <a:avLst/>
          </a:prstGeom>
          <a:noFill/>
        </p:spPr>
        <p:txBody>
          <a:bodyPr wrap="square" rtlCol="0" anchor="ctr">
            <a:spAutoFit/>
          </a:bodyPr>
          <a:lstStyle/>
          <a:p>
            <a:pPr>
              <a:lnSpc>
                <a:spcPct val="120000"/>
              </a:lnSpc>
            </a:pPr>
            <a:r>
              <a:rPr lang="fr-CA" sz="1400" dirty="0">
                <a:latin typeface="EYInterstate Light" panose="02000506000000020004" pitchFamily="2" charset="0"/>
              </a:rPr>
              <a:t>DÉFINIR LES EXIGENCES EN MATIÈRE DE</a:t>
            </a:r>
            <a:r>
              <a:rPr lang="fr-CA" sz="1400" spc="30" dirty="0">
                <a:latin typeface="EYInterstate Light" panose="02000506000000020004" pitchFamily="2" charset="0"/>
              </a:rPr>
              <a:t> RH ET DE PAIE DANS LE CADRE D’UNE VISION COMMUNE DES PERSONAS, DES DES PARCOURS RELATIFS AUX RH ET À LA PAIE, DES POINTS SENSIBLES, DES MOMENTS QUI IMPORTENT ET DES OUTILS TECHNOLOGIQUES CLÉS. </a:t>
            </a:r>
          </a:p>
        </p:txBody>
      </p:sp>
      <p:sp>
        <p:nvSpPr>
          <p:cNvPr id="42" name="Isosceles Triangle 41"/>
          <p:cNvSpPr/>
          <p:nvPr/>
        </p:nvSpPr>
        <p:spPr>
          <a:xfrm rot="5400000">
            <a:off x="1789263" y="3910791"/>
            <a:ext cx="438158" cy="300514"/>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00" dirty="0">
              <a:solidFill>
                <a:srgbClr val="646464"/>
              </a:solidFill>
              <a:latin typeface="EYInterstate Light" panose="02000506000000020004" pitchFamily="2" charset="0"/>
            </a:endParaRPr>
          </a:p>
        </p:txBody>
      </p:sp>
      <p:sp>
        <p:nvSpPr>
          <p:cNvPr id="45" name="TextBox 44"/>
          <p:cNvSpPr txBox="1"/>
          <p:nvPr/>
        </p:nvSpPr>
        <p:spPr>
          <a:xfrm>
            <a:off x="2511903" y="3765795"/>
            <a:ext cx="2346823" cy="523220"/>
          </a:xfrm>
          <a:prstGeom prst="rect">
            <a:avLst/>
          </a:prstGeom>
          <a:noFill/>
        </p:spPr>
        <p:txBody>
          <a:bodyPr wrap="square" rtlCol="0" anchor="ctr">
            <a:spAutoFit/>
          </a:bodyPr>
          <a:lstStyle/>
          <a:p>
            <a:r>
              <a:rPr lang="fr-CA" sz="1400" dirty="0">
                <a:latin typeface="EYInterstate Light" panose="02000506000000020004" pitchFamily="2" charset="0"/>
              </a:rPr>
              <a:t>Valider la déclaration et les principes directeurs du GC </a:t>
            </a:r>
          </a:p>
        </p:txBody>
      </p:sp>
      <p:sp>
        <p:nvSpPr>
          <p:cNvPr id="46" name="Isosceles Triangle 45"/>
          <p:cNvSpPr/>
          <p:nvPr/>
        </p:nvSpPr>
        <p:spPr>
          <a:xfrm rot="5400000">
            <a:off x="1789263" y="2302348"/>
            <a:ext cx="438158" cy="300514"/>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00" dirty="0">
              <a:solidFill>
                <a:srgbClr val="646464"/>
              </a:solidFill>
              <a:latin typeface="EYInterstate Light" panose="02000506000000020004" pitchFamily="2" charset="0"/>
            </a:endParaRPr>
          </a:p>
        </p:txBody>
      </p:sp>
      <p:sp>
        <p:nvSpPr>
          <p:cNvPr id="49" name="TextBox 48"/>
          <p:cNvSpPr txBox="1"/>
          <p:nvPr/>
        </p:nvSpPr>
        <p:spPr>
          <a:xfrm>
            <a:off x="2511903" y="1867830"/>
            <a:ext cx="2346823" cy="1169551"/>
          </a:xfrm>
          <a:prstGeom prst="rect">
            <a:avLst/>
          </a:prstGeom>
          <a:noFill/>
        </p:spPr>
        <p:txBody>
          <a:bodyPr wrap="square" rtlCol="0" anchor="ctr">
            <a:spAutoFit/>
          </a:bodyPr>
          <a:lstStyle/>
          <a:p>
            <a:r>
              <a:rPr lang="fr-CA" sz="1400" dirty="0">
                <a:latin typeface="EYInterstate Light" panose="02000506000000020004" pitchFamily="2" charset="0"/>
              </a:rPr>
              <a:t>Découvrir et comprendre  des expériences numériques de classe mondiale pour les employés</a:t>
            </a:r>
          </a:p>
        </p:txBody>
      </p:sp>
      <p:sp>
        <p:nvSpPr>
          <p:cNvPr id="50" name="Isosceles Triangle 49"/>
          <p:cNvSpPr/>
          <p:nvPr/>
        </p:nvSpPr>
        <p:spPr>
          <a:xfrm rot="5400000">
            <a:off x="1789263" y="5519233"/>
            <a:ext cx="438158" cy="300514"/>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00" dirty="0">
              <a:solidFill>
                <a:srgbClr val="646464"/>
              </a:solidFill>
              <a:latin typeface="EYInterstate Light" panose="02000506000000020004" pitchFamily="2" charset="0"/>
            </a:endParaRPr>
          </a:p>
        </p:txBody>
      </p:sp>
      <p:sp>
        <p:nvSpPr>
          <p:cNvPr id="53" name="TextBox 52"/>
          <p:cNvSpPr txBox="1"/>
          <p:nvPr/>
        </p:nvSpPr>
        <p:spPr>
          <a:xfrm>
            <a:off x="2511903" y="5300157"/>
            <a:ext cx="2467281" cy="738664"/>
          </a:xfrm>
          <a:prstGeom prst="rect">
            <a:avLst/>
          </a:prstGeom>
          <a:noFill/>
        </p:spPr>
        <p:txBody>
          <a:bodyPr wrap="square" rtlCol="0" anchor="ctr">
            <a:spAutoFit/>
          </a:bodyPr>
          <a:lstStyle/>
          <a:p>
            <a:r>
              <a:rPr lang="fr-CA" sz="1400" dirty="0">
                <a:latin typeface="EYInterstate Light" panose="02000506000000020004" pitchFamily="2" charset="0"/>
              </a:rPr>
              <a:t>Valider les principaux intervenants en matière de RH et de paie (personas)</a:t>
            </a:r>
          </a:p>
        </p:txBody>
      </p:sp>
      <p:grpSp>
        <p:nvGrpSpPr>
          <p:cNvPr id="63" name="Group 62"/>
          <p:cNvGrpSpPr/>
          <p:nvPr/>
        </p:nvGrpSpPr>
        <p:grpSpPr>
          <a:xfrm>
            <a:off x="5528244" y="2452605"/>
            <a:ext cx="729224" cy="3216885"/>
            <a:chOff x="-22146748" y="2452605"/>
            <a:chExt cx="48454190" cy="3216885"/>
          </a:xfrm>
        </p:grpSpPr>
        <p:cxnSp>
          <p:nvCxnSpPr>
            <p:cNvPr id="9" name="Straight Connector 8"/>
            <p:cNvCxnSpPr>
              <a:stCxn id="46" idx="0"/>
              <a:endCxn id="16" idx="0"/>
            </p:cNvCxnSpPr>
            <p:nvPr/>
          </p:nvCxnSpPr>
          <p:spPr>
            <a:xfrm>
              <a:off x="-22146748" y="2452605"/>
              <a:ext cx="48454190" cy="1574800"/>
            </a:xfrm>
            <a:prstGeom prst="line">
              <a:avLst/>
            </a:prstGeom>
            <a:ln w="19050">
              <a:solidFill>
                <a:schemeClr val="bg1">
                  <a:lumMod val="40000"/>
                  <a:lumOff val="60000"/>
                </a:schemeClr>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16" idx="0"/>
              <a:endCxn id="50" idx="0"/>
            </p:cNvCxnSpPr>
            <p:nvPr/>
          </p:nvCxnSpPr>
          <p:spPr>
            <a:xfrm flipH="1">
              <a:off x="-22146748" y="4027405"/>
              <a:ext cx="48454190" cy="1642085"/>
            </a:xfrm>
            <a:prstGeom prst="line">
              <a:avLst/>
            </a:prstGeom>
            <a:ln w="19050">
              <a:solidFill>
                <a:schemeClr val="bg1">
                  <a:lumMod val="40000"/>
                  <a:lumOff val="60000"/>
                </a:schemeClr>
              </a:solidFill>
              <a:prstDash val="sysDash"/>
              <a:tailEnd type="none"/>
            </a:ln>
          </p:spPr>
          <p:style>
            <a:lnRef idx="1">
              <a:schemeClr val="accent1"/>
            </a:lnRef>
            <a:fillRef idx="0">
              <a:schemeClr val="accent1"/>
            </a:fillRef>
            <a:effectRef idx="0">
              <a:schemeClr val="accent1"/>
            </a:effectRef>
            <a:fontRef idx="minor">
              <a:schemeClr val="tx1"/>
            </a:fontRef>
          </p:style>
        </p:cxnSp>
      </p:grpSp>
      <p:pic>
        <p:nvPicPr>
          <p:cNvPr id="60" name="Picture 8" descr="http://www.free-icons-download.net/images/shutdown-logo-icon-78742.png"/>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591" y="5191556"/>
            <a:ext cx="885582" cy="955868"/>
          </a:xfrm>
          <a:prstGeom prst="rect">
            <a:avLst/>
          </a:prstGeom>
          <a:noFill/>
          <a:extLst>
            <a:ext uri="{909E8E84-426E-40dd-AFC4-6F175D3DCCD1}">
              <a14:hiddenFill xmlns="" xmlns:a14="http://schemas.microsoft.com/office/drawing/2010/main">
                <a:solidFill>
                  <a:srgbClr val="FFFFFF"/>
                </a:solidFill>
              </a14:hiddenFill>
            </a:ext>
          </a:extLst>
        </p:spPr>
      </p:pic>
      <p:pic>
        <p:nvPicPr>
          <p:cNvPr id="61" name="Picture 10" descr="http://image.flaticon.com/icons/png/128/34/34202.png"/>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4056" y="2103120"/>
            <a:ext cx="692651" cy="692690"/>
          </a:xfrm>
          <a:prstGeom prst="rect">
            <a:avLst/>
          </a:prstGeom>
          <a:noFill/>
          <a:extLst>
            <a:ext uri="{909E8E84-426E-40dd-AFC4-6F175D3DCCD1}">
              <a14:hiddenFill xmlns="" xmlns:a14="http://schemas.microsoft.com/office/drawing/2010/main">
                <a:solidFill>
                  <a:srgbClr val="FFFFFF"/>
                </a:solidFill>
              </a14:hiddenFill>
            </a:ext>
          </a:extLst>
        </p:spPr>
      </p:pic>
      <p:cxnSp>
        <p:nvCxnSpPr>
          <p:cNvPr id="65" name="Straight Connector 64"/>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576111" y="3559072"/>
            <a:ext cx="967446" cy="999090"/>
            <a:chOff x="576111" y="3559072"/>
            <a:chExt cx="967446" cy="999090"/>
          </a:xfrm>
        </p:grpSpPr>
        <p:pic>
          <p:nvPicPr>
            <p:cNvPr id="59" name="Picture 6" descr="http://www.freeiconspng.com/uploads/target-icon-15.png"/>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2327" y="3606800"/>
              <a:ext cx="875014" cy="903634"/>
            </a:xfrm>
            <a:prstGeom prst="rect">
              <a:avLst/>
            </a:prstGeom>
            <a:noFill/>
            <a:extLst>
              <a:ext uri="{909E8E84-426E-40dd-AFC4-6F175D3DCCD1}">
                <a14:hiddenFill xmlns="" xmlns:a14="http://schemas.microsoft.com/office/drawing/2010/main">
                  <a:solidFill>
                    <a:srgbClr val="FFFFFF"/>
                  </a:solidFill>
                </a14:hiddenFill>
              </a:ext>
            </a:extLst>
          </p:spPr>
        </p:pic>
        <p:pic>
          <p:nvPicPr>
            <p:cNvPr id="66" name="Picture 6" descr="http://www.freeiconspng.com/uploads/target-icon-15.png"/>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6178" y="3600450"/>
              <a:ext cx="887312" cy="916334"/>
            </a:xfrm>
            <a:prstGeom prst="rect">
              <a:avLst/>
            </a:prstGeom>
            <a:noFill/>
            <a:extLst>
              <a:ext uri="{909E8E84-426E-40dd-AFC4-6F175D3DCCD1}">
                <a14:hiddenFill xmlns="" xmlns:a14="http://schemas.microsoft.com/office/drawing/2010/main">
                  <a:solidFill>
                    <a:srgbClr val="FFFFFF"/>
                  </a:solidFill>
                </a14:hiddenFill>
              </a:ext>
            </a:extLst>
          </p:spPr>
        </p:pic>
        <p:pic>
          <p:nvPicPr>
            <p:cNvPr id="67" name="Picture 6" descr="http://www.freeiconspng.com/uploads/target-icon-15.png"/>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8916" y="3592950"/>
              <a:ext cx="901836" cy="931334"/>
            </a:xfrm>
            <a:prstGeom prst="rect">
              <a:avLst/>
            </a:prstGeom>
            <a:noFill/>
            <a:extLst>
              <a:ext uri="{909E8E84-426E-40dd-AFC4-6F175D3DCCD1}">
                <a14:hiddenFill xmlns="" xmlns:a14="http://schemas.microsoft.com/office/drawing/2010/main">
                  <a:solidFill>
                    <a:srgbClr val="FFFFFF"/>
                  </a:solidFill>
                </a14:hiddenFill>
              </a:ext>
            </a:extLst>
          </p:spPr>
        </p:pic>
        <p:pic>
          <p:nvPicPr>
            <p:cNvPr id="73" name="Picture 6" descr="http://www.freeiconspng.com/uploads/target-icon-15.png"/>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6111" y="3559072"/>
              <a:ext cx="967446" cy="999090"/>
            </a:xfrm>
            <a:prstGeom prst="rect">
              <a:avLst/>
            </a:prstGeom>
            <a:noFill/>
            <a:extLst>
              <a:ext uri="{909E8E84-426E-40dd-AFC4-6F175D3DCCD1}">
                <a14:hiddenFill xmlns="" xmlns:a14="http://schemas.microsoft.com/office/drawing/2010/main">
                  <a:solidFill>
                    <a:srgbClr val="FFFFFF"/>
                  </a:solidFill>
                </a14:hiddenFill>
              </a:ext>
            </a:extLst>
          </p:spPr>
        </p:pic>
      </p:grpSp>
    </p:spTree>
    <p:extLst>
      <p:ext uri="{BB962C8B-B14F-4D97-AF65-F5344CB8AC3E}">
        <p14:creationId xmlns:p14="http://schemas.microsoft.com/office/powerpoint/2010/main" val="738867118"/>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122683" y="1939158"/>
            <a:ext cx="4469524" cy="393349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 name="TextBox 3"/>
          <p:cNvSpPr txBox="1"/>
          <p:nvPr/>
        </p:nvSpPr>
        <p:spPr>
          <a:xfrm>
            <a:off x="4351283" y="3539358"/>
            <a:ext cx="4012323" cy="56015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CA" sz="4000" dirty="0" err="1" smtClean="0"/>
              <a:t>Dessinez</a:t>
            </a:r>
            <a:r>
              <a:rPr lang="en-CA" sz="4000" dirty="0" smtClean="0"/>
              <a:t> un vase</a:t>
            </a:r>
          </a:p>
        </p:txBody>
      </p:sp>
    </p:spTree>
    <p:extLst>
      <p:ext uri="{BB962C8B-B14F-4D97-AF65-F5344CB8AC3E}">
        <p14:creationId xmlns:p14="http://schemas.microsoft.com/office/powerpoint/2010/main" val="1619449986"/>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122684" y="1939158"/>
            <a:ext cx="4469524" cy="393349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 name="TextBox 3"/>
          <p:cNvSpPr txBox="1"/>
          <p:nvPr/>
        </p:nvSpPr>
        <p:spPr>
          <a:xfrm>
            <a:off x="4942491" y="2997965"/>
            <a:ext cx="2829910" cy="1815882"/>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CA" sz="3400" dirty="0" err="1" smtClean="0"/>
              <a:t>Dessinez</a:t>
            </a:r>
            <a:r>
              <a:rPr lang="en-CA" sz="3400" dirty="0" smtClean="0"/>
              <a:t> </a:t>
            </a:r>
            <a:r>
              <a:rPr lang="en-CA" sz="3400" dirty="0" err="1" smtClean="0"/>
              <a:t>une</a:t>
            </a:r>
            <a:r>
              <a:rPr lang="en-CA" sz="3400" dirty="0" smtClean="0"/>
              <a:t> </a:t>
            </a:r>
            <a:r>
              <a:rPr lang="en-CA" sz="3400" dirty="0" err="1" smtClean="0"/>
              <a:t>meilleure</a:t>
            </a:r>
            <a:r>
              <a:rPr lang="en-CA" sz="3400" dirty="0" smtClean="0"/>
              <a:t> </a:t>
            </a:r>
            <a:r>
              <a:rPr lang="en-CA" sz="3400" dirty="0" err="1" smtClean="0"/>
              <a:t>façon</a:t>
            </a:r>
            <a:r>
              <a:rPr lang="en-CA" sz="3400" dirty="0" smtClean="0"/>
              <a:t> de </a:t>
            </a:r>
            <a:r>
              <a:rPr lang="en-CA" sz="3400" dirty="0" err="1" smtClean="0"/>
              <a:t>voir</a:t>
            </a:r>
            <a:r>
              <a:rPr lang="en-CA" sz="3400" dirty="0" smtClean="0"/>
              <a:t> les </a:t>
            </a:r>
            <a:r>
              <a:rPr lang="en-CA" sz="3400" dirty="0" err="1" smtClean="0"/>
              <a:t>fleurs</a:t>
            </a:r>
            <a:endParaRPr lang="en-CA" sz="3400" dirty="0" smtClean="0"/>
          </a:p>
        </p:txBody>
      </p:sp>
    </p:spTree>
    <p:extLst>
      <p:ext uri="{BB962C8B-B14F-4D97-AF65-F5344CB8AC3E}">
        <p14:creationId xmlns:p14="http://schemas.microsoft.com/office/powerpoint/2010/main" val="225349320"/>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82850" y="1593908"/>
            <a:ext cx="8363664" cy="4086812"/>
          </a:xfrm>
          <a:prstGeom prst="rect">
            <a:avLst/>
          </a:prstGeom>
        </p:spPr>
      </p:pic>
    </p:spTree>
    <p:extLst>
      <p:ext uri="{BB962C8B-B14F-4D97-AF65-F5344CB8AC3E}">
        <p14:creationId xmlns:p14="http://schemas.microsoft.com/office/powerpoint/2010/main" val="1558842062"/>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56366|-13593164|-13155766|-3334100|-3351552|Treasury Board&quot;,&quot;Id&quot;:&quot;5bd36daf4437441b204f00f6&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2"/>
</p:tagLst>
</file>

<file path=ppt/tags/tag100.xml><?xml version="1.0" encoding="utf-8"?>
<p:tagLst xmlns:a="http://schemas.openxmlformats.org/drawingml/2006/main" xmlns:r="http://schemas.openxmlformats.org/officeDocument/2006/relationships" xmlns:p="http://schemas.openxmlformats.org/presentationml/2006/main">
  <p:tag name="NUM" val="14"/>
</p:tagLst>
</file>

<file path=ppt/tags/tag101.xml><?xml version="1.0" encoding="utf-8"?>
<p:tagLst xmlns:a="http://schemas.openxmlformats.org/drawingml/2006/main" xmlns:r="http://schemas.openxmlformats.org/officeDocument/2006/relationships" xmlns:p="http://schemas.openxmlformats.org/presentationml/2006/main">
  <p:tag name="NUM" val="15"/>
</p:tagLst>
</file>

<file path=ppt/tags/tag102.xml><?xml version="1.0" encoding="utf-8"?>
<p:tagLst xmlns:a="http://schemas.openxmlformats.org/drawingml/2006/main" xmlns:r="http://schemas.openxmlformats.org/officeDocument/2006/relationships" xmlns:p="http://schemas.openxmlformats.org/presentationml/2006/main">
  <p:tag name="NUM" val="16"/>
</p:tagLst>
</file>

<file path=ppt/tags/tag103.xml><?xml version="1.0" encoding="utf-8"?>
<p:tagLst xmlns:a="http://schemas.openxmlformats.org/drawingml/2006/main" xmlns:r="http://schemas.openxmlformats.org/officeDocument/2006/relationships" xmlns:p="http://schemas.openxmlformats.org/presentationml/2006/main">
  <p:tag name="NUM" val="17"/>
</p:tagLst>
</file>

<file path=ppt/tags/tag104.xml><?xml version="1.0" encoding="utf-8"?>
<p:tagLst xmlns:a="http://schemas.openxmlformats.org/drawingml/2006/main" xmlns:r="http://schemas.openxmlformats.org/officeDocument/2006/relationships" xmlns:p="http://schemas.openxmlformats.org/presentationml/2006/main">
  <p:tag name="NUM" val="18"/>
</p:tagLst>
</file>

<file path=ppt/tags/tag105.xml><?xml version="1.0" encoding="utf-8"?>
<p:tagLst xmlns:a="http://schemas.openxmlformats.org/drawingml/2006/main" xmlns:r="http://schemas.openxmlformats.org/officeDocument/2006/relationships" xmlns:p="http://schemas.openxmlformats.org/presentationml/2006/main">
  <p:tag name="NUM" val="19"/>
</p:tagLst>
</file>

<file path=ppt/tags/tag106.xml><?xml version="1.0" encoding="utf-8"?>
<p:tagLst xmlns:a="http://schemas.openxmlformats.org/drawingml/2006/main" xmlns:r="http://schemas.openxmlformats.org/officeDocument/2006/relationships" xmlns:p="http://schemas.openxmlformats.org/presentationml/2006/main">
  <p:tag name="NUM" val="20"/>
</p:tagLst>
</file>

<file path=ppt/tags/tag107.xml><?xml version="1.0" encoding="utf-8"?>
<p:tagLst xmlns:a="http://schemas.openxmlformats.org/drawingml/2006/main" xmlns:r="http://schemas.openxmlformats.org/officeDocument/2006/relationships" xmlns:p="http://schemas.openxmlformats.org/presentationml/2006/main">
  <p:tag name="NUM" val="21"/>
</p:tagLst>
</file>

<file path=ppt/tags/tag108.xml><?xml version="1.0" encoding="utf-8"?>
<p:tagLst xmlns:a="http://schemas.openxmlformats.org/drawingml/2006/main" xmlns:r="http://schemas.openxmlformats.org/officeDocument/2006/relationships" xmlns:p="http://schemas.openxmlformats.org/presentationml/2006/main">
  <p:tag name="NUM" val="22"/>
</p:tagLst>
</file>

<file path=ppt/tags/tag109.xml><?xml version="1.0" encoding="utf-8"?>
<p:tagLst xmlns:a="http://schemas.openxmlformats.org/drawingml/2006/main" xmlns:r="http://schemas.openxmlformats.org/officeDocument/2006/relationships" xmlns:p="http://schemas.openxmlformats.org/presentationml/2006/main">
  <p:tag name="NUM" val="23"/>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10.xml><?xml version="1.0" encoding="utf-8"?>
<p:tagLst xmlns:a="http://schemas.openxmlformats.org/drawingml/2006/main" xmlns:r="http://schemas.openxmlformats.org/officeDocument/2006/relationships" xmlns:p="http://schemas.openxmlformats.org/presentationml/2006/main">
  <p:tag name="NUM" val="24"/>
</p:tagLst>
</file>

<file path=ppt/tags/tag111.xml><?xml version="1.0" encoding="utf-8"?>
<p:tagLst xmlns:a="http://schemas.openxmlformats.org/drawingml/2006/main" xmlns:r="http://schemas.openxmlformats.org/officeDocument/2006/relationships" xmlns:p="http://schemas.openxmlformats.org/presentationml/2006/main">
  <p:tag name="NUM" val="25"/>
</p:tagLst>
</file>

<file path=ppt/tags/tag112.xml><?xml version="1.0" encoding="utf-8"?>
<p:tagLst xmlns:a="http://schemas.openxmlformats.org/drawingml/2006/main" xmlns:r="http://schemas.openxmlformats.org/officeDocument/2006/relationships" xmlns:p="http://schemas.openxmlformats.org/presentationml/2006/main">
  <p:tag name="NUM" val="26"/>
</p:tagLst>
</file>

<file path=ppt/tags/tag113.xml><?xml version="1.0" encoding="utf-8"?>
<p:tagLst xmlns:a="http://schemas.openxmlformats.org/drawingml/2006/main" xmlns:r="http://schemas.openxmlformats.org/officeDocument/2006/relationships" xmlns:p="http://schemas.openxmlformats.org/presentationml/2006/main">
  <p:tag name="NUM" val="27"/>
</p:tagLst>
</file>

<file path=ppt/tags/tag114.xml><?xml version="1.0" encoding="utf-8"?>
<p:tagLst xmlns:a="http://schemas.openxmlformats.org/drawingml/2006/main" xmlns:r="http://schemas.openxmlformats.org/officeDocument/2006/relationships" xmlns:p="http://schemas.openxmlformats.org/presentationml/2006/main">
  <p:tag name="NUM" val="28"/>
</p:tagLst>
</file>

<file path=ppt/tags/tag115.xml><?xml version="1.0" encoding="utf-8"?>
<p:tagLst xmlns:a="http://schemas.openxmlformats.org/drawingml/2006/main" xmlns:r="http://schemas.openxmlformats.org/officeDocument/2006/relationships" xmlns:p="http://schemas.openxmlformats.org/presentationml/2006/main">
  <p:tag name="NUM" val="29"/>
</p:tagLst>
</file>

<file path=ppt/tags/tag116.xml><?xml version="1.0" encoding="utf-8"?>
<p:tagLst xmlns:a="http://schemas.openxmlformats.org/drawingml/2006/main" xmlns:r="http://schemas.openxmlformats.org/officeDocument/2006/relationships" xmlns:p="http://schemas.openxmlformats.org/presentationml/2006/main">
  <p:tag name="NUM" val="30"/>
</p:tagLst>
</file>

<file path=ppt/tags/tag117.xml><?xml version="1.0" encoding="utf-8"?>
<p:tagLst xmlns:a="http://schemas.openxmlformats.org/drawingml/2006/main" xmlns:r="http://schemas.openxmlformats.org/officeDocument/2006/relationships" xmlns:p="http://schemas.openxmlformats.org/presentationml/2006/main">
  <p:tag name="NUM" val="31"/>
</p:tagLst>
</file>

<file path=ppt/tags/tag118.xml><?xml version="1.0" encoding="utf-8"?>
<p:tagLst xmlns:a="http://schemas.openxmlformats.org/drawingml/2006/main" xmlns:r="http://schemas.openxmlformats.org/officeDocument/2006/relationships" xmlns:p="http://schemas.openxmlformats.org/presentationml/2006/main">
  <p:tag name="NUM" val="32"/>
</p:tagLst>
</file>

<file path=ppt/tags/tag119.xml><?xml version="1.0" encoding="utf-8"?>
<p:tagLst xmlns:a="http://schemas.openxmlformats.org/drawingml/2006/main" xmlns:r="http://schemas.openxmlformats.org/officeDocument/2006/relationships" xmlns:p="http://schemas.openxmlformats.org/presentationml/2006/main">
  <p:tag name="NUM" val="33"/>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20.xml><?xml version="1.0" encoding="utf-8"?>
<p:tagLst xmlns:a="http://schemas.openxmlformats.org/drawingml/2006/main" xmlns:r="http://schemas.openxmlformats.org/officeDocument/2006/relationships" xmlns:p="http://schemas.openxmlformats.org/presentationml/2006/main">
  <p:tag name="NUM" val="34"/>
</p:tagLst>
</file>

<file path=ppt/tags/tag121.xml><?xml version="1.0" encoding="utf-8"?>
<p:tagLst xmlns:a="http://schemas.openxmlformats.org/drawingml/2006/main" xmlns:r="http://schemas.openxmlformats.org/officeDocument/2006/relationships" xmlns:p="http://schemas.openxmlformats.org/presentationml/2006/main">
  <p:tag name="NUM" val="35"/>
</p:tagLst>
</file>

<file path=ppt/tags/tag122.xml><?xml version="1.0" encoding="utf-8"?>
<p:tagLst xmlns:a="http://schemas.openxmlformats.org/drawingml/2006/main" xmlns:r="http://schemas.openxmlformats.org/officeDocument/2006/relationships" xmlns:p="http://schemas.openxmlformats.org/presentationml/2006/main">
  <p:tag name="NUM" val="36"/>
</p:tagLst>
</file>

<file path=ppt/tags/tag123.xml><?xml version="1.0" encoding="utf-8"?>
<p:tagLst xmlns:a="http://schemas.openxmlformats.org/drawingml/2006/main" xmlns:r="http://schemas.openxmlformats.org/officeDocument/2006/relationships" xmlns:p="http://schemas.openxmlformats.org/presentationml/2006/main">
  <p:tag name="NUM" val="37"/>
</p:tagLst>
</file>

<file path=ppt/tags/tag124.xml><?xml version="1.0" encoding="utf-8"?>
<p:tagLst xmlns:a="http://schemas.openxmlformats.org/drawingml/2006/main" xmlns:r="http://schemas.openxmlformats.org/officeDocument/2006/relationships" xmlns:p="http://schemas.openxmlformats.org/presentationml/2006/main">
  <p:tag name="NUM" val="38"/>
</p:tagLst>
</file>

<file path=ppt/tags/tag125.xml><?xml version="1.0" encoding="utf-8"?>
<p:tagLst xmlns:a="http://schemas.openxmlformats.org/drawingml/2006/main" xmlns:r="http://schemas.openxmlformats.org/officeDocument/2006/relationships" xmlns:p="http://schemas.openxmlformats.org/presentationml/2006/main">
  <p:tag name="NUM" val="39"/>
</p:tagLst>
</file>

<file path=ppt/tags/tag126.xml><?xml version="1.0" encoding="utf-8"?>
<p:tagLst xmlns:a="http://schemas.openxmlformats.org/drawingml/2006/main" xmlns:r="http://schemas.openxmlformats.org/officeDocument/2006/relationships" xmlns:p="http://schemas.openxmlformats.org/presentationml/2006/main">
  <p:tag name="NUM" val="40"/>
</p:tagLst>
</file>

<file path=ppt/tags/tag127.xml><?xml version="1.0" encoding="utf-8"?>
<p:tagLst xmlns:a="http://schemas.openxmlformats.org/drawingml/2006/main" xmlns:r="http://schemas.openxmlformats.org/officeDocument/2006/relationships" xmlns:p="http://schemas.openxmlformats.org/presentationml/2006/main">
  <p:tag name="NUM" val="1"/>
</p:tagLst>
</file>

<file path=ppt/tags/tag128.xml><?xml version="1.0" encoding="utf-8"?>
<p:tagLst xmlns:a="http://schemas.openxmlformats.org/drawingml/2006/main" xmlns:r="http://schemas.openxmlformats.org/officeDocument/2006/relationships" xmlns:p="http://schemas.openxmlformats.org/presentationml/2006/main">
  <p:tag name="NUM" val="2"/>
</p:tagLst>
</file>

<file path=ppt/tags/tag129.xml><?xml version="1.0" encoding="utf-8"?>
<p:tagLst xmlns:a="http://schemas.openxmlformats.org/drawingml/2006/main" xmlns:r="http://schemas.openxmlformats.org/officeDocument/2006/relationships" xmlns:p="http://schemas.openxmlformats.org/presentationml/2006/main">
  <p:tag name="NUM" val="3"/>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30.xml><?xml version="1.0" encoding="utf-8"?>
<p:tagLst xmlns:a="http://schemas.openxmlformats.org/drawingml/2006/main" xmlns:r="http://schemas.openxmlformats.org/officeDocument/2006/relationships" xmlns:p="http://schemas.openxmlformats.org/presentationml/2006/main">
  <p:tag name="NUM" val="4"/>
</p:tagLst>
</file>

<file path=ppt/tags/tag131.xml><?xml version="1.0" encoding="utf-8"?>
<p:tagLst xmlns:a="http://schemas.openxmlformats.org/drawingml/2006/main" xmlns:r="http://schemas.openxmlformats.org/officeDocument/2006/relationships" xmlns:p="http://schemas.openxmlformats.org/presentationml/2006/main">
  <p:tag name="NUM" val="5"/>
</p:tagLst>
</file>

<file path=ppt/tags/tag132.xml><?xml version="1.0" encoding="utf-8"?>
<p:tagLst xmlns:a="http://schemas.openxmlformats.org/drawingml/2006/main" xmlns:r="http://schemas.openxmlformats.org/officeDocument/2006/relationships" xmlns:p="http://schemas.openxmlformats.org/presentationml/2006/main">
  <p:tag name="NUM" val="6"/>
</p:tagLst>
</file>

<file path=ppt/tags/tag133.xml><?xml version="1.0" encoding="utf-8"?>
<p:tagLst xmlns:a="http://schemas.openxmlformats.org/drawingml/2006/main" xmlns:r="http://schemas.openxmlformats.org/officeDocument/2006/relationships" xmlns:p="http://schemas.openxmlformats.org/presentationml/2006/main">
  <p:tag name="NUM" val="7"/>
</p:tagLst>
</file>

<file path=ppt/tags/tag134.xml><?xml version="1.0" encoding="utf-8"?>
<p:tagLst xmlns:a="http://schemas.openxmlformats.org/drawingml/2006/main" xmlns:r="http://schemas.openxmlformats.org/officeDocument/2006/relationships" xmlns:p="http://schemas.openxmlformats.org/presentationml/2006/main">
  <p:tag name="NUM" val="8"/>
</p:tagLst>
</file>

<file path=ppt/tags/tag135.xml><?xml version="1.0" encoding="utf-8"?>
<p:tagLst xmlns:a="http://schemas.openxmlformats.org/drawingml/2006/main" xmlns:r="http://schemas.openxmlformats.org/officeDocument/2006/relationships" xmlns:p="http://schemas.openxmlformats.org/presentationml/2006/main">
  <p:tag name="NUM" val="9"/>
</p:tagLst>
</file>

<file path=ppt/tags/tag136.xml><?xml version="1.0" encoding="utf-8"?>
<p:tagLst xmlns:a="http://schemas.openxmlformats.org/drawingml/2006/main" xmlns:r="http://schemas.openxmlformats.org/officeDocument/2006/relationships" xmlns:p="http://schemas.openxmlformats.org/presentationml/2006/main">
  <p:tag name="NUM" val="10"/>
</p:tagLst>
</file>

<file path=ppt/tags/tag137.xml><?xml version="1.0" encoding="utf-8"?>
<p:tagLst xmlns:a="http://schemas.openxmlformats.org/drawingml/2006/main" xmlns:r="http://schemas.openxmlformats.org/officeDocument/2006/relationships" xmlns:p="http://schemas.openxmlformats.org/presentationml/2006/main">
  <p:tag name="NUM" val="11"/>
</p:tagLst>
</file>

<file path=ppt/tags/tag138.xml><?xml version="1.0" encoding="utf-8"?>
<p:tagLst xmlns:a="http://schemas.openxmlformats.org/drawingml/2006/main" xmlns:r="http://schemas.openxmlformats.org/officeDocument/2006/relationships" xmlns:p="http://schemas.openxmlformats.org/presentationml/2006/main">
  <p:tag name="NUM" val="12"/>
</p:tagLst>
</file>

<file path=ppt/tags/tag139.xml><?xml version="1.0" encoding="utf-8"?>
<p:tagLst xmlns:a="http://schemas.openxmlformats.org/drawingml/2006/main" xmlns:r="http://schemas.openxmlformats.org/officeDocument/2006/relationships" xmlns:p="http://schemas.openxmlformats.org/presentationml/2006/main">
  <p:tag name="NUM" val="13"/>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40.xml><?xml version="1.0" encoding="utf-8"?>
<p:tagLst xmlns:a="http://schemas.openxmlformats.org/drawingml/2006/main" xmlns:r="http://schemas.openxmlformats.org/officeDocument/2006/relationships" xmlns:p="http://schemas.openxmlformats.org/presentationml/2006/main">
  <p:tag name="NUM" val="14"/>
</p:tagLst>
</file>

<file path=ppt/tags/tag141.xml><?xml version="1.0" encoding="utf-8"?>
<p:tagLst xmlns:a="http://schemas.openxmlformats.org/drawingml/2006/main" xmlns:r="http://schemas.openxmlformats.org/officeDocument/2006/relationships" xmlns:p="http://schemas.openxmlformats.org/presentationml/2006/main">
  <p:tag name="NUM" val="15"/>
</p:tagLst>
</file>

<file path=ppt/tags/tag142.xml><?xml version="1.0" encoding="utf-8"?>
<p:tagLst xmlns:a="http://schemas.openxmlformats.org/drawingml/2006/main" xmlns:r="http://schemas.openxmlformats.org/officeDocument/2006/relationships" xmlns:p="http://schemas.openxmlformats.org/presentationml/2006/main">
  <p:tag name="NUM" val="16"/>
</p:tagLst>
</file>

<file path=ppt/tags/tag143.xml><?xml version="1.0" encoding="utf-8"?>
<p:tagLst xmlns:a="http://schemas.openxmlformats.org/drawingml/2006/main" xmlns:r="http://schemas.openxmlformats.org/officeDocument/2006/relationships" xmlns:p="http://schemas.openxmlformats.org/presentationml/2006/main">
  <p:tag name="NUM" val="17"/>
</p:tagLst>
</file>

<file path=ppt/tags/tag144.xml><?xml version="1.0" encoding="utf-8"?>
<p:tagLst xmlns:a="http://schemas.openxmlformats.org/drawingml/2006/main" xmlns:r="http://schemas.openxmlformats.org/officeDocument/2006/relationships" xmlns:p="http://schemas.openxmlformats.org/presentationml/2006/main">
  <p:tag name="NUM" val="18"/>
</p:tagLst>
</file>

<file path=ppt/tags/tag145.xml><?xml version="1.0" encoding="utf-8"?>
<p:tagLst xmlns:a="http://schemas.openxmlformats.org/drawingml/2006/main" xmlns:r="http://schemas.openxmlformats.org/officeDocument/2006/relationships" xmlns:p="http://schemas.openxmlformats.org/presentationml/2006/main">
  <p:tag name="NUM" val="19"/>
</p:tagLst>
</file>

<file path=ppt/tags/tag146.xml><?xml version="1.0" encoding="utf-8"?>
<p:tagLst xmlns:a="http://schemas.openxmlformats.org/drawingml/2006/main" xmlns:r="http://schemas.openxmlformats.org/officeDocument/2006/relationships" xmlns:p="http://schemas.openxmlformats.org/presentationml/2006/main">
  <p:tag name="NUM" val="20"/>
</p:tagLst>
</file>

<file path=ppt/tags/tag147.xml><?xml version="1.0" encoding="utf-8"?>
<p:tagLst xmlns:a="http://schemas.openxmlformats.org/drawingml/2006/main" xmlns:r="http://schemas.openxmlformats.org/officeDocument/2006/relationships" xmlns:p="http://schemas.openxmlformats.org/presentationml/2006/main">
  <p:tag name="NUM" val="21"/>
</p:tagLst>
</file>

<file path=ppt/tags/tag148.xml><?xml version="1.0" encoding="utf-8"?>
<p:tagLst xmlns:a="http://schemas.openxmlformats.org/drawingml/2006/main" xmlns:r="http://schemas.openxmlformats.org/officeDocument/2006/relationships" xmlns:p="http://schemas.openxmlformats.org/presentationml/2006/main">
  <p:tag name="NUM" val="22"/>
</p:tagLst>
</file>

<file path=ppt/tags/tag149.xml><?xml version="1.0" encoding="utf-8"?>
<p:tagLst xmlns:a="http://schemas.openxmlformats.org/drawingml/2006/main" xmlns:r="http://schemas.openxmlformats.org/officeDocument/2006/relationships" xmlns:p="http://schemas.openxmlformats.org/presentationml/2006/main">
  <p:tag name="NUM" val="23"/>
</p:tagLst>
</file>

<file path=ppt/tags/tag15.xml><?xml version="1.0" encoding="utf-8"?>
<p:tagLst xmlns:a="http://schemas.openxmlformats.org/drawingml/2006/main" xmlns:r="http://schemas.openxmlformats.org/officeDocument/2006/relationships" xmlns:p="http://schemas.openxmlformats.org/presentationml/2006/main">
  <p:tag name="NUM" val="5"/>
</p:tagLst>
</file>

<file path=ppt/tags/tag150.xml><?xml version="1.0" encoding="utf-8"?>
<p:tagLst xmlns:a="http://schemas.openxmlformats.org/drawingml/2006/main" xmlns:r="http://schemas.openxmlformats.org/officeDocument/2006/relationships" xmlns:p="http://schemas.openxmlformats.org/presentationml/2006/main">
  <p:tag name="NUM" val="24"/>
</p:tagLst>
</file>

<file path=ppt/tags/tag151.xml><?xml version="1.0" encoding="utf-8"?>
<p:tagLst xmlns:a="http://schemas.openxmlformats.org/drawingml/2006/main" xmlns:r="http://schemas.openxmlformats.org/officeDocument/2006/relationships" xmlns:p="http://schemas.openxmlformats.org/presentationml/2006/main">
  <p:tag name="NUM" val="25"/>
</p:tagLst>
</file>

<file path=ppt/tags/tag152.xml><?xml version="1.0" encoding="utf-8"?>
<p:tagLst xmlns:a="http://schemas.openxmlformats.org/drawingml/2006/main" xmlns:r="http://schemas.openxmlformats.org/officeDocument/2006/relationships" xmlns:p="http://schemas.openxmlformats.org/presentationml/2006/main">
  <p:tag name="NUM" val="26"/>
</p:tagLst>
</file>

<file path=ppt/tags/tag153.xml><?xml version="1.0" encoding="utf-8"?>
<p:tagLst xmlns:a="http://schemas.openxmlformats.org/drawingml/2006/main" xmlns:r="http://schemas.openxmlformats.org/officeDocument/2006/relationships" xmlns:p="http://schemas.openxmlformats.org/presentationml/2006/main">
  <p:tag name="NUM" val="27"/>
</p:tagLst>
</file>

<file path=ppt/tags/tag154.xml><?xml version="1.0" encoding="utf-8"?>
<p:tagLst xmlns:a="http://schemas.openxmlformats.org/drawingml/2006/main" xmlns:r="http://schemas.openxmlformats.org/officeDocument/2006/relationships" xmlns:p="http://schemas.openxmlformats.org/presentationml/2006/main">
  <p:tag name="NUM" val="28"/>
</p:tagLst>
</file>

<file path=ppt/tags/tag155.xml><?xml version="1.0" encoding="utf-8"?>
<p:tagLst xmlns:a="http://schemas.openxmlformats.org/drawingml/2006/main" xmlns:r="http://schemas.openxmlformats.org/officeDocument/2006/relationships" xmlns:p="http://schemas.openxmlformats.org/presentationml/2006/main">
  <p:tag name="NUM" val="29"/>
</p:tagLst>
</file>

<file path=ppt/tags/tag156.xml><?xml version="1.0" encoding="utf-8"?>
<p:tagLst xmlns:a="http://schemas.openxmlformats.org/drawingml/2006/main" xmlns:r="http://schemas.openxmlformats.org/officeDocument/2006/relationships" xmlns:p="http://schemas.openxmlformats.org/presentationml/2006/main">
  <p:tag name="NUM" val="30"/>
</p:tagLst>
</file>

<file path=ppt/tags/tag157.xml><?xml version="1.0" encoding="utf-8"?>
<p:tagLst xmlns:a="http://schemas.openxmlformats.org/drawingml/2006/main" xmlns:r="http://schemas.openxmlformats.org/officeDocument/2006/relationships" xmlns:p="http://schemas.openxmlformats.org/presentationml/2006/main">
  <p:tag name="NUM" val="31"/>
</p:tagLst>
</file>

<file path=ppt/tags/tag158.xml><?xml version="1.0" encoding="utf-8"?>
<p:tagLst xmlns:a="http://schemas.openxmlformats.org/drawingml/2006/main" xmlns:r="http://schemas.openxmlformats.org/officeDocument/2006/relationships" xmlns:p="http://schemas.openxmlformats.org/presentationml/2006/main">
  <p:tag name="NUM" val="32"/>
</p:tagLst>
</file>

<file path=ppt/tags/tag159.xml><?xml version="1.0" encoding="utf-8"?>
<p:tagLst xmlns:a="http://schemas.openxmlformats.org/drawingml/2006/main" xmlns:r="http://schemas.openxmlformats.org/officeDocument/2006/relationships" xmlns:p="http://schemas.openxmlformats.org/presentationml/2006/main">
  <p:tag name="NUM" val="33"/>
</p:tagLst>
</file>

<file path=ppt/tags/tag16.xml><?xml version="1.0" encoding="utf-8"?>
<p:tagLst xmlns:a="http://schemas.openxmlformats.org/drawingml/2006/main" xmlns:r="http://schemas.openxmlformats.org/officeDocument/2006/relationships" xmlns:p="http://schemas.openxmlformats.org/presentationml/2006/main">
  <p:tag name="NUM" val="6"/>
</p:tagLst>
</file>

<file path=ppt/tags/tag160.xml><?xml version="1.0" encoding="utf-8"?>
<p:tagLst xmlns:a="http://schemas.openxmlformats.org/drawingml/2006/main" xmlns:r="http://schemas.openxmlformats.org/officeDocument/2006/relationships" xmlns:p="http://schemas.openxmlformats.org/presentationml/2006/main">
  <p:tag name="NUM" val="34"/>
</p:tagLst>
</file>

<file path=ppt/tags/tag161.xml><?xml version="1.0" encoding="utf-8"?>
<p:tagLst xmlns:a="http://schemas.openxmlformats.org/drawingml/2006/main" xmlns:r="http://schemas.openxmlformats.org/officeDocument/2006/relationships" xmlns:p="http://schemas.openxmlformats.org/presentationml/2006/main">
  <p:tag name="NUM" val="35"/>
</p:tagLst>
</file>

<file path=ppt/tags/tag162.xml><?xml version="1.0" encoding="utf-8"?>
<p:tagLst xmlns:a="http://schemas.openxmlformats.org/drawingml/2006/main" xmlns:r="http://schemas.openxmlformats.org/officeDocument/2006/relationships" xmlns:p="http://schemas.openxmlformats.org/presentationml/2006/main">
  <p:tag name="NUM" val="36"/>
</p:tagLst>
</file>

<file path=ppt/tags/tag163.xml><?xml version="1.0" encoding="utf-8"?>
<p:tagLst xmlns:a="http://schemas.openxmlformats.org/drawingml/2006/main" xmlns:r="http://schemas.openxmlformats.org/officeDocument/2006/relationships" xmlns:p="http://schemas.openxmlformats.org/presentationml/2006/main">
  <p:tag name="NUM" val="37"/>
</p:tagLst>
</file>

<file path=ppt/tags/tag164.xml><?xml version="1.0" encoding="utf-8"?>
<p:tagLst xmlns:a="http://schemas.openxmlformats.org/drawingml/2006/main" xmlns:r="http://schemas.openxmlformats.org/officeDocument/2006/relationships" xmlns:p="http://schemas.openxmlformats.org/presentationml/2006/main">
  <p:tag name="NUM" val="38"/>
</p:tagLst>
</file>

<file path=ppt/tags/tag165.xml><?xml version="1.0" encoding="utf-8"?>
<p:tagLst xmlns:a="http://schemas.openxmlformats.org/drawingml/2006/main" xmlns:r="http://schemas.openxmlformats.org/officeDocument/2006/relationships" xmlns:p="http://schemas.openxmlformats.org/presentationml/2006/main">
  <p:tag name="NUM" val="1"/>
</p:tagLst>
</file>

<file path=ppt/tags/tag166.xml><?xml version="1.0" encoding="utf-8"?>
<p:tagLst xmlns:a="http://schemas.openxmlformats.org/drawingml/2006/main" xmlns:r="http://schemas.openxmlformats.org/officeDocument/2006/relationships" xmlns:p="http://schemas.openxmlformats.org/presentationml/2006/main">
  <p:tag name="NUM" val="2"/>
</p:tagLst>
</file>

<file path=ppt/tags/tag167.xml><?xml version="1.0" encoding="utf-8"?>
<p:tagLst xmlns:a="http://schemas.openxmlformats.org/drawingml/2006/main" xmlns:r="http://schemas.openxmlformats.org/officeDocument/2006/relationships" xmlns:p="http://schemas.openxmlformats.org/presentationml/2006/main">
  <p:tag name="NUM" val="3"/>
</p:tagLst>
</file>

<file path=ppt/tags/tag168.xml><?xml version="1.0" encoding="utf-8"?>
<p:tagLst xmlns:a="http://schemas.openxmlformats.org/drawingml/2006/main" xmlns:r="http://schemas.openxmlformats.org/officeDocument/2006/relationships" xmlns:p="http://schemas.openxmlformats.org/presentationml/2006/main">
  <p:tag name="NUM" val="4"/>
</p:tagLst>
</file>

<file path=ppt/tags/tag169.xml><?xml version="1.0" encoding="utf-8"?>
<p:tagLst xmlns:a="http://schemas.openxmlformats.org/drawingml/2006/main" xmlns:r="http://schemas.openxmlformats.org/officeDocument/2006/relationships" xmlns:p="http://schemas.openxmlformats.org/presentationml/2006/main">
  <p:tag name="NUM" val="5"/>
</p:tagLst>
</file>

<file path=ppt/tags/tag17.xml><?xml version="1.0" encoding="utf-8"?>
<p:tagLst xmlns:a="http://schemas.openxmlformats.org/drawingml/2006/main" xmlns:r="http://schemas.openxmlformats.org/officeDocument/2006/relationships" xmlns:p="http://schemas.openxmlformats.org/presentationml/2006/main">
  <p:tag name="NUM" val="7"/>
</p:tagLst>
</file>

<file path=ppt/tags/tag170.xml><?xml version="1.0" encoding="utf-8"?>
<p:tagLst xmlns:a="http://schemas.openxmlformats.org/drawingml/2006/main" xmlns:r="http://schemas.openxmlformats.org/officeDocument/2006/relationships" xmlns:p="http://schemas.openxmlformats.org/presentationml/2006/main">
  <p:tag name="NUM" val="6"/>
</p:tagLst>
</file>

<file path=ppt/tags/tag171.xml><?xml version="1.0" encoding="utf-8"?>
<p:tagLst xmlns:a="http://schemas.openxmlformats.org/drawingml/2006/main" xmlns:r="http://schemas.openxmlformats.org/officeDocument/2006/relationships" xmlns:p="http://schemas.openxmlformats.org/presentationml/2006/main">
  <p:tag name="NUM" val="7"/>
</p:tagLst>
</file>

<file path=ppt/tags/tag172.xml><?xml version="1.0" encoding="utf-8"?>
<p:tagLst xmlns:a="http://schemas.openxmlformats.org/drawingml/2006/main" xmlns:r="http://schemas.openxmlformats.org/officeDocument/2006/relationships" xmlns:p="http://schemas.openxmlformats.org/presentationml/2006/main">
  <p:tag name="NUM" val="8"/>
</p:tagLst>
</file>

<file path=ppt/tags/tag173.xml><?xml version="1.0" encoding="utf-8"?>
<p:tagLst xmlns:a="http://schemas.openxmlformats.org/drawingml/2006/main" xmlns:r="http://schemas.openxmlformats.org/officeDocument/2006/relationships" xmlns:p="http://schemas.openxmlformats.org/presentationml/2006/main">
  <p:tag name="NUM" val="9"/>
</p:tagLst>
</file>

<file path=ppt/tags/tag174.xml><?xml version="1.0" encoding="utf-8"?>
<p:tagLst xmlns:a="http://schemas.openxmlformats.org/drawingml/2006/main" xmlns:r="http://schemas.openxmlformats.org/officeDocument/2006/relationships" xmlns:p="http://schemas.openxmlformats.org/presentationml/2006/main">
  <p:tag name="NUM" val="10"/>
</p:tagLst>
</file>

<file path=ppt/tags/tag175.xml><?xml version="1.0" encoding="utf-8"?>
<p:tagLst xmlns:a="http://schemas.openxmlformats.org/drawingml/2006/main" xmlns:r="http://schemas.openxmlformats.org/officeDocument/2006/relationships" xmlns:p="http://schemas.openxmlformats.org/presentationml/2006/main">
  <p:tag name="NUM" val="11"/>
</p:tagLst>
</file>

<file path=ppt/tags/tag176.xml><?xml version="1.0" encoding="utf-8"?>
<p:tagLst xmlns:a="http://schemas.openxmlformats.org/drawingml/2006/main" xmlns:r="http://schemas.openxmlformats.org/officeDocument/2006/relationships" xmlns:p="http://schemas.openxmlformats.org/presentationml/2006/main">
  <p:tag name="NUM" val="12"/>
</p:tagLst>
</file>

<file path=ppt/tags/tag177.xml><?xml version="1.0" encoding="utf-8"?>
<p:tagLst xmlns:a="http://schemas.openxmlformats.org/drawingml/2006/main" xmlns:r="http://schemas.openxmlformats.org/officeDocument/2006/relationships" xmlns:p="http://schemas.openxmlformats.org/presentationml/2006/main">
  <p:tag name="NUM" val="13"/>
</p:tagLst>
</file>

<file path=ppt/tags/tag178.xml><?xml version="1.0" encoding="utf-8"?>
<p:tagLst xmlns:a="http://schemas.openxmlformats.org/drawingml/2006/main" xmlns:r="http://schemas.openxmlformats.org/officeDocument/2006/relationships" xmlns:p="http://schemas.openxmlformats.org/presentationml/2006/main">
  <p:tag name="NUM" val="14"/>
</p:tagLst>
</file>

<file path=ppt/tags/tag179.xml><?xml version="1.0" encoding="utf-8"?>
<p:tagLst xmlns:a="http://schemas.openxmlformats.org/drawingml/2006/main" xmlns:r="http://schemas.openxmlformats.org/officeDocument/2006/relationships" xmlns:p="http://schemas.openxmlformats.org/presentationml/2006/main">
  <p:tag name="NUM" val="15"/>
</p:tagLst>
</file>

<file path=ppt/tags/tag18.xml><?xml version="1.0" encoding="utf-8"?>
<p:tagLst xmlns:a="http://schemas.openxmlformats.org/drawingml/2006/main" xmlns:r="http://schemas.openxmlformats.org/officeDocument/2006/relationships" xmlns:p="http://schemas.openxmlformats.org/presentationml/2006/main">
  <p:tag name="NUM" val="8"/>
</p:tagLst>
</file>

<file path=ppt/tags/tag180.xml><?xml version="1.0" encoding="utf-8"?>
<p:tagLst xmlns:a="http://schemas.openxmlformats.org/drawingml/2006/main" xmlns:r="http://schemas.openxmlformats.org/officeDocument/2006/relationships" xmlns:p="http://schemas.openxmlformats.org/presentationml/2006/main">
  <p:tag name="NUM" val="16"/>
</p:tagLst>
</file>

<file path=ppt/tags/tag181.xml><?xml version="1.0" encoding="utf-8"?>
<p:tagLst xmlns:a="http://schemas.openxmlformats.org/drawingml/2006/main" xmlns:r="http://schemas.openxmlformats.org/officeDocument/2006/relationships" xmlns:p="http://schemas.openxmlformats.org/presentationml/2006/main">
  <p:tag name="NUM" val="17"/>
</p:tagLst>
</file>

<file path=ppt/tags/tag182.xml><?xml version="1.0" encoding="utf-8"?>
<p:tagLst xmlns:a="http://schemas.openxmlformats.org/drawingml/2006/main" xmlns:r="http://schemas.openxmlformats.org/officeDocument/2006/relationships" xmlns:p="http://schemas.openxmlformats.org/presentationml/2006/main">
  <p:tag name="NUM" val="18"/>
</p:tagLst>
</file>

<file path=ppt/tags/tag183.xml><?xml version="1.0" encoding="utf-8"?>
<p:tagLst xmlns:a="http://schemas.openxmlformats.org/drawingml/2006/main" xmlns:r="http://schemas.openxmlformats.org/officeDocument/2006/relationships" xmlns:p="http://schemas.openxmlformats.org/presentationml/2006/main">
  <p:tag name="NUM" val="19"/>
</p:tagLst>
</file>

<file path=ppt/tags/tag184.xml><?xml version="1.0" encoding="utf-8"?>
<p:tagLst xmlns:a="http://schemas.openxmlformats.org/drawingml/2006/main" xmlns:r="http://schemas.openxmlformats.org/officeDocument/2006/relationships" xmlns:p="http://schemas.openxmlformats.org/presentationml/2006/main">
  <p:tag name="NUM" val="20"/>
</p:tagLst>
</file>

<file path=ppt/tags/tag185.xml><?xml version="1.0" encoding="utf-8"?>
<p:tagLst xmlns:a="http://schemas.openxmlformats.org/drawingml/2006/main" xmlns:r="http://schemas.openxmlformats.org/officeDocument/2006/relationships" xmlns:p="http://schemas.openxmlformats.org/presentationml/2006/main">
  <p:tag name="NUM" val="21"/>
</p:tagLst>
</file>

<file path=ppt/tags/tag186.xml><?xml version="1.0" encoding="utf-8"?>
<p:tagLst xmlns:a="http://schemas.openxmlformats.org/drawingml/2006/main" xmlns:r="http://schemas.openxmlformats.org/officeDocument/2006/relationships" xmlns:p="http://schemas.openxmlformats.org/presentationml/2006/main">
  <p:tag name="NUM" val="22"/>
</p:tagLst>
</file>

<file path=ppt/tags/tag187.xml><?xml version="1.0" encoding="utf-8"?>
<p:tagLst xmlns:a="http://schemas.openxmlformats.org/drawingml/2006/main" xmlns:r="http://schemas.openxmlformats.org/officeDocument/2006/relationships" xmlns:p="http://schemas.openxmlformats.org/presentationml/2006/main">
  <p:tag name="NUM" val="23"/>
</p:tagLst>
</file>

<file path=ppt/tags/tag188.xml><?xml version="1.0" encoding="utf-8"?>
<p:tagLst xmlns:a="http://schemas.openxmlformats.org/drawingml/2006/main" xmlns:r="http://schemas.openxmlformats.org/officeDocument/2006/relationships" xmlns:p="http://schemas.openxmlformats.org/presentationml/2006/main">
  <p:tag name="NUM" val="24"/>
</p:tagLst>
</file>

<file path=ppt/tags/tag189.xml><?xml version="1.0" encoding="utf-8"?>
<p:tagLst xmlns:a="http://schemas.openxmlformats.org/drawingml/2006/main" xmlns:r="http://schemas.openxmlformats.org/officeDocument/2006/relationships" xmlns:p="http://schemas.openxmlformats.org/presentationml/2006/main">
  <p:tag name="NUM" val="25"/>
</p:tagLst>
</file>

<file path=ppt/tags/tag19.xml><?xml version="1.0" encoding="utf-8"?>
<p:tagLst xmlns:a="http://schemas.openxmlformats.org/drawingml/2006/main" xmlns:r="http://schemas.openxmlformats.org/officeDocument/2006/relationships" xmlns:p="http://schemas.openxmlformats.org/presentationml/2006/main">
  <p:tag name="NUM" val="9"/>
</p:tagLst>
</file>

<file path=ppt/tags/tag190.xml><?xml version="1.0" encoding="utf-8"?>
<p:tagLst xmlns:a="http://schemas.openxmlformats.org/drawingml/2006/main" xmlns:r="http://schemas.openxmlformats.org/officeDocument/2006/relationships" xmlns:p="http://schemas.openxmlformats.org/presentationml/2006/main">
  <p:tag name="NUM" val="26"/>
</p:tagLst>
</file>

<file path=ppt/tags/tag191.xml><?xml version="1.0" encoding="utf-8"?>
<p:tagLst xmlns:a="http://schemas.openxmlformats.org/drawingml/2006/main" xmlns:r="http://schemas.openxmlformats.org/officeDocument/2006/relationships" xmlns:p="http://schemas.openxmlformats.org/presentationml/2006/main">
  <p:tag name="NUM" val="27"/>
</p:tagLst>
</file>

<file path=ppt/tags/tag192.xml><?xml version="1.0" encoding="utf-8"?>
<p:tagLst xmlns:a="http://schemas.openxmlformats.org/drawingml/2006/main" xmlns:r="http://schemas.openxmlformats.org/officeDocument/2006/relationships" xmlns:p="http://schemas.openxmlformats.org/presentationml/2006/main">
  <p:tag name="NUM" val="28"/>
</p:tagLst>
</file>

<file path=ppt/tags/tag193.xml><?xml version="1.0" encoding="utf-8"?>
<p:tagLst xmlns:a="http://schemas.openxmlformats.org/drawingml/2006/main" xmlns:r="http://schemas.openxmlformats.org/officeDocument/2006/relationships" xmlns:p="http://schemas.openxmlformats.org/presentationml/2006/main">
  <p:tag name="NUM" val="29"/>
</p:tagLst>
</file>

<file path=ppt/tags/tag194.xml><?xml version="1.0" encoding="utf-8"?>
<p:tagLst xmlns:a="http://schemas.openxmlformats.org/drawingml/2006/main" xmlns:r="http://schemas.openxmlformats.org/officeDocument/2006/relationships" xmlns:p="http://schemas.openxmlformats.org/presentationml/2006/main">
  <p:tag name="NUM" val="30"/>
</p:tagLst>
</file>

<file path=ppt/tags/tag195.xml><?xml version="1.0" encoding="utf-8"?>
<p:tagLst xmlns:a="http://schemas.openxmlformats.org/drawingml/2006/main" xmlns:r="http://schemas.openxmlformats.org/officeDocument/2006/relationships" xmlns:p="http://schemas.openxmlformats.org/presentationml/2006/main">
  <p:tag name="NUM" val="31"/>
</p:tagLst>
</file>

<file path=ppt/tags/tag196.xml><?xml version="1.0" encoding="utf-8"?>
<p:tagLst xmlns:a="http://schemas.openxmlformats.org/drawingml/2006/main" xmlns:r="http://schemas.openxmlformats.org/officeDocument/2006/relationships" xmlns:p="http://schemas.openxmlformats.org/presentationml/2006/main">
  <p:tag name="NUM" val="1"/>
</p:tagLst>
</file>

<file path=ppt/tags/tag197.xml><?xml version="1.0" encoding="utf-8"?>
<p:tagLst xmlns:a="http://schemas.openxmlformats.org/drawingml/2006/main" xmlns:r="http://schemas.openxmlformats.org/officeDocument/2006/relationships" xmlns:p="http://schemas.openxmlformats.org/presentationml/2006/main">
  <p:tag name="NUM" val="2"/>
</p:tagLst>
</file>

<file path=ppt/tags/tag198.xml><?xml version="1.0" encoding="utf-8"?>
<p:tagLst xmlns:a="http://schemas.openxmlformats.org/drawingml/2006/main" xmlns:r="http://schemas.openxmlformats.org/officeDocument/2006/relationships" xmlns:p="http://schemas.openxmlformats.org/presentationml/2006/main">
  <p:tag name="NUM" val="3"/>
</p:tagLst>
</file>

<file path=ppt/tags/tag199.xml><?xml version="1.0" encoding="utf-8"?>
<p:tagLst xmlns:a="http://schemas.openxmlformats.org/drawingml/2006/main" xmlns:r="http://schemas.openxmlformats.org/officeDocument/2006/relationships" xmlns:p="http://schemas.openxmlformats.org/presentationml/2006/main">
  <p:tag name="NUM"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0"/>
</p:tagLst>
</file>

<file path=ppt/tags/tag200.xml><?xml version="1.0" encoding="utf-8"?>
<p:tagLst xmlns:a="http://schemas.openxmlformats.org/drawingml/2006/main" xmlns:r="http://schemas.openxmlformats.org/officeDocument/2006/relationships" xmlns:p="http://schemas.openxmlformats.org/presentationml/2006/main">
  <p:tag name="NUM" val="5"/>
</p:tagLst>
</file>

<file path=ppt/tags/tag201.xml><?xml version="1.0" encoding="utf-8"?>
<p:tagLst xmlns:a="http://schemas.openxmlformats.org/drawingml/2006/main" xmlns:r="http://schemas.openxmlformats.org/officeDocument/2006/relationships" xmlns:p="http://schemas.openxmlformats.org/presentationml/2006/main">
  <p:tag name="NUM" val="6"/>
</p:tagLst>
</file>

<file path=ppt/tags/tag202.xml><?xml version="1.0" encoding="utf-8"?>
<p:tagLst xmlns:a="http://schemas.openxmlformats.org/drawingml/2006/main" xmlns:r="http://schemas.openxmlformats.org/officeDocument/2006/relationships" xmlns:p="http://schemas.openxmlformats.org/presentationml/2006/main">
  <p:tag name="NUM" val="7"/>
</p:tagLst>
</file>

<file path=ppt/tags/tag203.xml><?xml version="1.0" encoding="utf-8"?>
<p:tagLst xmlns:a="http://schemas.openxmlformats.org/drawingml/2006/main" xmlns:r="http://schemas.openxmlformats.org/officeDocument/2006/relationships" xmlns:p="http://schemas.openxmlformats.org/presentationml/2006/main">
  <p:tag name="NUM" val="8"/>
</p:tagLst>
</file>

<file path=ppt/tags/tag204.xml><?xml version="1.0" encoding="utf-8"?>
<p:tagLst xmlns:a="http://schemas.openxmlformats.org/drawingml/2006/main" xmlns:r="http://schemas.openxmlformats.org/officeDocument/2006/relationships" xmlns:p="http://schemas.openxmlformats.org/presentationml/2006/main">
  <p:tag name="NUM" val="9"/>
</p:tagLst>
</file>

<file path=ppt/tags/tag205.xml><?xml version="1.0" encoding="utf-8"?>
<p:tagLst xmlns:a="http://schemas.openxmlformats.org/drawingml/2006/main" xmlns:r="http://schemas.openxmlformats.org/officeDocument/2006/relationships" xmlns:p="http://schemas.openxmlformats.org/presentationml/2006/main">
  <p:tag name="NUM" val="10"/>
</p:tagLst>
</file>

<file path=ppt/tags/tag206.xml><?xml version="1.0" encoding="utf-8"?>
<p:tagLst xmlns:a="http://schemas.openxmlformats.org/drawingml/2006/main" xmlns:r="http://schemas.openxmlformats.org/officeDocument/2006/relationships" xmlns:p="http://schemas.openxmlformats.org/presentationml/2006/main">
  <p:tag name="NUM" val="11"/>
</p:tagLst>
</file>

<file path=ppt/tags/tag207.xml><?xml version="1.0" encoding="utf-8"?>
<p:tagLst xmlns:a="http://schemas.openxmlformats.org/drawingml/2006/main" xmlns:r="http://schemas.openxmlformats.org/officeDocument/2006/relationships" xmlns:p="http://schemas.openxmlformats.org/presentationml/2006/main">
  <p:tag name="NUM" val="12"/>
</p:tagLst>
</file>

<file path=ppt/tags/tag208.xml><?xml version="1.0" encoding="utf-8"?>
<p:tagLst xmlns:a="http://schemas.openxmlformats.org/drawingml/2006/main" xmlns:r="http://schemas.openxmlformats.org/officeDocument/2006/relationships" xmlns:p="http://schemas.openxmlformats.org/presentationml/2006/main">
  <p:tag name="NUM" val="13"/>
</p:tagLst>
</file>

<file path=ppt/tags/tag209.xml><?xml version="1.0" encoding="utf-8"?>
<p:tagLst xmlns:a="http://schemas.openxmlformats.org/drawingml/2006/main" xmlns:r="http://schemas.openxmlformats.org/officeDocument/2006/relationships" xmlns:p="http://schemas.openxmlformats.org/presentationml/2006/main">
  <p:tag name="NUM" val="14"/>
</p:tagLst>
</file>

<file path=ppt/tags/tag21.xml><?xml version="1.0" encoding="utf-8"?>
<p:tagLst xmlns:a="http://schemas.openxmlformats.org/drawingml/2006/main" xmlns:r="http://schemas.openxmlformats.org/officeDocument/2006/relationships" xmlns:p="http://schemas.openxmlformats.org/presentationml/2006/main">
  <p:tag name="NUM" val="11"/>
</p:tagLst>
</file>

<file path=ppt/tags/tag210.xml><?xml version="1.0" encoding="utf-8"?>
<p:tagLst xmlns:a="http://schemas.openxmlformats.org/drawingml/2006/main" xmlns:r="http://schemas.openxmlformats.org/officeDocument/2006/relationships" xmlns:p="http://schemas.openxmlformats.org/presentationml/2006/main">
  <p:tag name="NUM" val="15"/>
</p:tagLst>
</file>

<file path=ppt/tags/tag211.xml><?xml version="1.0" encoding="utf-8"?>
<p:tagLst xmlns:a="http://schemas.openxmlformats.org/drawingml/2006/main" xmlns:r="http://schemas.openxmlformats.org/officeDocument/2006/relationships" xmlns:p="http://schemas.openxmlformats.org/presentationml/2006/main">
  <p:tag name="NUM" val="16"/>
</p:tagLst>
</file>

<file path=ppt/tags/tag212.xml><?xml version="1.0" encoding="utf-8"?>
<p:tagLst xmlns:a="http://schemas.openxmlformats.org/drawingml/2006/main" xmlns:r="http://schemas.openxmlformats.org/officeDocument/2006/relationships" xmlns:p="http://schemas.openxmlformats.org/presentationml/2006/main">
  <p:tag name="NUM" val="17"/>
</p:tagLst>
</file>

<file path=ppt/tags/tag213.xml><?xml version="1.0" encoding="utf-8"?>
<p:tagLst xmlns:a="http://schemas.openxmlformats.org/drawingml/2006/main" xmlns:r="http://schemas.openxmlformats.org/officeDocument/2006/relationships" xmlns:p="http://schemas.openxmlformats.org/presentationml/2006/main">
  <p:tag name="NUM" val="18"/>
</p:tagLst>
</file>

<file path=ppt/tags/tag214.xml><?xml version="1.0" encoding="utf-8"?>
<p:tagLst xmlns:a="http://schemas.openxmlformats.org/drawingml/2006/main" xmlns:r="http://schemas.openxmlformats.org/officeDocument/2006/relationships" xmlns:p="http://schemas.openxmlformats.org/presentationml/2006/main">
  <p:tag name="NUM" val="19"/>
</p:tagLst>
</file>

<file path=ppt/tags/tag215.xml><?xml version="1.0" encoding="utf-8"?>
<p:tagLst xmlns:a="http://schemas.openxmlformats.org/drawingml/2006/main" xmlns:r="http://schemas.openxmlformats.org/officeDocument/2006/relationships" xmlns:p="http://schemas.openxmlformats.org/presentationml/2006/main">
  <p:tag name="NUM" val="20"/>
</p:tagLst>
</file>

<file path=ppt/tags/tag216.xml><?xml version="1.0" encoding="utf-8"?>
<p:tagLst xmlns:a="http://schemas.openxmlformats.org/drawingml/2006/main" xmlns:r="http://schemas.openxmlformats.org/officeDocument/2006/relationships" xmlns:p="http://schemas.openxmlformats.org/presentationml/2006/main">
  <p:tag name="NUM" val="21"/>
</p:tagLst>
</file>

<file path=ppt/tags/tag217.xml><?xml version="1.0" encoding="utf-8"?>
<p:tagLst xmlns:a="http://schemas.openxmlformats.org/drawingml/2006/main" xmlns:r="http://schemas.openxmlformats.org/officeDocument/2006/relationships" xmlns:p="http://schemas.openxmlformats.org/presentationml/2006/main">
  <p:tag name="NUM" val="22"/>
</p:tagLst>
</file>

<file path=ppt/tags/tag218.xml><?xml version="1.0" encoding="utf-8"?>
<p:tagLst xmlns:a="http://schemas.openxmlformats.org/drawingml/2006/main" xmlns:r="http://schemas.openxmlformats.org/officeDocument/2006/relationships" xmlns:p="http://schemas.openxmlformats.org/presentationml/2006/main">
  <p:tag name="NUM" val="23"/>
</p:tagLst>
</file>

<file path=ppt/tags/tag219.xml><?xml version="1.0" encoding="utf-8"?>
<p:tagLst xmlns:a="http://schemas.openxmlformats.org/drawingml/2006/main" xmlns:r="http://schemas.openxmlformats.org/officeDocument/2006/relationships" xmlns:p="http://schemas.openxmlformats.org/presentationml/2006/main">
  <p:tag name="NUM" val="24"/>
</p:tagLst>
</file>

<file path=ppt/tags/tag22.xml><?xml version="1.0" encoding="utf-8"?>
<p:tagLst xmlns:a="http://schemas.openxmlformats.org/drawingml/2006/main" xmlns:r="http://schemas.openxmlformats.org/officeDocument/2006/relationships" xmlns:p="http://schemas.openxmlformats.org/presentationml/2006/main">
  <p:tag name="NUM" val="12"/>
</p:tagLst>
</file>

<file path=ppt/tags/tag220.xml><?xml version="1.0" encoding="utf-8"?>
<p:tagLst xmlns:a="http://schemas.openxmlformats.org/drawingml/2006/main" xmlns:r="http://schemas.openxmlformats.org/officeDocument/2006/relationships" xmlns:p="http://schemas.openxmlformats.org/presentationml/2006/main">
  <p:tag name="NUM" val="25"/>
</p:tagLst>
</file>

<file path=ppt/tags/tag221.xml><?xml version="1.0" encoding="utf-8"?>
<p:tagLst xmlns:a="http://schemas.openxmlformats.org/drawingml/2006/main" xmlns:r="http://schemas.openxmlformats.org/officeDocument/2006/relationships" xmlns:p="http://schemas.openxmlformats.org/presentationml/2006/main">
  <p:tag name="NUM" val="26"/>
</p:tagLst>
</file>

<file path=ppt/tags/tag222.xml><?xml version="1.0" encoding="utf-8"?>
<p:tagLst xmlns:a="http://schemas.openxmlformats.org/drawingml/2006/main" xmlns:r="http://schemas.openxmlformats.org/officeDocument/2006/relationships" xmlns:p="http://schemas.openxmlformats.org/presentationml/2006/main">
  <p:tag name="NUM" val="27"/>
</p:tagLst>
</file>

<file path=ppt/tags/tag223.xml><?xml version="1.0" encoding="utf-8"?>
<p:tagLst xmlns:a="http://schemas.openxmlformats.org/drawingml/2006/main" xmlns:r="http://schemas.openxmlformats.org/officeDocument/2006/relationships" xmlns:p="http://schemas.openxmlformats.org/presentationml/2006/main">
  <p:tag name="NUM" val="28"/>
</p:tagLst>
</file>

<file path=ppt/tags/tag224.xml><?xml version="1.0" encoding="utf-8"?>
<p:tagLst xmlns:a="http://schemas.openxmlformats.org/drawingml/2006/main" xmlns:r="http://schemas.openxmlformats.org/officeDocument/2006/relationships" xmlns:p="http://schemas.openxmlformats.org/presentationml/2006/main">
  <p:tag name="NUM" val="29"/>
</p:tagLst>
</file>

<file path=ppt/tags/tag225.xml><?xml version="1.0" encoding="utf-8"?>
<p:tagLst xmlns:a="http://schemas.openxmlformats.org/drawingml/2006/main" xmlns:r="http://schemas.openxmlformats.org/officeDocument/2006/relationships" xmlns:p="http://schemas.openxmlformats.org/presentationml/2006/main">
  <p:tag name="NUM" val="30"/>
</p:tagLst>
</file>

<file path=ppt/tags/tag226.xml><?xml version="1.0" encoding="utf-8"?>
<p:tagLst xmlns:a="http://schemas.openxmlformats.org/drawingml/2006/main" xmlns:r="http://schemas.openxmlformats.org/officeDocument/2006/relationships" xmlns:p="http://schemas.openxmlformats.org/presentationml/2006/main">
  <p:tag name="NUM" val="31"/>
</p:tagLst>
</file>

<file path=ppt/tags/tag227.xml><?xml version="1.0" encoding="utf-8"?>
<p:tagLst xmlns:a="http://schemas.openxmlformats.org/drawingml/2006/main" xmlns:r="http://schemas.openxmlformats.org/officeDocument/2006/relationships" xmlns:p="http://schemas.openxmlformats.org/presentationml/2006/main">
  <p:tag name="NUM" val="32"/>
</p:tagLst>
</file>

<file path=ppt/tags/tag228.xml><?xml version="1.0" encoding="utf-8"?>
<p:tagLst xmlns:a="http://schemas.openxmlformats.org/drawingml/2006/main" xmlns:r="http://schemas.openxmlformats.org/officeDocument/2006/relationships" xmlns:p="http://schemas.openxmlformats.org/presentationml/2006/main">
  <p:tag name="NUM" val="33"/>
</p:tagLst>
</file>

<file path=ppt/tags/tag229.xml><?xml version="1.0" encoding="utf-8"?>
<p:tagLst xmlns:a="http://schemas.openxmlformats.org/drawingml/2006/main" xmlns:r="http://schemas.openxmlformats.org/officeDocument/2006/relationships" xmlns:p="http://schemas.openxmlformats.org/presentationml/2006/main">
  <p:tag name="NUM" val="34"/>
</p:tagLst>
</file>

<file path=ppt/tags/tag23.xml><?xml version="1.0" encoding="utf-8"?>
<p:tagLst xmlns:a="http://schemas.openxmlformats.org/drawingml/2006/main" xmlns:r="http://schemas.openxmlformats.org/officeDocument/2006/relationships" xmlns:p="http://schemas.openxmlformats.org/presentationml/2006/main">
  <p:tag name="NUM" val="13"/>
</p:tagLst>
</file>

<file path=ppt/tags/tag230.xml><?xml version="1.0" encoding="utf-8"?>
<p:tagLst xmlns:a="http://schemas.openxmlformats.org/drawingml/2006/main" xmlns:r="http://schemas.openxmlformats.org/officeDocument/2006/relationships" xmlns:p="http://schemas.openxmlformats.org/presentationml/2006/main">
  <p:tag name="NUM" val="35"/>
</p:tagLst>
</file>

<file path=ppt/tags/tag231.xml><?xml version="1.0" encoding="utf-8"?>
<p:tagLst xmlns:a="http://schemas.openxmlformats.org/drawingml/2006/main" xmlns:r="http://schemas.openxmlformats.org/officeDocument/2006/relationships" xmlns:p="http://schemas.openxmlformats.org/presentationml/2006/main">
  <p:tag name="NUM" val="36"/>
</p:tagLst>
</file>

<file path=ppt/tags/tag232.xml><?xml version="1.0" encoding="utf-8"?>
<p:tagLst xmlns:a="http://schemas.openxmlformats.org/drawingml/2006/main" xmlns:r="http://schemas.openxmlformats.org/officeDocument/2006/relationships" xmlns:p="http://schemas.openxmlformats.org/presentationml/2006/main">
  <p:tag name="NUM" val="37"/>
</p:tagLst>
</file>

<file path=ppt/tags/tag233.xml><?xml version="1.0" encoding="utf-8"?>
<p:tagLst xmlns:a="http://schemas.openxmlformats.org/drawingml/2006/main" xmlns:r="http://schemas.openxmlformats.org/officeDocument/2006/relationships" xmlns:p="http://schemas.openxmlformats.org/presentationml/2006/main">
  <p:tag name="NUM" val="38"/>
</p:tagLst>
</file>

<file path=ppt/tags/tag234.xml><?xml version="1.0" encoding="utf-8"?>
<p:tagLst xmlns:a="http://schemas.openxmlformats.org/drawingml/2006/main" xmlns:r="http://schemas.openxmlformats.org/officeDocument/2006/relationships" xmlns:p="http://schemas.openxmlformats.org/presentationml/2006/main">
  <p:tag name="NUM" val="39"/>
</p:tagLst>
</file>

<file path=ppt/tags/tag235.xml><?xml version="1.0" encoding="utf-8"?>
<p:tagLst xmlns:a="http://schemas.openxmlformats.org/drawingml/2006/main" xmlns:r="http://schemas.openxmlformats.org/officeDocument/2006/relationships" xmlns:p="http://schemas.openxmlformats.org/presentationml/2006/main">
  <p:tag name="NUM" val="40"/>
</p:tagLst>
</file>

<file path=ppt/tags/tag236.xml><?xml version="1.0" encoding="utf-8"?>
<p:tagLst xmlns:a="http://schemas.openxmlformats.org/drawingml/2006/main" xmlns:r="http://schemas.openxmlformats.org/officeDocument/2006/relationships" xmlns:p="http://schemas.openxmlformats.org/presentationml/2006/main">
  <p:tag name="NUM" val="41"/>
</p:tagLst>
</file>

<file path=ppt/tags/tag237.xml><?xml version="1.0" encoding="utf-8"?>
<p:tagLst xmlns:a="http://schemas.openxmlformats.org/drawingml/2006/main" xmlns:r="http://schemas.openxmlformats.org/officeDocument/2006/relationships" xmlns:p="http://schemas.openxmlformats.org/presentationml/2006/main">
  <p:tag name="NUM" val="42"/>
</p:tagLst>
</file>

<file path=ppt/tags/tag238.xml><?xml version="1.0" encoding="utf-8"?>
<p:tagLst xmlns:a="http://schemas.openxmlformats.org/drawingml/2006/main" xmlns:r="http://schemas.openxmlformats.org/officeDocument/2006/relationships" xmlns:p="http://schemas.openxmlformats.org/presentationml/2006/main">
  <p:tag name="NUM" val="43"/>
</p:tagLst>
</file>

<file path=ppt/tags/tag239.xml><?xml version="1.0" encoding="utf-8"?>
<p:tagLst xmlns:a="http://schemas.openxmlformats.org/drawingml/2006/main" xmlns:r="http://schemas.openxmlformats.org/officeDocument/2006/relationships" xmlns:p="http://schemas.openxmlformats.org/presentationml/2006/main">
  <p:tag name="NUM" val="44"/>
</p:tagLst>
</file>

<file path=ppt/tags/tag24.xml><?xml version="1.0" encoding="utf-8"?>
<p:tagLst xmlns:a="http://schemas.openxmlformats.org/drawingml/2006/main" xmlns:r="http://schemas.openxmlformats.org/officeDocument/2006/relationships" xmlns:p="http://schemas.openxmlformats.org/presentationml/2006/main">
  <p:tag name="NUM" val="14"/>
</p:tagLst>
</file>

<file path=ppt/tags/tag240.xml><?xml version="1.0" encoding="utf-8"?>
<p:tagLst xmlns:a="http://schemas.openxmlformats.org/drawingml/2006/main" xmlns:r="http://schemas.openxmlformats.org/officeDocument/2006/relationships" xmlns:p="http://schemas.openxmlformats.org/presentationml/2006/main">
  <p:tag name="NUM" val="45"/>
</p:tagLst>
</file>

<file path=ppt/tags/tag241.xml><?xml version="1.0" encoding="utf-8"?>
<p:tagLst xmlns:a="http://schemas.openxmlformats.org/drawingml/2006/main" xmlns:r="http://schemas.openxmlformats.org/officeDocument/2006/relationships" xmlns:p="http://schemas.openxmlformats.org/presentationml/2006/main">
  <p:tag name="NUM" val="46"/>
</p:tagLst>
</file>

<file path=ppt/tags/tag242.xml><?xml version="1.0" encoding="utf-8"?>
<p:tagLst xmlns:a="http://schemas.openxmlformats.org/drawingml/2006/main" xmlns:r="http://schemas.openxmlformats.org/officeDocument/2006/relationships" xmlns:p="http://schemas.openxmlformats.org/presentationml/2006/main">
  <p:tag name="NUM" val="47"/>
</p:tagLst>
</file>

<file path=ppt/tags/tag243.xml><?xml version="1.0" encoding="utf-8"?>
<p:tagLst xmlns:a="http://schemas.openxmlformats.org/drawingml/2006/main" xmlns:r="http://schemas.openxmlformats.org/officeDocument/2006/relationships" xmlns:p="http://schemas.openxmlformats.org/presentationml/2006/main">
  <p:tag name="NUM" val="48"/>
</p:tagLst>
</file>

<file path=ppt/tags/tag244.xml><?xml version="1.0" encoding="utf-8"?>
<p:tagLst xmlns:a="http://schemas.openxmlformats.org/drawingml/2006/main" xmlns:r="http://schemas.openxmlformats.org/officeDocument/2006/relationships" xmlns:p="http://schemas.openxmlformats.org/presentationml/2006/main">
  <p:tag name="NUM" val="49"/>
</p:tagLst>
</file>

<file path=ppt/tags/tag245.xml><?xml version="1.0" encoding="utf-8"?>
<p:tagLst xmlns:a="http://schemas.openxmlformats.org/drawingml/2006/main" xmlns:r="http://schemas.openxmlformats.org/officeDocument/2006/relationships" xmlns:p="http://schemas.openxmlformats.org/presentationml/2006/main">
  <p:tag name="NUM" val="50"/>
</p:tagLst>
</file>

<file path=ppt/tags/tag246.xml><?xml version="1.0" encoding="utf-8"?>
<p:tagLst xmlns:a="http://schemas.openxmlformats.org/drawingml/2006/main" xmlns:r="http://schemas.openxmlformats.org/officeDocument/2006/relationships" xmlns:p="http://schemas.openxmlformats.org/presentationml/2006/main">
  <p:tag name="NUM" val="51"/>
</p:tagLst>
</file>

<file path=ppt/tags/tag247.xml><?xml version="1.0" encoding="utf-8"?>
<p:tagLst xmlns:a="http://schemas.openxmlformats.org/drawingml/2006/main" xmlns:r="http://schemas.openxmlformats.org/officeDocument/2006/relationships" xmlns:p="http://schemas.openxmlformats.org/presentationml/2006/main">
  <p:tag name="NUM" val="52"/>
</p:tagLst>
</file>

<file path=ppt/tags/tag248.xml><?xml version="1.0" encoding="utf-8"?>
<p:tagLst xmlns:a="http://schemas.openxmlformats.org/drawingml/2006/main" xmlns:r="http://schemas.openxmlformats.org/officeDocument/2006/relationships" xmlns:p="http://schemas.openxmlformats.org/presentationml/2006/main">
  <p:tag name="NUM" val="1"/>
</p:tagLst>
</file>

<file path=ppt/tags/tag249.xml><?xml version="1.0" encoding="utf-8"?>
<p:tagLst xmlns:a="http://schemas.openxmlformats.org/drawingml/2006/main" xmlns:r="http://schemas.openxmlformats.org/officeDocument/2006/relationships" xmlns:p="http://schemas.openxmlformats.org/presentationml/2006/main">
  <p:tag name="NUM" val="2"/>
</p:tagLst>
</file>

<file path=ppt/tags/tag25.xml><?xml version="1.0" encoding="utf-8"?>
<p:tagLst xmlns:a="http://schemas.openxmlformats.org/drawingml/2006/main" xmlns:r="http://schemas.openxmlformats.org/officeDocument/2006/relationships" xmlns:p="http://schemas.openxmlformats.org/presentationml/2006/main">
  <p:tag name="NUM" val="15"/>
</p:tagLst>
</file>

<file path=ppt/tags/tag250.xml><?xml version="1.0" encoding="utf-8"?>
<p:tagLst xmlns:a="http://schemas.openxmlformats.org/drawingml/2006/main" xmlns:r="http://schemas.openxmlformats.org/officeDocument/2006/relationships" xmlns:p="http://schemas.openxmlformats.org/presentationml/2006/main">
  <p:tag name="NUM" val="3"/>
</p:tagLst>
</file>

<file path=ppt/tags/tag251.xml><?xml version="1.0" encoding="utf-8"?>
<p:tagLst xmlns:a="http://schemas.openxmlformats.org/drawingml/2006/main" xmlns:r="http://schemas.openxmlformats.org/officeDocument/2006/relationships" xmlns:p="http://schemas.openxmlformats.org/presentationml/2006/main">
  <p:tag name="NUM" val="4"/>
</p:tagLst>
</file>

<file path=ppt/tags/tag252.xml><?xml version="1.0" encoding="utf-8"?>
<p:tagLst xmlns:a="http://schemas.openxmlformats.org/drawingml/2006/main" xmlns:r="http://schemas.openxmlformats.org/officeDocument/2006/relationships" xmlns:p="http://schemas.openxmlformats.org/presentationml/2006/main">
  <p:tag name="NUM" val="5"/>
</p:tagLst>
</file>

<file path=ppt/tags/tag253.xml><?xml version="1.0" encoding="utf-8"?>
<p:tagLst xmlns:a="http://schemas.openxmlformats.org/drawingml/2006/main" xmlns:r="http://schemas.openxmlformats.org/officeDocument/2006/relationships" xmlns:p="http://schemas.openxmlformats.org/presentationml/2006/main">
  <p:tag name="NUM" val="6"/>
</p:tagLst>
</file>

<file path=ppt/tags/tag254.xml><?xml version="1.0" encoding="utf-8"?>
<p:tagLst xmlns:a="http://schemas.openxmlformats.org/drawingml/2006/main" xmlns:r="http://schemas.openxmlformats.org/officeDocument/2006/relationships" xmlns:p="http://schemas.openxmlformats.org/presentationml/2006/main">
  <p:tag name="NUM" val="7"/>
</p:tagLst>
</file>

<file path=ppt/tags/tag255.xml><?xml version="1.0" encoding="utf-8"?>
<p:tagLst xmlns:a="http://schemas.openxmlformats.org/drawingml/2006/main" xmlns:r="http://schemas.openxmlformats.org/officeDocument/2006/relationships" xmlns:p="http://schemas.openxmlformats.org/presentationml/2006/main">
  <p:tag name="NUM" val="8"/>
</p:tagLst>
</file>

<file path=ppt/tags/tag256.xml><?xml version="1.0" encoding="utf-8"?>
<p:tagLst xmlns:a="http://schemas.openxmlformats.org/drawingml/2006/main" xmlns:r="http://schemas.openxmlformats.org/officeDocument/2006/relationships" xmlns:p="http://schemas.openxmlformats.org/presentationml/2006/main">
  <p:tag name="NUM" val="9"/>
</p:tagLst>
</file>

<file path=ppt/tags/tag257.xml><?xml version="1.0" encoding="utf-8"?>
<p:tagLst xmlns:a="http://schemas.openxmlformats.org/drawingml/2006/main" xmlns:r="http://schemas.openxmlformats.org/officeDocument/2006/relationships" xmlns:p="http://schemas.openxmlformats.org/presentationml/2006/main">
  <p:tag name="NUM" val="10"/>
</p:tagLst>
</file>

<file path=ppt/tags/tag258.xml><?xml version="1.0" encoding="utf-8"?>
<p:tagLst xmlns:a="http://schemas.openxmlformats.org/drawingml/2006/main" xmlns:r="http://schemas.openxmlformats.org/officeDocument/2006/relationships" xmlns:p="http://schemas.openxmlformats.org/presentationml/2006/main">
  <p:tag name="NUM" val="11"/>
</p:tagLst>
</file>

<file path=ppt/tags/tag259.xml><?xml version="1.0" encoding="utf-8"?>
<p:tagLst xmlns:a="http://schemas.openxmlformats.org/drawingml/2006/main" xmlns:r="http://schemas.openxmlformats.org/officeDocument/2006/relationships" xmlns:p="http://schemas.openxmlformats.org/presentationml/2006/main">
  <p:tag name="NUM" val="12"/>
</p:tagLst>
</file>

<file path=ppt/tags/tag26.xml><?xml version="1.0" encoding="utf-8"?>
<p:tagLst xmlns:a="http://schemas.openxmlformats.org/drawingml/2006/main" xmlns:r="http://schemas.openxmlformats.org/officeDocument/2006/relationships" xmlns:p="http://schemas.openxmlformats.org/presentationml/2006/main">
  <p:tag name="NUM" val="16"/>
</p:tagLst>
</file>

<file path=ppt/tags/tag260.xml><?xml version="1.0" encoding="utf-8"?>
<p:tagLst xmlns:a="http://schemas.openxmlformats.org/drawingml/2006/main" xmlns:r="http://schemas.openxmlformats.org/officeDocument/2006/relationships" xmlns:p="http://schemas.openxmlformats.org/presentationml/2006/main">
  <p:tag name="NUM" val="13"/>
</p:tagLst>
</file>

<file path=ppt/tags/tag261.xml><?xml version="1.0" encoding="utf-8"?>
<p:tagLst xmlns:a="http://schemas.openxmlformats.org/drawingml/2006/main" xmlns:r="http://schemas.openxmlformats.org/officeDocument/2006/relationships" xmlns:p="http://schemas.openxmlformats.org/presentationml/2006/main">
  <p:tag name="NUM" val="14"/>
</p:tagLst>
</file>

<file path=ppt/tags/tag262.xml><?xml version="1.0" encoding="utf-8"?>
<p:tagLst xmlns:a="http://schemas.openxmlformats.org/drawingml/2006/main" xmlns:r="http://schemas.openxmlformats.org/officeDocument/2006/relationships" xmlns:p="http://schemas.openxmlformats.org/presentationml/2006/main">
  <p:tag name="NUM" val="15"/>
</p:tagLst>
</file>

<file path=ppt/tags/tag263.xml><?xml version="1.0" encoding="utf-8"?>
<p:tagLst xmlns:a="http://schemas.openxmlformats.org/drawingml/2006/main" xmlns:r="http://schemas.openxmlformats.org/officeDocument/2006/relationships" xmlns:p="http://schemas.openxmlformats.org/presentationml/2006/main">
  <p:tag name="NUM" val="16"/>
</p:tagLst>
</file>

<file path=ppt/tags/tag264.xml><?xml version="1.0" encoding="utf-8"?>
<p:tagLst xmlns:a="http://schemas.openxmlformats.org/drawingml/2006/main" xmlns:r="http://schemas.openxmlformats.org/officeDocument/2006/relationships" xmlns:p="http://schemas.openxmlformats.org/presentationml/2006/main">
  <p:tag name="NUM" val="17"/>
</p:tagLst>
</file>

<file path=ppt/tags/tag265.xml><?xml version="1.0" encoding="utf-8"?>
<p:tagLst xmlns:a="http://schemas.openxmlformats.org/drawingml/2006/main" xmlns:r="http://schemas.openxmlformats.org/officeDocument/2006/relationships" xmlns:p="http://schemas.openxmlformats.org/presentationml/2006/main">
  <p:tag name="NUM" val="18"/>
</p:tagLst>
</file>

<file path=ppt/tags/tag266.xml><?xml version="1.0" encoding="utf-8"?>
<p:tagLst xmlns:a="http://schemas.openxmlformats.org/drawingml/2006/main" xmlns:r="http://schemas.openxmlformats.org/officeDocument/2006/relationships" xmlns:p="http://schemas.openxmlformats.org/presentationml/2006/main">
  <p:tag name="NUM" val="19"/>
</p:tagLst>
</file>

<file path=ppt/tags/tag267.xml><?xml version="1.0" encoding="utf-8"?>
<p:tagLst xmlns:a="http://schemas.openxmlformats.org/drawingml/2006/main" xmlns:r="http://schemas.openxmlformats.org/officeDocument/2006/relationships" xmlns:p="http://schemas.openxmlformats.org/presentationml/2006/main">
  <p:tag name="NUM" val="20"/>
</p:tagLst>
</file>

<file path=ppt/tags/tag268.xml><?xml version="1.0" encoding="utf-8"?>
<p:tagLst xmlns:a="http://schemas.openxmlformats.org/drawingml/2006/main" xmlns:r="http://schemas.openxmlformats.org/officeDocument/2006/relationships" xmlns:p="http://schemas.openxmlformats.org/presentationml/2006/main">
  <p:tag name="NUM" val="21"/>
</p:tagLst>
</file>

<file path=ppt/tags/tag269.xml><?xml version="1.0" encoding="utf-8"?>
<p:tagLst xmlns:a="http://schemas.openxmlformats.org/drawingml/2006/main" xmlns:r="http://schemas.openxmlformats.org/officeDocument/2006/relationships" xmlns:p="http://schemas.openxmlformats.org/presentationml/2006/main">
  <p:tag name="NUM" val="22"/>
</p:tagLst>
</file>

<file path=ppt/tags/tag27.xml><?xml version="1.0" encoding="utf-8"?>
<p:tagLst xmlns:a="http://schemas.openxmlformats.org/drawingml/2006/main" xmlns:r="http://schemas.openxmlformats.org/officeDocument/2006/relationships" xmlns:p="http://schemas.openxmlformats.org/presentationml/2006/main">
  <p:tag name="NUM" val="17"/>
</p:tagLst>
</file>

<file path=ppt/tags/tag270.xml><?xml version="1.0" encoding="utf-8"?>
<p:tagLst xmlns:a="http://schemas.openxmlformats.org/drawingml/2006/main" xmlns:r="http://schemas.openxmlformats.org/officeDocument/2006/relationships" xmlns:p="http://schemas.openxmlformats.org/presentationml/2006/main">
  <p:tag name="NUM" val="23"/>
</p:tagLst>
</file>

<file path=ppt/tags/tag271.xml><?xml version="1.0" encoding="utf-8"?>
<p:tagLst xmlns:a="http://schemas.openxmlformats.org/drawingml/2006/main" xmlns:r="http://schemas.openxmlformats.org/officeDocument/2006/relationships" xmlns:p="http://schemas.openxmlformats.org/presentationml/2006/main">
  <p:tag name="NUM" val="24"/>
</p:tagLst>
</file>

<file path=ppt/tags/tag272.xml><?xml version="1.0" encoding="utf-8"?>
<p:tagLst xmlns:a="http://schemas.openxmlformats.org/drawingml/2006/main" xmlns:r="http://schemas.openxmlformats.org/officeDocument/2006/relationships" xmlns:p="http://schemas.openxmlformats.org/presentationml/2006/main">
  <p:tag name="NUM" val="25"/>
</p:tagLst>
</file>

<file path=ppt/tags/tag273.xml><?xml version="1.0" encoding="utf-8"?>
<p:tagLst xmlns:a="http://schemas.openxmlformats.org/drawingml/2006/main" xmlns:r="http://schemas.openxmlformats.org/officeDocument/2006/relationships" xmlns:p="http://schemas.openxmlformats.org/presentationml/2006/main">
  <p:tag name="NUM" val="26"/>
</p:tagLst>
</file>

<file path=ppt/tags/tag274.xml><?xml version="1.0" encoding="utf-8"?>
<p:tagLst xmlns:a="http://schemas.openxmlformats.org/drawingml/2006/main" xmlns:r="http://schemas.openxmlformats.org/officeDocument/2006/relationships" xmlns:p="http://schemas.openxmlformats.org/presentationml/2006/main">
  <p:tag name="NUM" val="27"/>
</p:tagLst>
</file>

<file path=ppt/tags/tag275.xml><?xml version="1.0" encoding="utf-8"?>
<p:tagLst xmlns:a="http://schemas.openxmlformats.org/drawingml/2006/main" xmlns:r="http://schemas.openxmlformats.org/officeDocument/2006/relationships" xmlns:p="http://schemas.openxmlformats.org/presentationml/2006/main">
  <p:tag name="NUM" val="1"/>
</p:tagLst>
</file>

<file path=ppt/tags/tag276.xml><?xml version="1.0" encoding="utf-8"?>
<p:tagLst xmlns:a="http://schemas.openxmlformats.org/drawingml/2006/main" xmlns:r="http://schemas.openxmlformats.org/officeDocument/2006/relationships" xmlns:p="http://schemas.openxmlformats.org/presentationml/2006/main">
  <p:tag name="NUM" val="2"/>
</p:tagLst>
</file>

<file path=ppt/tags/tag277.xml><?xml version="1.0" encoding="utf-8"?>
<p:tagLst xmlns:a="http://schemas.openxmlformats.org/drawingml/2006/main" xmlns:r="http://schemas.openxmlformats.org/officeDocument/2006/relationships" xmlns:p="http://schemas.openxmlformats.org/presentationml/2006/main">
  <p:tag name="NUM" val="3"/>
</p:tagLst>
</file>

<file path=ppt/tags/tag278.xml><?xml version="1.0" encoding="utf-8"?>
<p:tagLst xmlns:a="http://schemas.openxmlformats.org/drawingml/2006/main" xmlns:r="http://schemas.openxmlformats.org/officeDocument/2006/relationships" xmlns:p="http://schemas.openxmlformats.org/presentationml/2006/main">
  <p:tag name="NUM" val="4"/>
</p:tagLst>
</file>

<file path=ppt/tags/tag279.xml><?xml version="1.0" encoding="utf-8"?>
<p:tagLst xmlns:a="http://schemas.openxmlformats.org/drawingml/2006/main" xmlns:r="http://schemas.openxmlformats.org/officeDocument/2006/relationships" xmlns:p="http://schemas.openxmlformats.org/presentationml/2006/main">
  <p:tag name="NUM" val="5"/>
</p:tagLst>
</file>

<file path=ppt/tags/tag28.xml><?xml version="1.0" encoding="utf-8"?>
<p:tagLst xmlns:a="http://schemas.openxmlformats.org/drawingml/2006/main" xmlns:r="http://schemas.openxmlformats.org/officeDocument/2006/relationships" xmlns:p="http://schemas.openxmlformats.org/presentationml/2006/main">
  <p:tag name="NUM" val="18"/>
</p:tagLst>
</file>

<file path=ppt/tags/tag280.xml><?xml version="1.0" encoding="utf-8"?>
<p:tagLst xmlns:a="http://schemas.openxmlformats.org/drawingml/2006/main" xmlns:r="http://schemas.openxmlformats.org/officeDocument/2006/relationships" xmlns:p="http://schemas.openxmlformats.org/presentationml/2006/main">
  <p:tag name="NUM" val="6"/>
</p:tagLst>
</file>

<file path=ppt/tags/tag281.xml><?xml version="1.0" encoding="utf-8"?>
<p:tagLst xmlns:a="http://schemas.openxmlformats.org/drawingml/2006/main" xmlns:r="http://schemas.openxmlformats.org/officeDocument/2006/relationships" xmlns:p="http://schemas.openxmlformats.org/presentationml/2006/main">
  <p:tag name="NUM" val="7"/>
</p:tagLst>
</file>

<file path=ppt/tags/tag282.xml><?xml version="1.0" encoding="utf-8"?>
<p:tagLst xmlns:a="http://schemas.openxmlformats.org/drawingml/2006/main" xmlns:r="http://schemas.openxmlformats.org/officeDocument/2006/relationships" xmlns:p="http://schemas.openxmlformats.org/presentationml/2006/main">
  <p:tag name="NUM" val="8"/>
</p:tagLst>
</file>

<file path=ppt/tags/tag283.xml><?xml version="1.0" encoding="utf-8"?>
<p:tagLst xmlns:a="http://schemas.openxmlformats.org/drawingml/2006/main" xmlns:r="http://schemas.openxmlformats.org/officeDocument/2006/relationships" xmlns:p="http://schemas.openxmlformats.org/presentationml/2006/main">
  <p:tag name="NUM" val="9"/>
</p:tagLst>
</file>

<file path=ppt/tags/tag284.xml><?xml version="1.0" encoding="utf-8"?>
<p:tagLst xmlns:a="http://schemas.openxmlformats.org/drawingml/2006/main" xmlns:r="http://schemas.openxmlformats.org/officeDocument/2006/relationships" xmlns:p="http://schemas.openxmlformats.org/presentationml/2006/main">
  <p:tag name="NUM" val="10"/>
</p:tagLst>
</file>

<file path=ppt/tags/tag285.xml><?xml version="1.0" encoding="utf-8"?>
<p:tagLst xmlns:a="http://schemas.openxmlformats.org/drawingml/2006/main" xmlns:r="http://schemas.openxmlformats.org/officeDocument/2006/relationships" xmlns:p="http://schemas.openxmlformats.org/presentationml/2006/main">
  <p:tag name="NUM" val="11"/>
</p:tagLst>
</file>

<file path=ppt/tags/tag286.xml><?xml version="1.0" encoding="utf-8"?>
<p:tagLst xmlns:a="http://schemas.openxmlformats.org/drawingml/2006/main" xmlns:r="http://schemas.openxmlformats.org/officeDocument/2006/relationships" xmlns:p="http://schemas.openxmlformats.org/presentationml/2006/main">
  <p:tag name="NUM" val="12"/>
</p:tagLst>
</file>

<file path=ppt/tags/tag287.xml><?xml version="1.0" encoding="utf-8"?>
<p:tagLst xmlns:a="http://schemas.openxmlformats.org/drawingml/2006/main" xmlns:r="http://schemas.openxmlformats.org/officeDocument/2006/relationships" xmlns:p="http://schemas.openxmlformats.org/presentationml/2006/main">
  <p:tag name="NUM" val="13"/>
</p:tagLst>
</file>

<file path=ppt/tags/tag288.xml><?xml version="1.0" encoding="utf-8"?>
<p:tagLst xmlns:a="http://schemas.openxmlformats.org/drawingml/2006/main" xmlns:r="http://schemas.openxmlformats.org/officeDocument/2006/relationships" xmlns:p="http://schemas.openxmlformats.org/presentationml/2006/main">
  <p:tag name="NUM" val="14"/>
</p:tagLst>
</file>

<file path=ppt/tags/tag289.xml><?xml version="1.0" encoding="utf-8"?>
<p:tagLst xmlns:a="http://schemas.openxmlformats.org/drawingml/2006/main" xmlns:r="http://schemas.openxmlformats.org/officeDocument/2006/relationships" xmlns:p="http://schemas.openxmlformats.org/presentationml/2006/main">
  <p:tag name="NUM" val="15"/>
</p:tagLst>
</file>

<file path=ppt/tags/tag29.xml><?xml version="1.0" encoding="utf-8"?>
<p:tagLst xmlns:a="http://schemas.openxmlformats.org/drawingml/2006/main" xmlns:r="http://schemas.openxmlformats.org/officeDocument/2006/relationships" xmlns:p="http://schemas.openxmlformats.org/presentationml/2006/main">
  <p:tag name="NUM" val="19"/>
</p:tagLst>
</file>

<file path=ppt/tags/tag290.xml><?xml version="1.0" encoding="utf-8"?>
<p:tagLst xmlns:a="http://schemas.openxmlformats.org/drawingml/2006/main" xmlns:r="http://schemas.openxmlformats.org/officeDocument/2006/relationships" xmlns:p="http://schemas.openxmlformats.org/presentationml/2006/main">
  <p:tag name="NUM" val="16"/>
</p:tagLst>
</file>

<file path=ppt/tags/tag291.xml><?xml version="1.0" encoding="utf-8"?>
<p:tagLst xmlns:a="http://schemas.openxmlformats.org/drawingml/2006/main" xmlns:r="http://schemas.openxmlformats.org/officeDocument/2006/relationships" xmlns:p="http://schemas.openxmlformats.org/presentationml/2006/main">
  <p:tag name="NUM" val="17"/>
</p:tagLst>
</file>

<file path=ppt/tags/tag292.xml><?xml version="1.0" encoding="utf-8"?>
<p:tagLst xmlns:a="http://schemas.openxmlformats.org/drawingml/2006/main" xmlns:r="http://schemas.openxmlformats.org/officeDocument/2006/relationships" xmlns:p="http://schemas.openxmlformats.org/presentationml/2006/main">
  <p:tag name="NUM" val="18"/>
</p:tagLst>
</file>

<file path=ppt/tags/tag293.xml><?xml version="1.0" encoding="utf-8"?>
<p:tagLst xmlns:a="http://schemas.openxmlformats.org/drawingml/2006/main" xmlns:r="http://schemas.openxmlformats.org/officeDocument/2006/relationships" xmlns:p="http://schemas.openxmlformats.org/presentationml/2006/main">
  <p:tag name="NUM" val="19"/>
</p:tagLst>
</file>

<file path=ppt/tags/tag294.xml><?xml version="1.0" encoding="utf-8"?>
<p:tagLst xmlns:a="http://schemas.openxmlformats.org/drawingml/2006/main" xmlns:r="http://schemas.openxmlformats.org/officeDocument/2006/relationships" xmlns:p="http://schemas.openxmlformats.org/presentationml/2006/main">
  <p:tag name="NUM" val="20"/>
</p:tagLst>
</file>

<file path=ppt/tags/tag295.xml><?xml version="1.0" encoding="utf-8"?>
<p:tagLst xmlns:a="http://schemas.openxmlformats.org/drawingml/2006/main" xmlns:r="http://schemas.openxmlformats.org/officeDocument/2006/relationships" xmlns:p="http://schemas.openxmlformats.org/presentationml/2006/main">
  <p:tag name="NUM" val="21"/>
</p:tagLst>
</file>

<file path=ppt/tags/tag296.xml><?xml version="1.0" encoding="utf-8"?>
<p:tagLst xmlns:a="http://schemas.openxmlformats.org/drawingml/2006/main" xmlns:r="http://schemas.openxmlformats.org/officeDocument/2006/relationships" xmlns:p="http://schemas.openxmlformats.org/presentationml/2006/main">
  <p:tag name="NUM" val="22"/>
</p:tagLst>
</file>

<file path=ppt/tags/tag297.xml><?xml version="1.0" encoding="utf-8"?>
<p:tagLst xmlns:a="http://schemas.openxmlformats.org/drawingml/2006/main" xmlns:r="http://schemas.openxmlformats.org/officeDocument/2006/relationships" xmlns:p="http://schemas.openxmlformats.org/presentationml/2006/main">
  <p:tag name="NUM" val="23"/>
</p:tagLst>
</file>

<file path=ppt/tags/tag298.xml><?xml version="1.0" encoding="utf-8"?>
<p:tagLst xmlns:a="http://schemas.openxmlformats.org/drawingml/2006/main" xmlns:r="http://schemas.openxmlformats.org/officeDocument/2006/relationships" xmlns:p="http://schemas.openxmlformats.org/presentationml/2006/main">
  <p:tag name="NUM" val="24"/>
</p:tagLst>
</file>

<file path=ppt/tags/tag299.xml><?xml version="1.0" encoding="utf-8"?>
<p:tagLst xmlns:a="http://schemas.openxmlformats.org/drawingml/2006/main" xmlns:r="http://schemas.openxmlformats.org/officeDocument/2006/relationships" xmlns:p="http://schemas.openxmlformats.org/presentationml/2006/main">
  <p:tag name="NUM" val="2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20"/>
</p:tagLst>
</file>

<file path=ppt/tags/tag300.xml><?xml version="1.0" encoding="utf-8"?>
<p:tagLst xmlns:a="http://schemas.openxmlformats.org/drawingml/2006/main" xmlns:r="http://schemas.openxmlformats.org/officeDocument/2006/relationships" xmlns:p="http://schemas.openxmlformats.org/presentationml/2006/main">
  <p:tag name="NUM" val="26"/>
</p:tagLst>
</file>

<file path=ppt/tags/tag301.xml><?xml version="1.0" encoding="utf-8"?>
<p:tagLst xmlns:a="http://schemas.openxmlformats.org/drawingml/2006/main" xmlns:r="http://schemas.openxmlformats.org/officeDocument/2006/relationships" xmlns:p="http://schemas.openxmlformats.org/presentationml/2006/main">
  <p:tag name="NUM" val="27"/>
</p:tagLst>
</file>

<file path=ppt/tags/tag302.xml><?xml version="1.0" encoding="utf-8"?>
<p:tagLst xmlns:a="http://schemas.openxmlformats.org/drawingml/2006/main" xmlns:r="http://schemas.openxmlformats.org/officeDocument/2006/relationships" xmlns:p="http://schemas.openxmlformats.org/presentationml/2006/main">
  <p:tag name="NUM" val="28"/>
</p:tagLst>
</file>

<file path=ppt/tags/tag303.xml><?xml version="1.0" encoding="utf-8"?>
<p:tagLst xmlns:a="http://schemas.openxmlformats.org/drawingml/2006/main" xmlns:r="http://schemas.openxmlformats.org/officeDocument/2006/relationships" xmlns:p="http://schemas.openxmlformats.org/presentationml/2006/main">
  <p:tag name="NUM" val="29"/>
</p:tagLst>
</file>

<file path=ppt/tags/tag304.xml><?xml version="1.0" encoding="utf-8"?>
<p:tagLst xmlns:a="http://schemas.openxmlformats.org/drawingml/2006/main" xmlns:r="http://schemas.openxmlformats.org/officeDocument/2006/relationships" xmlns:p="http://schemas.openxmlformats.org/presentationml/2006/main">
  <p:tag name="NUM" val="30"/>
</p:tagLst>
</file>

<file path=ppt/tags/tag305.xml><?xml version="1.0" encoding="utf-8"?>
<p:tagLst xmlns:a="http://schemas.openxmlformats.org/drawingml/2006/main" xmlns:r="http://schemas.openxmlformats.org/officeDocument/2006/relationships" xmlns:p="http://schemas.openxmlformats.org/presentationml/2006/main">
  <p:tag name="NUM" val="31"/>
</p:tagLst>
</file>

<file path=ppt/tags/tag306.xml><?xml version="1.0" encoding="utf-8"?>
<p:tagLst xmlns:a="http://schemas.openxmlformats.org/drawingml/2006/main" xmlns:r="http://schemas.openxmlformats.org/officeDocument/2006/relationships" xmlns:p="http://schemas.openxmlformats.org/presentationml/2006/main">
  <p:tag name="NUM" val="32"/>
</p:tagLst>
</file>

<file path=ppt/tags/tag307.xml><?xml version="1.0" encoding="utf-8"?>
<p:tagLst xmlns:a="http://schemas.openxmlformats.org/drawingml/2006/main" xmlns:r="http://schemas.openxmlformats.org/officeDocument/2006/relationships" xmlns:p="http://schemas.openxmlformats.org/presentationml/2006/main">
  <p:tag name="NUM" val="33"/>
</p:tagLst>
</file>

<file path=ppt/tags/tag308.xml><?xml version="1.0" encoding="utf-8"?>
<p:tagLst xmlns:a="http://schemas.openxmlformats.org/drawingml/2006/main" xmlns:r="http://schemas.openxmlformats.org/officeDocument/2006/relationships" xmlns:p="http://schemas.openxmlformats.org/presentationml/2006/main">
  <p:tag name="NUM" val="34"/>
</p:tagLst>
</file>

<file path=ppt/tags/tag309.xml><?xml version="1.0" encoding="utf-8"?>
<p:tagLst xmlns:a="http://schemas.openxmlformats.org/drawingml/2006/main" xmlns:r="http://schemas.openxmlformats.org/officeDocument/2006/relationships" xmlns:p="http://schemas.openxmlformats.org/presentationml/2006/main">
  <p:tag name="NUM" val="35"/>
</p:tagLst>
</file>

<file path=ppt/tags/tag31.xml><?xml version="1.0" encoding="utf-8"?>
<p:tagLst xmlns:a="http://schemas.openxmlformats.org/drawingml/2006/main" xmlns:r="http://schemas.openxmlformats.org/officeDocument/2006/relationships" xmlns:p="http://schemas.openxmlformats.org/presentationml/2006/main">
  <p:tag name="NUM" val="21"/>
</p:tagLst>
</file>

<file path=ppt/tags/tag310.xml><?xml version="1.0" encoding="utf-8"?>
<p:tagLst xmlns:a="http://schemas.openxmlformats.org/drawingml/2006/main" xmlns:r="http://schemas.openxmlformats.org/officeDocument/2006/relationships" xmlns:p="http://schemas.openxmlformats.org/presentationml/2006/main">
  <p:tag name="NUM" val="36"/>
</p:tagLst>
</file>

<file path=ppt/tags/tag311.xml><?xml version="1.0" encoding="utf-8"?>
<p:tagLst xmlns:a="http://schemas.openxmlformats.org/drawingml/2006/main" xmlns:r="http://schemas.openxmlformats.org/officeDocument/2006/relationships" xmlns:p="http://schemas.openxmlformats.org/presentationml/2006/main">
  <p:tag name="NUM" val="37"/>
</p:tagLst>
</file>

<file path=ppt/tags/tag312.xml><?xml version="1.0" encoding="utf-8"?>
<p:tagLst xmlns:a="http://schemas.openxmlformats.org/drawingml/2006/main" xmlns:r="http://schemas.openxmlformats.org/officeDocument/2006/relationships" xmlns:p="http://schemas.openxmlformats.org/presentationml/2006/main">
  <p:tag name="NUM" val="38"/>
</p:tagLst>
</file>

<file path=ppt/tags/tag313.xml><?xml version="1.0" encoding="utf-8"?>
<p:tagLst xmlns:a="http://schemas.openxmlformats.org/drawingml/2006/main" xmlns:r="http://schemas.openxmlformats.org/officeDocument/2006/relationships" xmlns:p="http://schemas.openxmlformats.org/presentationml/2006/main">
  <p:tag name="NUM" val="39"/>
</p:tagLst>
</file>

<file path=ppt/tags/tag314.xml><?xml version="1.0" encoding="utf-8"?>
<p:tagLst xmlns:a="http://schemas.openxmlformats.org/drawingml/2006/main" xmlns:r="http://schemas.openxmlformats.org/officeDocument/2006/relationships" xmlns:p="http://schemas.openxmlformats.org/presentationml/2006/main">
  <p:tag name="NUM" val="40"/>
</p:tagLst>
</file>

<file path=ppt/tags/tag315.xml><?xml version="1.0" encoding="utf-8"?>
<p:tagLst xmlns:a="http://schemas.openxmlformats.org/drawingml/2006/main" xmlns:r="http://schemas.openxmlformats.org/officeDocument/2006/relationships" xmlns:p="http://schemas.openxmlformats.org/presentationml/2006/main">
  <p:tag name="NUM" val="41"/>
</p:tagLst>
</file>

<file path=ppt/tags/tag316.xml><?xml version="1.0" encoding="utf-8"?>
<p:tagLst xmlns:a="http://schemas.openxmlformats.org/drawingml/2006/main" xmlns:r="http://schemas.openxmlformats.org/officeDocument/2006/relationships" xmlns:p="http://schemas.openxmlformats.org/presentationml/2006/main">
  <p:tag name="NUM" val="42"/>
</p:tagLst>
</file>

<file path=ppt/tags/tag317.xml><?xml version="1.0" encoding="utf-8"?>
<p:tagLst xmlns:a="http://schemas.openxmlformats.org/drawingml/2006/main" xmlns:r="http://schemas.openxmlformats.org/officeDocument/2006/relationships" xmlns:p="http://schemas.openxmlformats.org/presentationml/2006/main">
  <p:tag name="NUM" val="43"/>
</p:tagLst>
</file>

<file path=ppt/tags/tag318.xml><?xml version="1.0" encoding="utf-8"?>
<p:tagLst xmlns:a="http://schemas.openxmlformats.org/drawingml/2006/main" xmlns:r="http://schemas.openxmlformats.org/officeDocument/2006/relationships" xmlns:p="http://schemas.openxmlformats.org/presentationml/2006/main">
  <p:tag name="NUM" val="44"/>
</p:tagLst>
</file>

<file path=ppt/tags/tag319.xml><?xml version="1.0" encoding="utf-8"?>
<p:tagLst xmlns:a="http://schemas.openxmlformats.org/drawingml/2006/main" xmlns:r="http://schemas.openxmlformats.org/officeDocument/2006/relationships" xmlns:p="http://schemas.openxmlformats.org/presentationml/2006/main">
  <p:tag name="NUM" val="45"/>
</p:tagLst>
</file>

<file path=ppt/tags/tag32.xml><?xml version="1.0" encoding="utf-8"?>
<p:tagLst xmlns:a="http://schemas.openxmlformats.org/drawingml/2006/main" xmlns:r="http://schemas.openxmlformats.org/officeDocument/2006/relationships" xmlns:p="http://schemas.openxmlformats.org/presentationml/2006/main">
  <p:tag name="NUM" val="22"/>
</p:tagLst>
</file>

<file path=ppt/tags/tag320.xml><?xml version="1.0" encoding="utf-8"?>
<p:tagLst xmlns:a="http://schemas.openxmlformats.org/drawingml/2006/main" xmlns:r="http://schemas.openxmlformats.org/officeDocument/2006/relationships" xmlns:p="http://schemas.openxmlformats.org/presentationml/2006/main">
  <p:tag name="NUM" val="46"/>
</p:tagLst>
</file>

<file path=ppt/tags/tag321.xml><?xml version="1.0" encoding="utf-8"?>
<p:tagLst xmlns:a="http://schemas.openxmlformats.org/drawingml/2006/main" xmlns:r="http://schemas.openxmlformats.org/officeDocument/2006/relationships" xmlns:p="http://schemas.openxmlformats.org/presentationml/2006/main">
  <p:tag name="NUM" val="1"/>
</p:tagLst>
</file>

<file path=ppt/tags/tag322.xml><?xml version="1.0" encoding="utf-8"?>
<p:tagLst xmlns:a="http://schemas.openxmlformats.org/drawingml/2006/main" xmlns:r="http://schemas.openxmlformats.org/officeDocument/2006/relationships" xmlns:p="http://schemas.openxmlformats.org/presentationml/2006/main">
  <p:tag name="NUM" val="2"/>
</p:tagLst>
</file>

<file path=ppt/tags/tag323.xml><?xml version="1.0" encoding="utf-8"?>
<p:tagLst xmlns:a="http://schemas.openxmlformats.org/drawingml/2006/main" xmlns:r="http://schemas.openxmlformats.org/officeDocument/2006/relationships" xmlns:p="http://schemas.openxmlformats.org/presentationml/2006/main">
  <p:tag name="NUM" val="1"/>
</p:tagLst>
</file>

<file path=ppt/tags/tag324.xml><?xml version="1.0" encoding="utf-8"?>
<p:tagLst xmlns:a="http://schemas.openxmlformats.org/drawingml/2006/main" xmlns:r="http://schemas.openxmlformats.org/officeDocument/2006/relationships" xmlns:p="http://schemas.openxmlformats.org/presentationml/2006/main">
  <p:tag name="NUM" val="2"/>
</p:tagLst>
</file>

<file path=ppt/tags/tag325.xml><?xml version="1.0" encoding="utf-8"?>
<p:tagLst xmlns:a="http://schemas.openxmlformats.org/drawingml/2006/main" xmlns:r="http://schemas.openxmlformats.org/officeDocument/2006/relationships" xmlns:p="http://schemas.openxmlformats.org/presentationml/2006/main">
  <p:tag name="NUM" val="3"/>
</p:tagLst>
</file>

<file path=ppt/tags/tag326.xml><?xml version="1.0" encoding="utf-8"?>
<p:tagLst xmlns:a="http://schemas.openxmlformats.org/drawingml/2006/main" xmlns:r="http://schemas.openxmlformats.org/officeDocument/2006/relationships" xmlns:p="http://schemas.openxmlformats.org/presentationml/2006/main">
  <p:tag name="NUM" val="4"/>
</p:tagLst>
</file>

<file path=ppt/tags/tag327.xml><?xml version="1.0" encoding="utf-8"?>
<p:tagLst xmlns:a="http://schemas.openxmlformats.org/drawingml/2006/main" xmlns:r="http://schemas.openxmlformats.org/officeDocument/2006/relationships" xmlns:p="http://schemas.openxmlformats.org/presentationml/2006/main">
  <p:tag name="NUM" val="5"/>
</p:tagLst>
</file>

<file path=ppt/tags/tag328.xml><?xml version="1.0" encoding="utf-8"?>
<p:tagLst xmlns:a="http://schemas.openxmlformats.org/drawingml/2006/main" xmlns:r="http://schemas.openxmlformats.org/officeDocument/2006/relationships" xmlns:p="http://schemas.openxmlformats.org/presentationml/2006/main">
  <p:tag name="NUM" val="6"/>
</p:tagLst>
</file>

<file path=ppt/tags/tag329.xml><?xml version="1.0" encoding="utf-8"?>
<p:tagLst xmlns:a="http://schemas.openxmlformats.org/drawingml/2006/main" xmlns:r="http://schemas.openxmlformats.org/officeDocument/2006/relationships" xmlns:p="http://schemas.openxmlformats.org/presentationml/2006/main">
  <p:tag name="NUM" val="7"/>
</p:tagLst>
</file>

<file path=ppt/tags/tag33.xml><?xml version="1.0" encoding="utf-8"?>
<p:tagLst xmlns:a="http://schemas.openxmlformats.org/drawingml/2006/main" xmlns:r="http://schemas.openxmlformats.org/officeDocument/2006/relationships" xmlns:p="http://schemas.openxmlformats.org/presentationml/2006/main">
  <p:tag name="NUM" val="23"/>
</p:tagLst>
</file>

<file path=ppt/tags/tag330.xml><?xml version="1.0" encoding="utf-8"?>
<p:tagLst xmlns:a="http://schemas.openxmlformats.org/drawingml/2006/main" xmlns:r="http://schemas.openxmlformats.org/officeDocument/2006/relationships" xmlns:p="http://schemas.openxmlformats.org/presentationml/2006/main">
  <p:tag name="NUM" val="8"/>
</p:tagLst>
</file>

<file path=ppt/tags/tag331.xml><?xml version="1.0" encoding="utf-8"?>
<p:tagLst xmlns:a="http://schemas.openxmlformats.org/drawingml/2006/main" xmlns:r="http://schemas.openxmlformats.org/officeDocument/2006/relationships" xmlns:p="http://schemas.openxmlformats.org/presentationml/2006/main">
  <p:tag name="NUM" val="9"/>
</p:tagLst>
</file>

<file path=ppt/tags/tag332.xml><?xml version="1.0" encoding="utf-8"?>
<p:tagLst xmlns:a="http://schemas.openxmlformats.org/drawingml/2006/main" xmlns:r="http://schemas.openxmlformats.org/officeDocument/2006/relationships" xmlns:p="http://schemas.openxmlformats.org/presentationml/2006/main">
  <p:tag name="NUM" val="10"/>
</p:tagLst>
</file>

<file path=ppt/tags/tag333.xml><?xml version="1.0" encoding="utf-8"?>
<p:tagLst xmlns:a="http://schemas.openxmlformats.org/drawingml/2006/main" xmlns:r="http://schemas.openxmlformats.org/officeDocument/2006/relationships" xmlns:p="http://schemas.openxmlformats.org/presentationml/2006/main">
  <p:tag name="NUM" val="11"/>
</p:tagLst>
</file>

<file path=ppt/tags/tag334.xml><?xml version="1.0" encoding="utf-8"?>
<p:tagLst xmlns:a="http://schemas.openxmlformats.org/drawingml/2006/main" xmlns:r="http://schemas.openxmlformats.org/officeDocument/2006/relationships" xmlns:p="http://schemas.openxmlformats.org/presentationml/2006/main">
  <p:tag name="NUM" val="12"/>
</p:tagLst>
</file>

<file path=ppt/tags/tag335.xml><?xml version="1.0" encoding="utf-8"?>
<p:tagLst xmlns:a="http://schemas.openxmlformats.org/drawingml/2006/main" xmlns:r="http://schemas.openxmlformats.org/officeDocument/2006/relationships" xmlns:p="http://schemas.openxmlformats.org/presentationml/2006/main">
  <p:tag name="NUM" val="13"/>
</p:tagLst>
</file>

<file path=ppt/tags/tag336.xml><?xml version="1.0" encoding="utf-8"?>
<p:tagLst xmlns:a="http://schemas.openxmlformats.org/drawingml/2006/main" xmlns:r="http://schemas.openxmlformats.org/officeDocument/2006/relationships" xmlns:p="http://schemas.openxmlformats.org/presentationml/2006/main">
  <p:tag name="NUM" val="1"/>
</p:tagLst>
</file>

<file path=ppt/tags/tag337.xml><?xml version="1.0" encoding="utf-8"?>
<p:tagLst xmlns:a="http://schemas.openxmlformats.org/drawingml/2006/main" xmlns:r="http://schemas.openxmlformats.org/officeDocument/2006/relationships" xmlns:p="http://schemas.openxmlformats.org/presentationml/2006/main">
  <p:tag name="NUM" val="2"/>
</p:tagLst>
</file>

<file path=ppt/tags/tag338.xml><?xml version="1.0" encoding="utf-8"?>
<p:tagLst xmlns:a="http://schemas.openxmlformats.org/drawingml/2006/main" xmlns:r="http://schemas.openxmlformats.org/officeDocument/2006/relationships" xmlns:p="http://schemas.openxmlformats.org/presentationml/2006/main">
  <p:tag name="NUM" val="3"/>
</p:tagLst>
</file>

<file path=ppt/tags/tag339.xml><?xml version="1.0" encoding="utf-8"?>
<p:tagLst xmlns:a="http://schemas.openxmlformats.org/drawingml/2006/main" xmlns:r="http://schemas.openxmlformats.org/officeDocument/2006/relationships" xmlns:p="http://schemas.openxmlformats.org/presentationml/2006/main">
  <p:tag name="NUM" val="4"/>
</p:tagLst>
</file>

<file path=ppt/tags/tag34.xml><?xml version="1.0" encoding="utf-8"?>
<p:tagLst xmlns:a="http://schemas.openxmlformats.org/drawingml/2006/main" xmlns:r="http://schemas.openxmlformats.org/officeDocument/2006/relationships" xmlns:p="http://schemas.openxmlformats.org/presentationml/2006/main">
  <p:tag name="NUM" val="24"/>
</p:tagLst>
</file>

<file path=ppt/tags/tag340.xml><?xml version="1.0" encoding="utf-8"?>
<p:tagLst xmlns:a="http://schemas.openxmlformats.org/drawingml/2006/main" xmlns:r="http://schemas.openxmlformats.org/officeDocument/2006/relationships" xmlns:p="http://schemas.openxmlformats.org/presentationml/2006/main">
  <p:tag name="NUM" val="5"/>
</p:tagLst>
</file>

<file path=ppt/tags/tag341.xml><?xml version="1.0" encoding="utf-8"?>
<p:tagLst xmlns:a="http://schemas.openxmlformats.org/drawingml/2006/main" xmlns:r="http://schemas.openxmlformats.org/officeDocument/2006/relationships" xmlns:p="http://schemas.openxmlformats.org/presentationml/2006/main">
  <p:tag name="NUM" val="6"/>
</p:tagLst>
</file>

<file path=ppt/tags/tag342.xml><?xml version="1.0" encoding="utf-8"?>
<p:tagLst xmlns:a="http://schemas.openxmlformats.org/drawingml/2006/main" xmlns:r="http://schemas.openxmlformats.org/officeDocument/2006/relationships" xmlns:p="http://schemas.openxmlformats.org/presentationml/2006/main">
  <p:tag name="NUM" val="7"/>
</p:tagLst>
</file>

<file path=ppt/tags/tag343.xml><?xml version="1.0" encoding="utf-8"?>
<p:tagLst xmlns:a="http://schemas.openxmlformats.org/drawingml/2006/main" xmlns:r="http://schemas.openxmlformats.org/officeDocument/2006/relationships" xmlns:p="http://schemas.openxmlformats.org/presentationml/2006/main">
  <p:tag name="NUM" val="8"/>
</p:tagLst>
</file>

<file path=ppt/tags/tag344.xml><?xml version="1.0" encoding="utf-8"?>
<p:tagLst xmlns:a="http://schemas.openxmlformats.org/drawingml/2006/main" xmlns:r="http://schemas.openxmlformats.org/officeDocument/2006/relationships" xmlns:p="http://schemas.openxmlformats.org/presentationml/2006/main">
  <p:tag name="NUM" val="9"/>
</p:tagLst>
</file>

<file path=ppt/tags/tag345.xml><?xml version="1.0" encoding="utf-8"?>
<p:tagLst xmlns:a="http://schemas.openxmlformats.org/drawingml/2006/main" xmlns:r="http://schemas.openxmlformats.org/officeDocument/2006/relationships" xmlns:p="http://schemas.openxmlformats.org/presentationml/2006/main">
  <p:tag name="NUM" val="10"/>
</p:tagLst>
</file>

<file path=ppt/tags/tag346.xml><?xml version="1.0" encoding="utf-8"?>
<p:tagLst xmlns:a="http://schemas.openxmlformats.org/drawingml/2006/main" xmlns:r="http://schemas.openxmlformats.org/officeDocument/2006/relationships" xmlns:p="http://schemas.openxmlformats.org/presentationml/2006/main">
  <p:tag name="NUM" val="11"/>
</p:tagLst>
</file>

<file path=ppt/tags/tag347.xml><?xml version="1.0" encoding="utf-8"?>
<p:tagLst xmlns:a="http://schemas.openxmlformats.org/drawingml/2006/main" xmlns:r="http://schemas.openxmlformats.org/officeDocument/2006/relationships" xmlns:p="http://schemas.openxmlformats.org/presentationml/2006/main">
  <p:tag name="NUM" val="12"/>
</p:tagLst>
</file>

<file path=ppt/tags/tag348.xml><?xml version="1.0" encoding="utf-8"?>
<p:tagLst xmlns:a="http://schemas.openxmlformats.org/drawingml/2006/main" xmlns:r="http://schemas.openxmlformats.org/officeDocument/2006/relationships" xmlns:p="http://schemas.openxmlformats.org/presentationml/2006/main">
  <p:tag name="NUM" val="13"/>
</p:tagLst>
</file>

<file path=ppt/tags/tag349.xml><?xml version="1.0" encoding="utf-8"?>
<p:tagLst xmlns:a="http://schemas.openxmlformats.org/drawingml/2006/main" xmlns:r="http://schemas.openxmlformats.org/officeDocument/2006/relationships" xmlns:p="http://schemas.openxmlformats.org/presentationml/2006/main">
  <p:tag name="NUM" val="14"/>
</p:tagLst>
</file>

<file path=ppt/tags/tag35.xml><?xml version="1.0" encoding="utf-8"?>
<p:tagLst xmlns:a="http://schemas.openxmlformats.org/drawingml/2006/main" xmlns:r="http://schemas.openxmlformats.org/officeDocument/2006/relationships" xmlns:p="http://schemas.openxmlformats.org/presentationml/2006/main">
  <p:tag name="NUM" val="25"/>
</p:tagLst>
</file>

<file path=ppt/tags/tag350.xml><?xml version="1.0" encoding="utf-8"?>
<p:tagLst xmlns:a="http://schemas.openxmlformats.org/drawingml/2006/main" xmlns:r="http://schemas.openxmlformats.org/officeDocument/2006/relationships" xmlns:p="http://schemas.openxmlformats.org/presentationml/2006/main">
  <p:tag name="NUM" val="15"/>
</p:tagLst>
</file>

<file path=ppt/tags/tag351.xml><?xml version="1.0" encoding="utf-8"?>
<p:tagLst xmlns:a="http://schemas.openxmlformats.org/drawingml/2006/main" xmlns:r="http://schemas.openxmlformats.org/officeDocument/2006/relationships" xmlns:p="http://schemas.openxmlformats.org/presentationml/2006/main">
  <p:tag name="NUM" val="16"/>
</p:tagLst>
</file>

<file path=ppt/tags/tag352.xml><?xml version="1.0" encoding="utf-8"?>
<p:tagLst xmlns:a="http://schemas.openxmlformats.org/drawingml/2006/main" xmlns:r="http://schemas.openxmlformats.org/officeDocument/2006/relationships" xmlns:p="http://schemas.openxmlformats.org/presentationml/2006/main">
  <p:tag name="NUM" val="17"/>
</p:tagLst>
</file>

<file path=ppt/tags/tag353.xml><?xml version="1.0" encoding="utf-8"?>
<p:tagLst xmlns:a="http://schemas.openxmlformats.org/drawingml/2006/main" xmlns:r="http://schemas.openxmlformats.org/officeDocument/2006/relationships" xmlns:p="http://schemas.openxmlformats.org/presentationml/2006/main">
  <p:tag name="NUM" val="18"/>
</p:tagLst>
</file>

<file path=ppt/tags/tag354.xml><?xml version="1.0" encoding="utf-8"?>
<p:tagLst xmlns:a="http://schemas.openxmlformats.org/drawingml/2006/main" xmlns:r="http://schemas.openxmlformats.org/officeDocument/2006/relationships" xmlns:p="http://schemas.openxmlformats.org/presentationml/2006/main">
  <p:tag name="NUM" val="19"/>
</p:tagLst>
</file>

<file path=ppt/tags/tag355.xml><?xml version="1.0" encoding="utf-8"?>
<p:tagLst xmlns:a="http://schemas.openxmlformats.org/drawingml/2006/main" xmlns:r="http://schemas.openxmlformats.org/officeDocument/2006/relationships" xmlns:p="http://schemas.openxmlformats.org/presentationml/2006/main">
  <p:tag name="NUM" val="20"/>
</p:tagLst>
</file>

<file path=ppt/tags/tag356.xml><?xml version="1.0" encoding="utf-8"?>
<p:tagLst xmlns:a="http://schemas.openxmlformats.org/drawingml/2006/main" xmlns:r="http://schemas.openxmlformats.org/officeDocument/2006/relationships" xmlns:p="http://schemas.openxmlformats.org/presentationml/2006/main">
  <p:tag name="NUM" val="21"/>
</p:tagLst>
</file>

<file path=ppt/tags/tag357.xml><?xml version="1.0" encoding="utf-8"?>
<p:tagLst xmlns:a="http://schemas.openxmlformats.org/drawingml/2006/main" xmlns:r="http://schemas.openxmlformats.org/officeDocument/2006/relationships" xmlns:p="http://schemas.openxmlformats.org/presentationml/2006/main">
  <p:tag name="NUM" val="22"/>
</p:tagLst>
</file>

<file path=ppt/tags/tag358.xml><?xml version="1.0" encoding="utf-8"?>
<p:tagLst xmlns:a="http://schemas.openxmlformats.org/drawingml/2006/main" xmlns:r="http://schemas.openxmlformats.org/officeDocument/2006/relationships" xmlns:p="http://schemas.openxmlformats.org/presentationml/2006/main">
  <p:tag name="NUM" val="23"/>
</p:tagLst>
</file>

<file path=ppt/tags/tag359.xml><?xml version="1.0" encoding="utf-8"?>
<p:tagLst xmlns:a="http://schemas.openxmlformats.org/drawingml/2006/main" xmlns:r="http://schemas.openxmlformats.org/officeDocument/2006/relationships" xmlns:p="http://schemas.openxmlformats.org/presentationml/2006/main">
  <p:tag name="NUM" val="24"/>
</p:tagLst>
</file>

<file path=ppt/tags/tag36.xml><?xml version="1.0" encoding="utf-8"?>
<p:tagLst xmlns:a="http://schemas.openxmlformats.org/drawingml/2006/main" xmlns:r="http://schemas.openxmlformats.org/officeDocument/2006/relationships" xmlns:p="http://schemas.openxmlformats.org/presentationml/2006/main">
  <p:tag name="NUM" val="26"/>
</p:tagLst>
</file>

<file path=ppt/tags/tag360.xml><?xml version="1.0" encoding="utf-8"?>
<p:tagLst xmlns:a="http://schemas.openxmlformats.org/drawingml/2006/main" xmlns:r="http://schemas.openxmlformats.org/officeDocument/2006/relationships" xmlns:p="http://schemas.openxmlformats.org/presentationml/2006/main">
  <p:tag name="NUM" val="25"/>
</p:tagLst>
</file>

<file path=ppt/tags/tag361.xml><?xml version="1.0" encoding="utf-8"?>
<p:tagLst xmlns:a="http://schemas.openxmlformats.org/drawingml/2006/main" xmlns:r="http://schemas.openxmlformats.org/officeDocument/2006/relationships" xmlns:p="http://schemas.openxmlformats.org/presentationml/2006/main">
  <p:tag name="NUM" val="26"/>
</p:tagLst>
</file>

<file path=ppt/tags/tag362.xml><?xml version="1.0" encoding="utf-8"?>
<p:tagLst xmlns:a="http://schemas.openxmlformats.org/drawingml/2006/main" xmlns:r="http://schemas.openxmlformats.org/officeDocument/2006/relationships" xmlns:p="http://schemas.openxmlformats.org/presentationml/2006/main">
  <p:tag name="NUM" val="27"/>
</p:tagLst>
</file>

<file path=ppt/tags/tag363.xml><?xml version="1.0" encoding="utf-8"?>
<p:tagLst xmlns:a="http://schemas.openxmlformats.org/drawingml/2006/main" xmlns:r="http://schemas.openxmlformats.org/officeDocument/2006/relationships" xmlns:p="http://schemas.openxmlformats.org/presentationml/2006/main">
  <p:tag name="NUM" val="28"/>
</p:tagLst>
</file>

<file path=ppt/tags/tag364.xml><?xml version="1.0" encoding="utf-8"?>
<p:tagLst xmlns:a="http://schemas.openxmlformats.org/drawingml/2006/main" xmlns:r="http://schemas.openxmlformats.org/officeDocument/2006/relationships" xmlns:p="http://schemas.openxmlformats.org/presentationml/2006/main">
  <p:tag name="NUM" val="29"/>
</p:tagLst>
</file>

<file path=ppt/tags/tag365.xml><?xml version="1.0" encoding="utf-8"?>
<p:tagLst xmlns:a="http://schemas.openxmlformats.org/drawingml/2006/main" xmlns:r="http://schemas.openxmlformats.org/officeDocument/2006/relationships" xmlns:p="http://schemas.openxmlformats.org/presentationml/2006/main">
  <p:tag name="NUM" val="30"/>
</p:tagLst>
</file>

<file path=ppt/tags/tag366.xml><?xml version="1.0" encoding="utf-8"?>
<p:tagLst xmlns:a="http://schemas.openxmlformats.org/drawingml/2006/main" xmlns:r="http://schemas.openxmlformats.org/officeDocument/2006/relationships" xmlns:p="http://schemas.openxmlformats.org/presentationml/2006/main">
  <p:tag name="NUM" val="31"/>
</p:tagLst>
</file>

<file path=ppt/tags/tag367.xml><?xml version="1.0" encoding="utf-8"?>
<p:tagLst xmlns:a="http://schemas.openxmlformats.org/drawingml/2006/main" xmlns:r="http://schemas.openxmlformats.org/officeDocument/2006/relationships" xmlns:p="http://schemas.openxmlformats.org/presentationml/2006/main">
  <p:tag name="NUM" val="32"/>
</p:tagLst>
</file>

<file path=ppt/tags/tag368.xml><?xml version="1.0" encoding="utf-8"?>
<p:tagLst xmlns:a="http://schemas.openxmlformats.org/drawingml/2006/main" xmlns:r="http://schemas.openxmlformats.org/officeDocument/2006/relationships" xmlns:p="http://schemas.openxmlformats.org/presentationml/2006/main">
  <p:tag name="NUM" val="33"/>
</p:tagLst>
</file>

<file path=ppt/tags/tag369.xml><?xml version="1.0" encoding="utf-8"?>
<p:tagLst xmlns:a="http://schemas.openxmlformats.org/drawingml/2006/main" xmlns:r="http://schemas.openxmlformats.org/officeDocument/2006/relationships" xmlns:p="http://schemas.openxmlformats.org/presentationml/2006/main">
  <p:tag name="NUM" val="34"/>
</p:tagLst>
</file>

<file path=ppt/tags/tag37.xml><?xml version="1.0" encoding="utf-8"?>
<p:tagLst xmlns:a="http://schemas.openxmlformats.org/drawingml/2006/main" xmlns:r="http://schemas.openxmlformats.org/officeDocument/2006/relationships" xmlns:p="http://schemas.openxmlformats.org/presentationml/2006/main">
  <p:tag name="NUM" val="27"/>
</p:tagLst>
</file>

<file path=ppt/tags/tag370.xml><?xml version="1.0" encoding="utf-8"?>
<p:tagLst xmlns:a="http://schemas.openxmlformats.org/drawingml/2006/main" xmlns:r="http://schemas.openxmlformats.org/officeDocument/2006/relationships" xmlns:p="http://schemas.openxmlformats.org/presentationml/2006/main">
  <p:tag name="NUM" val="35"/>
</p:tagLst>
</file>

<file path=ppt/tags/tag371.xml><?xml version="1.0" encoding="utf-8"?>
<p:tagLst xmlns:a="http://schemas.openxmlformats.org/drawingml/2006/main" xmlns:r="http://schemas.openxmlformats.org/officeDocument/2006/relationships" xmlns:p="http://schemas.openxmlformats.org/presentationml/2006/main">
  <p:tag name="NUM" val="36"/>
</p:tagLst>
</file>

<file path=ppt/tags/tag372.xml><?xml version="1.0" encoding="utf-8"?>
<p:tagLst xmlns:a="http://schemas.openxmlformats.org/drawingml/2006/main" xmlns:r="http://schemas.openxmlformats.org/officeDocument/2006/relationships" xmlns:p="http://schemas.openxmlformats.org/presentationml/2006/main">
  <p:tag name="NUM" val="37"/>
</p:tagLst>
</file>

<file path=ppt/tags/tag373.xml><?xml version="1.0" encoding="utf-8"?>
<p:tagLst xmlns:a="http://schemas.openxmlformats.org/drawingml/2006/main" xmlns:r="http://schemas.openxmlformats.org/officeDocument/2006/relationships" xmlns:p="http://schemas.openxmlformats.org/presentationml/2006/main">
  <p:tag name="NUM" val="38"/>
</p:tagLst>
</file>

<file path=ppt/tags/tag374.xml><?xml version="1.0" encoding="utf-8"?>
<p:tagLst xmlns:a="http://schemas.openxmlformats.org/drawingml/2006/main" xmlns:r="http://schemas.openxmlformats.org/officeDocument/2006/relationships" xmlns:p="http://schemas.openxmlformats.org/presentationml/2006/main">
  <p:tag name="NUM" val="39"/>
</p:tagLst>
</file>

<file path=ppt/tags/tag375.xml><?xml version="1.0" encoding="utf-8"?>
<p:tagLst xmlns:a="http://schemas.openxmlformats.org/drawingml/2006/main" xmlns:r="http://schemas.openxmlformats.org/officeDocument/2006/relationships" xmlns:p="http://schemas.openxmlformats.org/presentationml/2006/main">
  <p:tag name="NUM" val="1"/>
</p:tagLst>
</file>

<file path=ppt/tags/tag376.xml><?xml version="1.0" encoding="utf-8"?>
<p:tagLst xmlns:a="http://schemas.openxmlformats.org/drawingml/2006/main" xmlns:r="http://schemas.openxmlformats.org/officeDocument/2006/relationships" xmlns:p="http://schemas.openxmlformats.org/presentationml/2006/main">
  <p:tag name="NUM" val="2"/>
</p:tagLst>
</file>

<file path=ppt/tags/tag377.xml><?xml version="1.0" encoding="utf-8"?>
<p:tagLst xmlns:a="http://schemas.openxmlformats.org/drawingml/2006/main" xmlns:r="http://schemas.openxmlformats.org/officeDocument/2006/relationships" xmlns:p="http://schemas.openxmlformats.org/presentationml/2006/main">
  <p:tag name="NUM" val="3"/>
</p:tagLst>
</file>

<file path=ppt/tags/tag378.xml><?xml version="1.0" encoding="utf-8"?>
<p:tagLst xmlns:a="http://schemas.openxmlformats.org/drawingml/2006/main" xmlns:r="http://schemas.openxmlformats.org/officeDocument/2006/relationships" xmlns:p="http://schemas.openxmlformats.org/presentationml/2006/main">
  <p:tag name="NUM" val="4"/>
</p:tagLst>
</file>

<file path=ppt/tags/tag379.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NUM" val="28"/>
</p:tagLst>
</file>

<file path=ppt/tags/tag380.xml><?xml version="1.0" encoding="utf-8"?>
<p:tagLst xmlns:a="http://schemas.openxmlformats.org/drawingml/2006/main" xmlns:r="http://schemas.openxmlformats.org/officeDocument/2006/relationships" xmlns:p="http://schemas.openxmlformats.org/presentationml/2006/main">
  <p:tag name="NUM" val="6"/>
</p:tagLst>
</file>

<file path=ppt/tags/tag381.xml><?xml version="1.0" encoding="utf-8"?>
<p:tagLst xmlns:a="http://schemas.openxmlformats.org/drawingml/2006/main" xmlns:r="http://schemas.openxmlformats.org/officeDocument/2006/relationships" xmlns:p="http://schemas.openxmlformats.org/presentationml/2006/main">
  <p:tag name="NUM" val="7"/>
</p:tagLst>
</file>

<file path=ppt/tags/tag382.xml><?xml version="1.0" encoding="utf-8"?>
<p:tagLst xmlns:a="http://schemas.openxmlformats.org/drawingml/2006/main" xmlns:r="http://schemas.openxmlformats.org/officeDocument/2006/relationships" xmlns:p="http://schemas.openxmlformats.org/presentationml/2006/main">
  <p:tag name="NUM" val="8"/>
</p:tagLst>
</file>

<file path=ppt/tags/tag383.xml><?xml version="1.0" encoding="utf-8"?>
<p:tagLst xmlns:a="http://schemas.openxmlformats.org/drawingml/2006/main" xmlns:r="http://schemas.openxmlformats.org/officeDocument/2006/relationships" xmlns:p="http://schemas.openxmlformats.org/presentationml/2006/main">
  <p:tag name="NUM" val="9"/>
</p:tagLst>
</file>

<file path=ppt/tags/tag384.xml><?xml version="1.0" encoding="utf-8"?>
<p:tagLst xmlns:a="http://schemas.openxmlformats.org/drawingml/2006/main" xmlns:r="http://schemas.openxmlformats.org/officeDocument/2006/relationships" xmlns:p="http://schemas.openxmlformats.org/presentationml/2006/main">
  <p:tag name="NUM" val="10"/>
</p:tagLst>
</file>

<file path=ppt/tags/tag385.xml><?xml version="1.0" encoding="utf-8"?>
<p:tagLst xmlns:a="http://schemas.openxmlformats.org/drawingml/2006/main" xmlns:r="http://schemas.openxmlformats.org/officeDocument/2006/relationships" xmlns:p="http://schemas.openxmlformats.org/presentationml/2006/main">
  <p:tag name="NUM" val="11"/>
</p:tagLst>
</file>

<file path=ppt/tags/tag386.xml><?xml version="1.0" encoding="utf-8"?>
<p:tagLst xmlns:a="http://schemas.openxmlformats.org/drawingml/2006/main" xmlns:r="http://schemas.openxmlformats.org/officeDocument/2006/relationships" xmlns:p="http://schemas.openxmlformats.org/presentationml/2006/main">
  <p:tag name="NUM" val="12"/>
</p:tagLst>
</file>

<file path=ppt/tags/tag387.xml><?xml version="1.0" encoding="utf-8"?>
<p:tagLst xmlns:a="http://schemas.openxmlformats.org/drawingml/2006/main" xmlns:r="http://schemas.openxmlformats.org/officeDocument/2006/relationships" xmlns:p="http://schemas.openxmlformats.org/presentationml/2006/main">
  <p:tag name="NUM" val="13"/>
</p:tagLst>
</file>

<file path=ppt/tags/tag388.xml><?xml version="1.0" encoding="utf-8"?>
<p:tagLst xmlns:a="http://schemas.openxmlformats.org/drawingml/2006/main" xmlns:r="http://schemas.openxmlformats.org/officeDocument/2006/relationships" xmlns:p="http://schemas.openxmlformats.org/presentationml/2006/main">
  <p:tag name="NUM" val="14"/>
</p:tagLst>
</file>

<file path=ppt/tags/tag389.xml><?xml version="1.0" encoding="utf-8"?>
<p:tagLst xmlns:a="http://schemas.openxmlformats.org/drawingml/2006/main" xmlns:r="http://schemas.openxmlformats.org/officeDocument/2006/relationships" xmlns:p="http://schemas.openxmlformats.org/presentationml/2006/main">
  <p:tag name="NUM" val="15"/>
</p:tagLst>
</file>

<file path=ppt/tags/tag39.xml><?xml version="1.0" encoding="utf-8"?>
<p:tagLst xmlns:a="http://schemas.openxmlformats.org/drawingml/2006/main" xmlns:r="http://schemas.openxmlformats.org/officeDocument/2006/relationships" xmlns:p="http://schemas.openxmlformats.org/presentationml/2006/main">
  <p:tag name="NUM" val="29"/>
</p:tagLst>
</file>

<file path=ppt/tags/tag390.xml><?xml version="1.0" encoding="utf-8"?>
<p:tagLst xmlns:a="http://schemas.openxmlformats.org/drawingml/2006/main" xmlns:r="http://schemas.openxmlformats.org/officeDocument/2006/relationships" xmlns:p="http://schemas.openxmlformats.org/presentationml/2006/main">
  <p:tag name="NUM" val="16"/>
</p:tagLst>
</file>

<file path=ppt/tags/tag391.xml><?xml version="1.0" encoding="utf-8"?>
<p:tagLst xmlns:a="http://schemas.openxmlformats.org/drawingml/2006/main" xmlns:r="http://schemas.openxmlformats.org/officeDocument/2006/relationships" xmlns:p="http://schemas.openxmlformats.org/presentationml/2006/main">
  <p:tag name="NUM" val="17"/>
</p:tagLst>
</file>

<file path=ppt/tags/tag392.xml><?xml version="1.0" encoding="utf-8"?>
<p:tagLst xmlns:a="http://schemas.openxmlformats.org/drawingml/2006/main" xmlns:r="http://schemas.openxmlformats.org/officeDocument/2006/relationships" xmlns:p="http://schemas.openxmlformats.org/presentationml/2006/main">
  <p:tag name="NUM" val="18"/>
</p:tagLst>
</file>

<file path=ppt/tags/tag393.xml><?xml version="1.0" encoding="utf-8"?>
<p:tagLst xmlns:a="http://schemas.openxmlformats.org/drawingml/2006/main" xmlns:r="http://schemas.openxmlformats.org/officeDocument/2006/relationships" xmlns:p="http://schemas.openxmlformats.org/presentationml/2006/main">
  <p:tag name="NUM" val="19"/>
</p:tagLst>
</file>

<file path=ppt/tags/tag394.xml><?xml version="1.0" encoding="utf-8"?>
<p:tagLst xmlns:a="http://schemas.openxmlformats.org/drawingml/2006/main" xmlns:r="http://schemas.openxmlformats.org/officeDocument/2006/relationships" xmlns:p="http://schemas.openxmlformats.org/presentationml/2006/main">
  <p:tag name="NUM" val="20"/>
</p:tagLst>
</file>

<file path=ppt/tags/tag395.xml><?xml version="1.0" encoding="utf-8"?>
<p:tagLst xmlns:a="http://schemas.openxmlformats.org/drawingml/2006/main" xmlns:r="http://schemas.openxmlformats.org/officeDocument/2006/relationships" xmlns:p="http://schemas.openxmlformats.org/presentationml/2006/main">
  <p:tag name="NUM" val="21"/>
</p:tagLst>
</file>

<file path=ppt/tags/tag396.xml><?xml version="1.0" encoding="utf-8"?>
<p:tagLst xmlns:a="http://schemas.openxmlformats.org/drawingml/2006/main" xmlns:r="http://schemas.openxmlformats.org/officeDocument/2006/relationships" xmlns:p="http://schemas.openxmlformats.org/presentationml/2006/main">
  <p:tag name="NUM" val="22"/>
</p:tagLst>
</file>

<file path=ppt/tags/tag397.xml><?xml version="1.0" encoding="utf-8"?>
<p:tagLst xmlns:a="http://schemas.openxmlformats.org/drawingml/2006/main" xmlns:r="http://schemas.openxmlformats.org/officeDocument/2006/relationships" xmlns:p="http://schemas.openxmlformats.org/presentationml/2006/main">
  <p:tag name="NUM" val="23"/>
</p:tagLst>
</file>

<file path=ppt/tags/tag398.xml><?xml version="1.0" encoding="utf-8"?>
<p:tagLst xmlns:a="http://schemas.openxmlformats.org/drawingml/2006/main" xmlns:r="http://schemas.openxmlformats.org/officeDocument/2006/relationships" xmlns:p="http://schemas.openxmlformats.org/presentationml/2006/main">
  <p:tag name="NUM" val="24"/>
</p:tagLst>
</file>

<file path=ppt/tags/tag399.xml><?xml version="1.0" encoding="utf-8"?>
<p:tagLst xmlns:a="http://schemas.openxmlformats.org/drawingml/2006/main" xmlns:r="http://schemas.openxmlformats.org/officeDocument/2006/relationships" xmlns:p="http://schemas.openxmlformats.org/presentationml/2006/main">
  <p:tag name="NUM" val="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30"/>
</p:tagLst>
</file>

<file path=ppt/tags/tag400.xml><?xml version="1.0" encoding="utf-8"?>
<p:tagLst xmlns:a="http://schemas.openxmlformats.org/drawingml/2006/main" xmlns:r="http://schemas.openxmlformats.org/officeDocument/2006/relationships" xmlns:p="http://schemas.openxmlformats.org/presentationml/2006/main">
  <p:tag name="NUM" val="26"/>
</p:tagLst>
</file>

<file path=ppt/tags/tag401.xml><?xml version="1.0" encoding="utf-8"?>
<p:tagLst xmlns:a="http://schemas.openxmlformats.org/drawingml/2006/main" xmlns:r="http://schemas.openxmlformats.org/officeDocument/2006/relationships" xmlns:p="http://schemas.openxmlformats.org/presentationml/2006/main">
  <p:tag name="NUM" val="27"/>
</p:tagLst>
</file>

<file path=ppt/tags/tag402.xml><?xml version="1.0" encoding="utf-8"?>
<p:tagLst xmlns:a="http://schemas.openxmlformats.org/drawingml/2006/main" xmlns:r="http://schemas.openxmlformats.org/officeDocument/2006/relationships" xmlns:p="http://schemas.openxmlformats.org/presentationml/2006/main">
  <p:tag name="NUM" val="28"/>
</p:tagLst>
</file>

<file path=ppt/tags/tag403.xml><?xml version="1.0" encoding="utf-8"?>
<p:tagLst xmlns:a="http://schemas.openxmlformats.org/drawingml/2006/main" xmlns:r="http://schemas.openxmlformats.org/officeDocument/2006/relationships" xmlns:p="http://schemas.openxmlformats.org/presentationml/2006/main">
  <p:tag name="NUM" val="29"/>
</p:tagLst>
</file>

<file path=ppt/tags/tag404.xml><?xml version="1.0" encoding="utf-8"?>
<p:tagLst xmlns:a="http://schemas.openxmlformats.org/drawingml/2006/main" xmlns:r="http://schemas.openxmlformats.org/officeDocument/2006/relationships" xmlns:p="http://schemas.openxmlformats.org/presentationml/2006/main">
  <p:tag name="NUM" val="30"/>
</p:tagLst>
</file>

<file path=ppt/tags/tag405.xml><?xml version="1.0" encoding="utf-8"?>
<p:tagLst xmlns:a="http://schemas.openxmlformats.org/drawingml/2006/main" xmlns:r="http://schemas.openxmlformats.org/officeDocument/2006/relationships" xmlns:p="http://schemas.openxmlformats.org/presentationml/2006/main">
  <p:tag name="NUM" val="31"/>
</p:tagLst>
</file>

<file path=ppt/tags/tag406.xml><?xml version="1.0" encoding="utf-8"?>
<p:tagLst xmlns:a="http://schemas.openxmlformats.org/drawingml/2006/main" xmlns:r="http://schemas.openxmlformats.org/officeDocument/2006/relationships" xmlns:p="http://schemas.openxmlformats.org/presentationml/2006/main">
  <p:tag name="NUM" val="32"/>
</p:tagLst>
</file>

<file path=ppt/tags/tag407.xml><?xml version="1.0" encoding="utf-8"?>
<p:tagLst xmlns:a="http://schemas.openxmlformats.org/drawingml/2006/main" xmlns:r="http://schemas.openxmlformats.org/officeDocument/2006/relationships" xmlns:p="http://schemas.openxmlformats.org/presentationml/2006/main">
  <p:tag name="NUM" val="33"/>
</p:tagLst>
</file>

<file path=ppt/tags/tag408.xml><?xml version="1.0" encoding="utf-8"?>
<p:tagLst xmlns:a="http://schemas.openxmlformats.org/drawingml/2006/main" xmlns:r="http://schemas.openxmlformats.org/officeDocument/2006/relationships" xmlns:p="http://schemas.openxmlformats.org/presentationml/2006/main">
  <p:tag name="NUM" val="34"/>
</p:tagLst>
</file>

<file path=ppt/tags/tag409.xml><?xml version="1.0" encoding="utf-8"?>
<p:tagLst xmlns:a="http://schemas.openxmlformats.org/drawingml/2006/main" xmlns:r="http://schemas.openxmlformats.org/officeDocument/2006/relationships" xmlns:p="http://schemas.openxmlformats.org/presentationml/2006/main">
  <p:tag name="NUM" val="35"/>
</p:tagLst>
</file>

<file path=ppt/tags/tag41.xml><?xml version="1.0" encoding="utf-8"?>
<p:tagLst xmlns:a="http://schemas.openxmlformats.org/drawingml/2006/main" xmlns:r="http://schemas.openxmlformats.org/officeDocument/2006/relationships" xmlns:p="http://schemas.openxmlformats.org/presentationml/2006/main">
  <p:tag name="NUM" val="31"/>
</p:tagLst>
</file>

<file path=ppt/tags/tag410.xml><?xml version="1.0" encoding="utf-8"?>
<p:tagLst xmlns:a="http://schemas.openxmlformats.org/drawingml/2006/main" xmlns:r="http://schemas.openxmlformats.org/officeDocument/2006/relationships" xmlns:p="http://schemas.openxmlformats.org/presentationml/2006/main">
  <p:tag name="NUM" val="36"/>
</p:tagLst>
</file>

<file path=ppt/tags/tag411.xml><?xml version="1.0" encoding="utf-8"?>
<p:tagLst xmlns:a="http://schemas.openxmlformats.org/drawingml/2006/main" xmlns:r="http://schemas.openxmlformats.org/officeDocument/2006/relationships" xmlns:p="http://schemas.openxmlformats.org/presentationml/2006/main">
  <p:tag name="NUM" val="37"/>
</p:tagLst>
</file>

<file path=ppt/tags/tag412.xml><?xml version="1.0" encoding="utf-8"?>
<p:tagLst xmlns:a="http://schemas.openxmlformats.org/drawingml/2006/main" xmlns:r="http://schemas.openxmlformats.org/officeDocument/2006/relationships" xmlns:p="http://schemas.openxmlformats.org/presentationml/2006/main">
  <p:tag name="NUM" val="38"/>
</p:tagLst>
</file>

<file path=ppt/tags/tag413.xml><?xml version="1.0" encoding="utf-8"?>
<p:tagLst xmlns:a="http://schemas.openxmlformats.org/drawingml/2006/main" xmlns:r="http://schemas.openxmlformats.org/officeDocument/2006/relationships" xmlns:p="http://schemas.openxmlformats.org/presentationml/2006/main">
  <p:tag name="NUM" val="39"/>
</p:tagLst>
</file>

<file path=ppt/tags/tag414.xml><?xml version="1.0" encoding="utf-8"?>
<p:tagLst xmlns:a="http://schemas.openxmlformats.org/drawingml/2006/main" xmlns:r="http://schemas.openxmlformats.org/officeDocument/2006/relationships" xmlns:p="http://schemas.openxmlformats.org/presentationml/2006/main">
  <p:tag name="NUM" val="40"/>
</p:tagLst>
</file>

<file path=ppt/tags/tag415.xml><?xml version="1.0" encoding="utf-8"?>
<p:tagLst xmlns:a="http://schemas.openxmlformats.org/drawingml/2006/main" xmlns:r="http://schemas.openxmlformats.org/officeDocument/2006/relationships" xmlns:p="http://schemas.openxmlformats.org/presentationml/2006/main">
  <p:tag name="NUM" val="41"/>
</p:tagLst>
</file>

<file path=ppt/tags/tag416.xml><?xml version="1.0" encoding="utf-8"?>
<p:tagLst xmlns:a="http://schemas.openxmlformats.org/drawingml/2006/main" xmlns:r="http://schemas.openxmlformats.org/officeDocument/2006/relationships" xmlns:p="http://schemas.openxmlformats.org/presentationml/2006/main">
  <p:tag name="NUM" val="42"/>
</p:tagLst>
</file>

<file path=ppt/tags/tag417.xml><?xml version="1.0" encoding="utf-8"?>
<p:tagLst xmlns:a="http://schemas.openxmlformats.org/drawingml/2006/main" xmlns:r="http://schemas.openxmlformats.org/officeDocument/2006/relationships" xmlns:p="http://schemas.openxmlformats.org/presentationml/2006/main">
  <p:tag name="NUM" val="43"/>
</p:tagLst>
</file>

<file path=ppt/tags/tag418.xml><?xml version="1.0" encoding="utf-8"?>
<p:tagLst xmlns:a="http://schemas.openxmlformats.org/drawingml/2006/main" xmlns:r="http://schemas.openxmlformats.org/officeDocument/2006/relationships" xmlns:p="http://schemas.openxmlformats.org/presentationml/2006/main">
  <p:tag name="NUM" val="44"/>
</p:tagLst>
</file>

<file path=ppt/tags/tag419.xml><?xml version="1.0" encoding="utf-8"?>
<p:tagLst xmlns:a="http://schemas.openxmlformats.org/drawingml/2006/main" xmlns:r="http://schemas.openxmlformats.org/officeDocument/2006/relationships" xmlns:p="http://schemas.openxmlformats.org/presentationml/2006/main">
  <p:tag name="NUM" val="45"/>
</p:tagLst>
</file>

<file path=ppt/tags/tag42.xml><?xml version="1.0" encoding="utf-8"?>
<p:tagLst xmlns:a="http://schemas.openxmlformats.org/drawingml/2006/main" xmlns:r="http://schemas.openxmlformats.org/officeDocument/2006/relationships" xmlns:p="http://schemas.openxmlformats.org/presentationml/2006/main">
  <p:tag name="NUM" val="32"/>
</p:tagLst>
</file>

<file path=ppt/tags/tag420.xml><?xml version="1.0" encoding="utf-8"?>
<p:tagLst xmlns:a="http://schemas.openxmlformats.org/drawingml/2006/main" xmlns:r="http://schemas.openxmlformats.org/officeDocument/2006/relationships" xmlns:p="http://schemas.openxmlformats.org/presentationml/2006/main">
  <p:tag name="NUM" val="1"/>
</p:tagLst>
</file>

<file path=ppt/tags/tag421.xml><?xml version="1.0" encoding="utf-8"?>
<p:tagLst xmlns:a="http://schemas.openxmlformats.org/drawingml/2006/main" xmlns:r="http://schemas.openxmlformats.org/officeDocument/2006/relationships" xmlns:p="http://schemas.openxmlformats.org/presentationml/2006/main">
  <p:tag name="NUM" val="2"/>
</p:tagLst>
</file>

<file path=ppt/tags/tag422.xml><?xml version="1.0" encoding="utf-8"?>
<p:tagLst xmlns:a="http://schemas.openxmlformats.org/drawingml/2006/main" xmlns:r="http://schemas.openxmlformats.org/officeDocument/2006/relationships" xmlns:p="http://schemas.openxmlformats.org/presentationml/2006/main">
  <p:tag name="NUM" val="3"/>
</p:tagLst>
</file>

<file path=ppt/tags/tag423.xml><?xml version="1.0" encoding="utf-8"?>
<p:tagLst xmlns:a="http://schemas.openxmlformats.org/drawingml/2006/main" xmlns:r="http://schemas.openxmlformats.org/officeDocument/2006/relationships" xmlns:p="http://schemas.openxmlformats.org/presentationml/2006/main">
  <p:tag name="NUM" val="4"/>
</p:tagLst>
</file>

<file path=ppt/tags/tag424.xml><?xml version="1.0" encoding="utf-8"?>
<p:tagLst xmlns:a="http://schemas.openxmlformats.org/drawingml/2006/main" xmlns:r="http://schemas.openxmlformats.org/officeDocument/2006/relationships" xmlns:p="http://schemas.openxmlformats.org/presentationml/2006/main">
  <p:tag name="NUM" val="5"/>
</p:tagLst>
</file>

<file path=ppt/tags/tag425.xml><?xml version="1.0" encoding="utf-8"?>
<p:tagLst xmlns:a="http://schemas.openxmlformats.org/drawingml/2006/main" xmlns:r="http://schemas.openxmlformats.org/officeDocument/2006/relationships" xmlns:p="http://schemas.openxmlformats.org/presentationml/2006/main">
  <p:tag name="NUM" val="6"/>
</p:tagLst>
</file>

<file path=ppt/tags/tag426.xml><?xml version="1.0" encoding="utf-8"?>
<p:tagLst xmlns:a="http://schemas.openxmlformats.org/drawingml/2006/main" xmlns:r="http://schemas.openxmlformats.org/officeDocument/2006/relationships" xmlns:p="http://schemas.openxmlformats.org/presentationml/2006/main">
  <p:tag name="NUM" val="7"/>
</p:tagLst>
</file>

<file path=ppt/tags/tag427.xml><?xml version="1.0" encoding="utf-8"?>
<p:tagLst xmlns:a="http://schemas.openxmlformats.org/drawingml/2006/main" xmlns:r="http://schemas.openxmlformats.org/officeDocument/2006/relationships" xmlns:p="http://schemas.openxmlformats.org/presentationml/2006/main">
  <p:tag name="NUM" val="8"/>
</p:tagLst>
</file>

<file path=ppt/tags/tag428.xml><?xml version="1.0" encoding="utf-8"?>
<p:tagLst xmlns:a="http://schemas.openxmlformats.org/drawingml/2006/main" xmlns:r="http://schemas.openxmlformats.org/officeDocument/2006/relationships" xmlns:p="http://schemas.openxmlformats.org/presentationml/2006/main">
  <p:tag name="NUM" val="9"/>
</p:tagLst>
</file>

<file path=ppt/tags/tag429.xml><?xml version="1.0" encoding="utf-8"?>
<p:tagLst xmlns:a="http://schemas.openxmlformats.org/drawingml/2006/main" xmlns:r="http://schemas.openxmlformats.org/officeDocument/2006/relationships" xmlns:p="http://schemas.openxmlformats.org/presentationml/2006/main">
  <p:tag name="NUM" val="10"/>
</p:tagLst>
</file>

<file path=ppt/tags/tag43.xml><?xml version="1.0" encoding="utf-8"?>
<p:tagLst xmlns:a="http://schemas.openxmlformats.org/drawingml/2006/main" xmlns:r="http://schemas.openxmlformats.org/officeDocument/2006/relationships" xmlns:p="http://schemas.openxmlformats.org/presentationml/2006/main">
  <p:tag name="NUM" val="33"/>
</p:tagLst>
</file>

<file path=ppt/tags/tag430.xml><?xml version="1.0" encoding="utf-8"?>
<p:tagLst xmlns:a="http://schemas.openxmlformats.org/drawingml/2006/main" xmlns:r="http://schemas.openxmlformats.org/officeDocument/2006/relationships" xmlns:p="http://schemas.openxmlformats.org/presentationml/2006/main">
  <p:tag name="NUM" val="11"/>
</p:tagLst>
</file>

<file path=ppt/tags/tag431.xml><?xml version="1.0" encoding="utf-8"?>
<p:tagLst xmlns:a="http://schemas.openxmlformats.org/drawingml/2006/main" xmlns:r="http://schemas.openxmlformats.org/officeDocument/2006/relationships" xmlns:p="http://schemas.openxmlformats.org/presentationml/2006/main">
  <p:tag name="NUM" val="12"/>
</p:tagLst>
</file>

<file path=ppt/tags/tag432.xml><?xml version="1.0" encoding="utf-8"?>
<p:tagLst xmlns:a="http://schemas.openxmlformats.org/drawingml/2006/main" xmlns:r="http://schemas.openxmlformats.org/officeDocument/2006/relationships" xmlns:p="http://schemas.openxmlformats.org/presentationml/2006/main">
  <p:tag name="NUM" val="13"/>
</p:tagLst>
</file>

<file path=ppt/tags/tag433.xml><?xml version="1.0" encoding="utf-8"?>
<p:tagLst xmlns:a="http://schemas.openxmlformats.org/drawingml/2006/main" xmlns:r="http://schemas.openxmlformats.org/officeDocument/2006/relationships" xmlns:p="http://schemas.openxmlformats.org/presentationml/2006/main">
  <p:tag name="NUM" val="14"/>
</p:tagLst>
</file>

<file path=ppt/tags/tag434.xml><?xml version="1.0" encoding="utf-8"?>
<p:tagLst xmlns:a="http://schemas.openxmlformats.org/drawingml/2006/main" xmlns:r="http://schemas.openxmlformats.org/officeDocument/2006/relationships" xmlns:p="http://schemas.openxmlformats.org/presentationml/2006/main">
  <p:tag name="NUM" val="15"/>
</p:tagLst>
</file>

<file path=ppt/tags/tag435.xml><?xml version="1.0" encoding="utf-8"?>
<p:tagLst xmlns:a="http://schemas.openxmlformats.org/drawingml/2006/main" xmlns:r="http://schemas.openxmlformats.org/officeDocument/2006/relationships" xmlns:p="http://schemas.openxmlformats.org/presentationml/2006/main">
  <p:tag name="NUM" val="16"/>
</p:tagLst>
</file>

<file path=ppt/tags/tag436.xml><?xml version="1.0" encoding="utf-8"?>
<p:tagLst xmlns:a="http://schemas.openxmlformats.org/drawingml/2006/main" xmlns:r="http://schemas.openxmlformats.org/officeDocument/2006/relationships" xmlns:p="http://schemas.openxmlformats.org/presentationml/2006/main">
  <p:tag name="NUM" val="17"/>
</p:tagLst>
</file>

<file path=ppt/tags/tag437.xml><?xml version="1.0" encoding="utf-8"?>
<p:tagLst xmlns:a="http://schemas.openxmlformats.org/drawingml/2006/main" xmlns:r="http://schemas.openxmlformats.org/officeDocument/2006/relationships" xmlns:p="http://schemas.openxmlformats.org/presentationml/2006/main">
  <p:tag name="NUM" val="18"/>
</p:tagLst>
</file>

<file path=ppt/tags/tag438.xml><?xml version="1.0" encoding="utf-8"?>
<p:tagLst xmlns:a="http://schemas.openxmlformats.org/drawingml/2006/main" xmlns:r="http://schemas.openxmlformats.org/officeDocument/2006/relationships" xmlns:p="http://schemas.openxmlformats.org/presentationml/2006/main">
  <p:tag name="NUM" val="19"/>
</p:tagLst>
</file>

<file path=ppt/tags/tag439.xml><?xml version="1.0" encoding="utf-8"?>
<p:tagLst xmlns:a="http://schemas.openxmlformats.org/drawingml/2006/main" xmlns:r="http://schemas.openxmlformats.org/officeDocument/2006/relationships" xmlns:p="http://schemas.openxmlformats.org/presentationml/2006/main">
  <p:tag name="NUM" val="20"/>
</p:tagLst>
</file>

<file path=ppt/tags/tag44.xml><?xml version="1.0" encoding="utf-8"?>
<p:tagLst xmlns:a="http://schemas.openxmlformats.org/drawingml/2006/main" xmlns:r="http://schemas.openxmlformats.org/officeDocument/2006/relationships" xmlns:p="http://schemas.openxmlformats.org/presentationml/2006/main">
  <p:tag name="NUM" val="34"/>
</p:tagLst>
</file>

<file path=ppt/tags/tag440.xml><?xml version="1.0" encoding="utf-8"?>
<p:tagLst xmlns:a="http://schemas.openxmlformats.org/drawingml/2006/main" xmlns:r="http://schemas.openxmlformats.org/officeDocument/2006/relationships" xmlns:p="http://schemas.openxmlformats.org/presentationml/2006/main">
  <p:tag name="NUM" val="21"/>
</p:tagLst>
</file>

<file path=ppt/tags/tag441.xml><?xml version="1.0" encoding="utf-8"?>
<p:tagLst xmlns:a="http://schemas.openxmlformats.org/drawingml/2006/main" xmlns:r="http://schemas.openxmlformats.org/officeDocument/2006/relationships" xmlns:p="http://schemas.openxmlformats.org/presentationml/2006/main">
  <p:tag name="NUM" val="22"/>
</p:tagLst>
</file>

<file path=ppt/tags/tag442.xml><?xml version="1.0" encoding="utf-8"?>
<p:tagLst xmlns:a="http://schemas.openxmlformats.org/drawingml/2006/main" xmlns:r="http://schemas.openxmlformats.org/officeDocument/2006/relationships" xmlns:p="http://schemas.openxmlformats.org/presentationml/2006/main">
  <p:tag name="NUM" val="23"/>
</p:tagLst>
</file>

<file path=ppt/tags/tag443.xml><?xml version="1.0" encoding="utf-8"?>
<p:tagLst xmlns:a="http://schemas.openxmlformats.org/drawingml/2006/main" xmlns:r="http://schemas.openxmlformats.org/officeDocument/2006/relationships" xmlns:p="http://schemas.openxmlformats.org/presentationml/2006/main">
  <p:tag name="NUM" val="24"/>
</p:tagLst>
</file>

<file path=ppt/tags/tag444.xml><?xml version="1.0" encoding="utf-8"?>
<p:tagLst xmlns:a="http://schemas.openxmlformats.org/drawingml/2006/main" xmlns:r="http://schemas.openxmlformats.org/officeDocument/2006/relationships" xmlns:p="http://schemas.openxmlformats.org/presentationml/2006/main">
  <p:tag name="NUM" val="25"/>
</p:tagLst>
</file>

<file path=ppt/tags/tag445.xml><?xml version="1.0" encoding="utf-8"?>
<p:tagLst xmlns:a="http://schemas.openxmlformats.org/drawingml/2006/main" xmlns:r="http://schemas.openxmlformats.org/officeDocument/2006/relationships" xmlns:p="http://schemas.openxmlformats.org/presentationml/2006/main">
  <p:tag name="NUM" val="26"/>
</p:tagLst>
</file>

<file path=ppt/tags/tag446.xml><?xml version="1.0" encoding="utf-8"?>
<p:tagLst xmlns:a="http://schemas.openxmlformats.org/drawingml/2006/main" xmlns:r="http://schemas.openxmlformats.org/officeDocument/2006/relationships" xmlns:p="http://schemas.openxmlformats.org/presentationml/2006/main">
  <p:tag name="NUM" val="27"/>
</p:tagLst>
</file>

<file path=ppt/tags/tag447.xml><?xml version="1.0" encoding="utf-8"?>
<p:tagLst xmlns:a="http://schemas.openxmlformats.org/drawingml/2006/main" xmlns:r="http://schemas.openxmlformats.org/officeDocument/2006/relationships" xmlns:p="http://schemas.openxmlformats.org/presentationml/2006/main">
  <p:tag name="NUM" val="1"/>
</p:tagLst>
</file>

<file path=ppt/tags/tag448.xml><?xml version="1.0" encoding="utf-8"?>
<p:tagLst xmlns:a="http://schemas.openxmlformats.org/drawingml/2006/main" xmlns:r="http://schemas.openxmlformats.org/officeDocument/2006/relationships" xmlns:p="http://schemas.openxmlformats.org/presentationml/2006/main">
  <p:tag name="NUM" val="2"/>
</p:tagLst>
</file>

<file path=ppt/tags/tag449.xml><?xml version="1.0" encoding="utf-8"?>
<p:tagLst xmlns:a="http://schemas.openxmlformats.org/drawingml/2006/main" xmlns:r="http://schemas.openxmlformats.org/officeDocument/2006/relationships" xmlns:p="http://schemas.openxmlformats.org/presentationml/2006/main">
  <p:tag name="NUM" val="3"/>
</p:tagLst>
</file>

<file path=ppt/tags/tag45.xml><?xml version="1.0" encoding="utf-8"?>
<p:tagLst xmlns:a="http://schemas.openxmlformats.org/drawingml/2006/main" xmlns:r="http://schemas.openxmlformats.org/officeDocument/2006/relationships" xmlns:p="http://schemas.openxmlformats.org/presentationml/2006/main">
  <p:tag name="NUM" val="35"/>
</p:tagLst>
</file>

<file path=ppt/tags/tag450.xml><?xml version="1.0" encoding="utf-8"?>
<p:tagLst xmlns:a="http://schemas.openxmlformats.org/drawingml/2006/main" xmlns:r="http://schemas.openxmlformats.org/officeDocument/2006/relationships" xmlns:p="http://schemas.openxmlformats.org/presentationml/2006/main">
  <p:tag name="NUM" val="4"/>
</p:tagLst>
</file>

<file path=ppt/tags/tag451.xml><?xml version="1.0" encoding="utf-8"?>
<p:tagLst xmlns:a="http://schemas.openxmlformats.org/drawingml/2006/main" xmlns:r="http://schemas.openxmlformats.org/officeDocument/2006/relationships" xmlns:p="http://schemas.openxmlformats.org/presentationml/2006/main">
  <p:tag name="NUM" val="5"/>
</p:tagLst>
</file>

<file path=ppt/tags/tag452.xml><?xml version="1.0" encoding="utf-8"?>
<p:tagLst xmlns:a="http://schemas.openxmlformats.org/drawingml/2006/main" xmlns:r="http://schemas.openxmlformats.org/officeDocument/2006/relationships" xmlns:p="http://schemas.openxmlformats.org/presentationml/2006/main">
  <p:tag name="NUM" val="6"/>
</p:tagLst>
</file>

<file path=ppt/tags/tag453.xml><?xml version="1.0" encoding="utf-8"?>
<p:tagLst xmlns:a="http://schemas.openxmlformats.org/drawingml/2006/main" xmlns:r="http://schemas.openxmlformats.org/officeDocument/2006/relationships" xmlns:p="http://schemas.openxmlformats.org/presentationml/2006/main">
  <p:tag name="NUM" val="7"/>
</p:tagLst>
</file>

<file path=ppt/tags/tag454.xml><?xml version="1.0" encoding="utf-8"?>
<p:tagLst xmlns:a="http://schemas.openxmlformats.org/drawingml/2006/main" xmlns:r="http://schemas.openxmlformats.org/officeDocument/2006/relationships" xmlns:p="http://schemas.openxmlformats.org/presentationml/2006/main">
  <p:tag name="NUM" val="8"/>
</p:tagLst>
</file>

<file path=ppt/tags/tag455.xml><?xml version="1.0" encoding="utf-8"?>
<p:tagLst xmlns:a="http://schemas.openxmlformats.org/drawingml/2006/main" xmlns:r="http://schemas.openxmlformats.org/officeDocument/2006/relationships" xmlns:p="http://schemas.openxmlformats.org/presentationml/2006/main">
  <p:tag name="NUM" val="9"/>
</p:tagLst>
</file>

<file path=ppt/tags/tag456.xml><?xml version="1.0" encoding="utf-8"?>
<p:tagLst xmlns:a="http://schemas.openxmlformats.org/drawingml/2006/main" xmlns:r="http://schemas.openxmlformats.org/officeDocument/2006/relationships" xmlns:p="http://schemas.openxmlformats.org/presentationml/2006/main">
  <p:tag name="NUM" val="10"/>
</p:tagLst>
</file>

<file path=ppt/tags/tag457.xml><?xml version="1.0" encoding="utf-8"?>
<p:tagLst xmlns:a="http://schemas.openxmlformats.org/drawingml/2006/main" xmlns:r="http://schemas.openxmlformats.org/officeDocument/2006/relationships" xmlns:p="http://schemas.openxmlformats.org/presentationml/2006/main">
  <p:tag name="NUM" val="11"/>
</p:tagLst>
</file>

<file path=ppt/tags/tag458.xml><?xml version="1.0" encoding="utf-8"?>
<p:tagLst xmlns:a="http://schemas.openxmlformats.org/drawingml/2006/main" xmlns:r="http://schemas.openxmlformats.org/officeDocument/2006/relationships" xmlns:p="http://schemas.openxmlformats.org/presentationml/2006/main">
  <p:tag name="NUM" val="12"/>
</p:tagLst>
</file>

<file path=ppt/tags/tag459.xml><?xml version="1.0" encoding="utf-8"?>
<p:tagLst xmlns:a="http://schemas.openxmlformats.org/drawingml/2006/main" xmlns:r="http://schemas.openxmlformats.org/officeDocument/2006/relationships" xmlns:p="http://schemas.openxmlformats.org/presentationml/2006/main">
  <p:tag name="NUM" val="13"/>
</p:tagLst>
</file>

<file path=ppt/tags/tag46.xml><?xml version="1.0" encoding="utf-8"?>
<p:tagLst xmlns:a="http://schemas.openxmlformats.org/drawingml/2006/main" xmlns:r="http://schemas.openxmlformats.org/officeDocument/2006/relationships" xmlns:p="http://schemas.openxmlformats.org/presentationml/2006/main">
  <p:tag name="NUM" val="36"/>
</p:tagLst>
</file>

<file path=ppt/tags/tag460.xml><?xml version="1.0" encoding="utf-8"?>
<p:tagLst xmlns:a="http://schemas.openxmlformats.org/drawingml/2006/main" xmlns:r="http://schemas.openxmlformats.org/officeDocument/2006/relationships" xmlns:p="http://schemas.openxmlformats.org/presentationml/2006/main">
  <p:tag name="NUM" val="1"/>
</p:tagLst>
</file>

<file path=ppt/tags/tag461.xml><?xml version="1.0" encoding="utf-8"?>
<p:tagLst xmlns:a="http://schemas.openxmlformats.org/drawingml/2006/main" xmlns:r="http://schemas.openxmlformats.org/officeDocument/2006/relationships" xmlns:p="http://schemas.openxmlformats.org/presentationml/2006/main">
  <p:tag name="NUM" val="2"/>
</p:tagLst>
</file>

<file path=ppt/tags/tag462.xml><?xml version="1.0" encoding="utf-8"?>
<p:tagLst xmlns:a="http://schemas.openxmlformats.org/drawingml/2006/main" xmlns:r="http://schemas.openxmlformats.org/officeDocument/2006/relationships" xmlns:p="http://schemas.openxmlformats.org/presentationml/2006/main">
  <p:tag name="NUM" val="3"/>
</p:tagLst>
</file>

<file path=ppt/tags/tag463.xml><?xml version="1.0" encoding="utf-8"?>
<p:tagLst xmlns:a="http://schemas.openxmlformats.org/drawingml/2006/main" xmlns:r="http://schemas.openxmlformats.org/officeDocument/2006/relationships" xmlns:p="http://schemas.openxmlformats.org/presentationml/2006/main">
  <p:tag name="NUM" val="4"/>
</p:tagLst>
</file>

<file path=ppt/tags/tag464.xml><?xml version="1.0" encoding="utf-8"?>
<p:tagLst xmlns:a="http://schemas.openxmlformats.org/drawingml/2006/main" xmlns:r="http://schemas.openxmlformats.org/officeDocument/2006/relationships" xmlns:p="http://schemas.openxmlformats.org/presentationml/2006/main">
  <p:tag name="NUM" val="5"/>
</p:tagLst>
</file>

<file path=ppt/tags/tag465.xml><?xml version="1.0" encoding="utf-8"?>
<p:tagLst xmlns:a="http://schemas.openxmlformats.org/drawingml/2006/main" xmlns:r="http://schemas.openxmlformats.org/officeDocument/2006/relationships" xmlns:p="http://schemas.openxmlformats.org/presentationml/2006/main">
  <p:tag name="NUM" val="6"/>
</p:tagLst>
</file>

<file path=ppt/tags/tag466.xml><?xml version="1.0" encoding="utf-8"?>
<p:tagLst xmlns:a="http://schemas.openxmlformats.org/drawingml/2006/main" xmlns:r="http://schemas.openxmlformats.org/officeDocument/2006/relationships" xmlns:p="http://schemas.openxmlformats.org/presentationml/2006/main">
  <p:tag name="NUM" val="7"/>
</p:tagLst>
</file>

<file path=ppt/tags/tag467.xml><?xml version="1.0" encoding="utf-8"?>
<p:tagLst xmlns:a="http://schemas.openxmlformats.org/drawingml/2006/main" xmlns:r="http://schemas.openxmlformats.org/officeDocument/2006/relationships" xmlns:p="http://schemas.openxmlformats.org/presentationml/2006/main">
  <p:tag name="NUM" val="8"/>
</p:tagLst>
</file>

<file path=ppt/tags/tag468.xml><?xml version="1.0" encoding="utf-8"?>
<p:tagLst xmlns:a="http://schemas.openxmlformats.org/drawingml/2006/main" xmlns:r="http://schemas.openxmlformats.org/officeDocument/2006/relationships" xmlns:p="http://schemas.openxmlformats.org/presentationml/2006/main">
  <p:tag name="NUM" val="9"/>
</p:tagLst>
</file>

<file path=ppt/tags/tag469.xml><?xml version="1.0" encoding="utf-8"?>
<p:tagLst xmlns:a="http://schemas.openxmlformats.org/drawingml/2006/main" xmlns:r="http://schemas.openxmlformats.org/officeDocument/2006/relationships" xmlns:p="http://schemas.openxmlformats.org/presentationml/2006/main">
  <p:tag name="NUM" val="10"/>
</p:tagLst>
</file>

<file path=ppt/tags/tag47.xml><?xml version="1.0" encoding="utf-8"?>
<p:tagLst xmlns:a="http://schemas.openxmlformats.org/drawingml/2006/main" xmlns:r="http://schemas.openxmlformats.org/officeDocument/2006/relationships" xmlns:p="http://schemas.openxmlformats.org/presentationml/2006/main">
  <p:tag name="NUM" val="37"/>
</p:tagLst>
</file>

<file path=ppt/tags/tag470.xml><?xml version="1.0" encoding="utf-8"?>
<p:tagLst xmlns:a="http://schemas.openxmlformats.org/drawingml/2006/main" xmlns:r="http://schemas.openxmlformats.org/officeDocument/2006/relationships" xmlns:p="http://schemas.openxmlformats.org/presentationml/2006/main">
  <p:tag name="NUM" val="11"/>
</p:tagLst>
</file>

<file path=ppt/tags/tag471.xml><?xml version="1.0" encoding="utf-8"?>
<p:tagLst xmlns:a="http://schemas.openxmlformats.org/drawingml/2006/main" xmlns:r="http://schemas.openxmlformats.org/officeDocument/2006/relationships" xmlns:p="http://schemas.openxmlformats.org/presentationml/2006/main">
  <p:tag name="NUM" val="12"/>
</p:tagLst>
</file>

<file path=ppt/tags/tag472.xml><?xml version="1.0" encoding="utf-8"?>
<p:tagLst xmlns:a="http://schemas.openxmlformats.org/drawingml/2006/main" xmlns:r="http://schemas.openxmlformats.org/officeDocument/2006/relationships" xmlns:p="http://schemas.openxmlformats.org/presentationml/2006/main">
  <p:tag name="NUM" val="13"/>
</p:tagLst>
</file>

<file path=ppt/tags/tag473.xml><?xml version="1.0" encoding="utf-8"?>
<p:tagLst xmlns:a="http://schemas.openxmlformats.org/drawingml/2006/main" xmlns:r="http://schemas.openxmlformats.org/officeDocument/2006/relationships" xmlns:p="http://schemas.openxmlformats.org/presentationml/2006/main">
  <p:tag name="NUM" val="14"/>
</p:tagLst>
</file>

<file path=ppt/tags/tag474.xml><?xml version="1.0" encoding="utf-8"?>
<p:tagLst xmlns:a="http://schemas.openxmlformats.org/drawingml/2006/main" xmlns:r="http://schemas.openxmlformats.org/officeDocument/2006/relationships" xmlns:p="http://schemas.openxmlformats.org/presentationml/2006/main">
  <p:tag name="NUM" val="15"/>
</p:tagLst>
</file>

<file path=ppt/tags/tag475.xml><?xml version="1.0" encoding="utf-8"?>
<p:tagLst xmlns:a="http://schemas.openxmlformats.org/drawingml/2006/main" xmlns:r="http://schemas.openxmlformats.org/officeDocument/2006/relationships" xmlns:p="http://schemas.openxmlformats.org/presentationml/2006/main">
  <p:tag name="NUM" val="16"/>
</p:tagLst>
</file>

<file path=ppt/tags/tag476.xml><?xml version="1.0" encoding="utf-8"?>
<p:tagLst xmlns:a="http://schemas.openxmlformats.org/drawingml/2006/main" xmlns:r="http://schemas.openxmlformats.org/officeDocument/2006/relationships" xmlns:p="http://schemas.openxmlformats.org/presentationml/2006/main">
  <p:tag name="NUM" val="17"/>
</p:tagLst>
</file>

<file path=ppt/tags/tag477.xml><?xml version="1.0" encoding="utf-8"?>
<p:tagLst xmlns:a="http://schemas.openxmlformats.org/drawingml/2006/main" xmlns:r="http://schemas.openxmlformats.org/officeDocument/2006/relationships" xmlns:p="http://schemas.openxmlformats.org/presentationml/2006/main">
  <p:tag name="NUM" val="18"/>
</p:tagLst>
</file>

<file path=ppt/tags/tag478.xml><?xml version="1.0" encoding="utf-8"?>
<p:tagLst xmlns:a="http://schemas.openxmlformats.org/drawingml/2006/main" xmlns:r="http://schemas.openxmlformats.org/officeDocument/2006/relationships" xmlns:p="http://schemas.openxmlformats.org/presentationml/2006/main">
  <p:tag name="NUM" val="19"/>
</p:tagLst>
</file>

<file path=ppt/tags/tag479.xml><?xml version="1.0" encoding="utf-8"?>
<p:tagLst xmlns:a="http://schemas.openxmlformats.org/drawingml/2006/main" xmlns:r="http://schemas.openxmlformats.org/officeDocument/2006/relationships" xmlns:p="http://schemas.openxmlformats.org/presentationml/2006/main">
  <p:tag name="NUM" val="20"/>
</p:tagLst>
</file>

<file path=ppt/tags/tag48.xml><?xml version="1.0" encoding="utf-8"?>
<p:tagLst xmlns:a="http://schemas.openxmlformats.org/drawingml/2006/main" xmlns:r="http://schemas.openxmlformats.org/officeDocument/2006/relationships" xmlns:p="http://schemas.openxmlformats.org/presentationml/2006/main">
  <p:tag name="NUM" val="38"/>
</p:tagLst>
</file>

<file path=ppt/tags/tag480.xml><?xml version="1.0" encoding="utf-8"?>
<p:tagLst xmlns:a="http://schemas.openxmlformats.org/drawingml/2006/main" xmlns:r="http://schemas.openxmlformats.org/officeDocument/2006/relationships" xmlns:p="http://schemas.openxmlformats.org/presentationml/2006/main">
  <p:tag name="NUM" val="21"/>
</p:tagLst>
</file>

<file path=ppt/tags/tag481.xml><?xml version="1.0" encoding="utf-8"?>
<p:tagLst xmlns:a="http://schemas.openxmlformats.org/drawingml/2006/main" xmlns:r="http://schemas.openxmlformats.org/officeDocument/2006/relationships" xmlns:p="http://schemas.openxmlformats.org/presentationml/2006/main">
  <p:tag name="NUM" val="1"/>
</p:tagLst>
</file>

<file path=ppt/tags/tag482.xml><?xml version="1.0" encoding="utf-8"?>
<p:tagLst xmlns:a="http://schemas.openxmlformats.org/drawingml/2006/main" xmlns:r="http://schemas.openxmlformats.org/officeDocument/2006/relationships" xmlns:p="http://schemas.openxmlformats.org/presentationml/2006/main">
  <p:tag name="NUM" val="2"/>
</p:tagLst>
</file>

<file path=ppt/tags/tag483.xml><?xml version="1.0" encoding="utf-8"?>
<p:tagLst xmlns:a="http://schemas.openxmlformats.org/drawingml/2006/main" xmlns:r="http://schemas.openxmlformats.org/officeDocument/2006/relationships" xmlns:p="http://schemas.openxmlformats.org/presentationml/2006/main">
  <p:tag name="NUM" val="3"/>
</p:tagLst>
</file>

<file path=ppt/tags/tag484.xml><?xml version="1.0" encoding="utf-8"?>
<p:tagLst xmlns:a="http://schemas.openxmlformats.org/drawingml/2006/main" xmlns:r="http://schemas.openxmlformats.org/officeDocument/2006/relationships" xmlns:p="http://schemas.openxmlformats.org/presentationml/2006/main">
  <p:tag name="NUM" val="4"/>
</p:tagLst>
</file>

<file path=ppt/tags/tag485.xml><?xml version="1.0" encoding="utf-8"?>
<p:tagLst xmlns:a="http://schemas.openxmlformats.org/drawingml/2006/main" xmlns:r="http://schemas.openxmlformats.org/officeDocument/2006/relationships" xmlns:p="http://schemas.openxmlformats.org/presentationml/2006/main">
  <p:tag name="NUM" val="5"/>
</p:tagLst>
</file>

<file path=ppt/tags/tag486.xml><?xml version="1.0" encoding="utf-8"?>
<p:tagLst xmlns:a="http://schemas.openxmlformats.org/drawingml/2006/main" xmlns:r="http://schemas.openxmlformats.org/officeDocument/2006/relationships" xmlns:p="http://schemas.openxmlformats.org/presentationml/2006/main">
  <p:tag name="NUM" val="6"/>
</p:tagLst>
</file>

<file path=ppt/tags/tag487.xml><?xml version="1.0" encoding="utf-8"?>
<p:tagLst xmlns:a="http://schemas.openxmlformats.org/drawingml/2006/main" xmlns:r="http://schemas.openxmlformats.org/officeDocument/2006/relationships" xmlns:p="http://schemas.openxmlformats.org/presentationml/2006/main">
  <p:tag name="NUM" val="7"/>
</p:tagLst>
</file>

<file path=ppt/tags/tag488.xml><?xml version="1.0" encoding="utf-8"?>
<p:tagLst xmlns:a="http://schemas.openxmlformats.org/drawingml/2006/main" xmlns:r="http://schemas.openxmlformats.org/officeDocument/2006/relationships" xmlns:p="http://schemas.openxmlformats.org/presentationml/2006/main">
  <p:tag name="NUM" val="8"/>
</p:tagLst>
</file>

<file path=ppt/tags/tag489.xml><?xml version="1.0" encoding="utf-8"?>
<p:tagLst xmlns:a="http://schemas.openxmlformats.org/drawingml/2006/main" xmlns:r="http://schemas.openxmlformats.org/officeDocument/2006/relationships" xmlns:p="http://schemas.openxmlformats.org/presentationml/2006/main">
  <p:tag name="NUM" val="9"/>
</p:tagLst>
</file>

<file path=ppt/tags/tag49.xml><?xml version="1.0" encoding="utf-8"?>
<p:tagLst xmlns:a="http://schemas.openxmlformats.org/drawingml/2006/main" xmlns:r="http://schemas.openxmlformats.org/officeDocument/2006/relationships" xmlns:p="http://schemas.openxmlformats.org/presentationml/2006/main">
  <p:tag name="NUM" val="1"/>
</p:tagLst>
</file>

<file path=ppt/tags/tag490.xml><?xml version="1.0" encoding="utf-8"?>
<p:tagLst xmlns:a="http://schemas.openxmlformats.org/drawingml/2006/main" xmlns:r="http://schemas.openxmlformats.org/officeDocument/2006/relationships" xmlns:p="http://schemas.openxmlformats.org/presentationml/2006/main">
  <p:tag name="NUM" val="10"/>
</p:tagLst>
</file>

<file path=ppt/tags/tag491.xml><?xml version="1.0" encoding="utf-8"?>
<p:tagLst xmlns:a="http://schemas.openxmlformats.org/drawingml/2006/main" xmlns:r="http://schemas.openxmlformats.org/officeDocument/2006/relationships" xmlns:p="http://schemas.openxmlformats.org/presentationml/2006/main">
  <p:tag name="NUM" val="11"/>
</p:tagLst>
</file>

<file path=ppt/tags/tag492.xml><?xml version="1.0" encoding="utf-8"?>
<p:tagLst xmlns:a="http://schemas.openxmlformats.org/drawingml/2006/main" xmlns:r="http://schemas.openxmlformats.org/officeDocument/2006/relationships" xmlns:p="http://schemas.openxmlformats.org/presentationml/2006/main">
  <p:tag name="NUM" val="12"/>
</p:tagLst>
</file>

<file path=ppt/tags/tag493.xml><?xml version="1.0" encoding="utf-8"?>
<p:tagLst xmlns:a="http://schemas.openxmlformats.org/drawingml/2006/main" xmlns:r="http://schemas.openxmlformats.org/officeDocument/2006/relationships" xmlns:p="http://schemas.openxmlformats.org/presentationml/2006/main">
  <p:tag name="NUM" val="13"/>
</p:tagLst>
</file>

<file path=ppt/tags/tag494.xml><?xml version="1.0" encoding="utf-8"?>
<p:tagLst xmlns:a="http://schemas.openxmlformats.org/drawingml/2006/main" xmlns:r="http://schemas.openxmlformats.org/officeDocument/2006/relationships" xmlns:p="http://schemas.openxmlformats.org/presentationml/2006/main">
  <p:tag name="NUM" val="14"/>
</p:tagLst>
</file>

<file path=ppt/tags/tag495.xml><?xml version="1.0" encoding="utf-8"?>
<p:tagLst xmlns:a="http://schemas.openxmlformats.org/drawingml/2006/main" xmlns:r="http://schemas.openxmlformats.org/officeDocument/2006/relationships" xmlns:p="http://schemas.openxmlformats.org/presentationml/2006/main">
  <p:tag name="NUM" val="15"/>
</p:tagLst>
</file>

<file path=ppt/tags/tag496.xml><?xml version="1.0" encoding="utf-8"?>
<p:tagLst xmlns:a="http://schemas.openxmlformats.org/drawingml/2006/main" xmlns:r="http://schemas.openxmlformats.org/officeDocument/2006/relationships" xmlns:p="http://schemas.openxmlformats.org/presentationml/2006/main">
  <p:tag name="NUM" val="16"/>
</p:tagLst>
</file>

<file path=ppt/tags/tag497.xml><?xml version="1.0" encoding="utf-8"?>
<p:tagLst xmlns:a="http://schemas.openxmlformats.org/drawingml/2006/main" xmlns:r="http://schemas.openxmlformats.org/officeDocument/2006/relationships" xmlns:p="http://schemas.openxmlformats.org/presentationml/2006/main">
  <p:tag name="NUM" val="17"/>
</p:tagLst>
</file>

<file path=ppt/tags/tag498.xml><?xml version="1.0" encoding="utf-8"?>
<p:tagLst xmlns:a="http://schemas.openxmlformats.org/drawingml/2006/main" xmlns:r="http://schemas.openxmlformats.org/officeDocument/2006/relationships" xmlns:p="http://schemas.openxmlformats.org/presentationml/2006/main">
  <p:tag name="NUM" val="18"/>
</p:tagLst>
</file>

<file path=ppt/tags/tag499.xml><?xml version="1.0" encoding="utf-8"?>
<p:tagLst xmlns:a="http://schemas.openxmlformats.org/drawingml/2006/main" xmlns:r="http://schemas.openxmlformats.org/officeDocument/2006/relationships" xmlns:p="http://schemas.openxmlformats.org/presentationml/2006/main">
  <p:tag name="NUM" val="19"/>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2"/>
</p:tagLst>
</file>

<file path=ppt/tags/tag500.xml><?xml version="1.0" encoding="utf-8"?>
<p:tagLst xmlns:a="http://schemas.openxmlformats.org/drawingml/2006/main" xmlns:r="http://schemas.openxmlformats.org/officeDocument/2006/relationships" xmlns:p="http://schemas.openxmlformats.org/presentationml/2006/main">
  <p:tag name="NUM" val="20"/>
</p:tagLst>
</file>

<file path=ppt/tags/tag501.xml><?xml version="1.0" encoding="utf-8"?>
<p:tagLst xmlns:a="http://schemas.openxmlformats.org/drawingml/2006/main" xmlns:r="http://schemas.openxmlformats.org/officeDocument/2006/relationships" xmlns:p="http://schemas.openxmlformats.org/presentationml/2006/main">
  <p:tag name="NUM" val="1"/>
</p:tagLst>
</file>

<file path=ppt/tags/tag502.xml><?xml version="1.0" encoding="utf-8"?>
<p:tagLst xmlns:a="http://schemas.openxmlformats.org/drawingml/2006/main" xmlns:r="http://schemas.openxmlformats.org/officeDocument/2006/relationships" xmlns:p="http://schemas.openxmlformats.org/presentationml/2006/main">
  <p:tag name="NUM" val="2"/>
</p:tagLst>
</file>

<file path=ppt/tags/tag503.xml><?xml version="1.0" encoding="utf-8"?>
<p:tagLst xmlns:a="http://schemas.openxmlformats.org/drawingml/2006/main" xmlns:r="http://schemas.openxmlformats.org/officeDocument/2006/relationships" xmlns:p="http://schemas.openxmlformats.org/presentationml/2006/main">
  <p:tag name="NUM" val="3"/>
</p:tagLst>
</file>

<file path=ppt/tags/tag504.xml><?xml version="1.0" encoding="utf-8"?>
<p:tagLst xmlns:a="http://schemas.openxmlformats.org/drawingml/2006/main" xmlns:r="http://schemas.openxmlformats.org/officeDocument/2006/relationships" xmlns:p="http://schemas.openxmlformats.org/presentationml/2006/main">
  <p:tag name="NUM" val="4"/>
</p:tagLst>
</file>

<file path=ppt/tags/tag505.xml><?xml version="1.0" encoding="utf-8"?>
<p:tagLst xmlns:a="http://schemas.openxmlformats.org/drawingml/2006/main" xmlns:r="http://schemas.openxmlformats.org/officeDocument/2006/relationships" xmlns:p="http://schemas.openxmlformats.org/presentationml/2006/main">
  <p:tag name="NUM" val="5"/>
</p:tagLst>
</file>

<file path=ppt/tags/tag506.xml><?xml version="1.0" encoding="utf-8"?>
<p:tagLst xmlns:a="http://schemas.openxmlformats.org/drawingml/2006/main" xmlns:r="http://schemas.openxmlformats.org/officeDocument/2006/relationships" xmlns:p="http://schemas.openxmlformats.org/presentationml/2006/main">
  <p:tag name="NUM" val="6"/>
</p:tagLst>
</file>

<file path=ppt/tags/tag507.xml><?xml version="1.0" encoding="utf-8"?>
<p:tagLst xmlns:a="http://schemas.openxmlformats.org/drawingml/2006/main" xmlns:r="http://schemas.openxmlformats.org/officeDocument/2006/relationships" xmlns:p="http://schemas.openxmlformats.org/presentationml/2006/main">
  <p:tag name="NUM" val="7"/>
</p:tagLst>
</file>

<file path=ppt/tags/tag508.xml><?xml version="1.0" encoding="utf-8"?>
<p:tagLst xmlns:a="http://schemas.openxmlformats.org/drawingml/2006/main" xmlns:r="http://schemas.openxmlformats.org/officeDocument/2006/relationships" xmlns:p="http://schemas.openxmlformats.org/presentationml/2006/main">
  <p:tag name="NUM" val="8"/>
</p:tagLst>
</file>

<file path=ppt/tags/tag509.xml><?xml version="1.0" encoding="utf-8"?>
<p:tagLst xmlns:a="http://schemas.openxmlformats.org/drawingml/2006/main" xmlns:r="http://schemas.openxmlformats.org/officeDocument/2006/relationships" xmlns:p="http://schemas.openxmlformats.org/presentationml/2006/main">
  <p:tag name="NUM" val="9"/>
</p:tagLst>
</file>

<file path=ppt/tags/tag51.xml><?xml version="1.0" encoding="utf-8"?>
<p:tagLst xmlns:a="http://schemas.openxmlformats.org/drawingml/2006/main" xmlns:r="http://schemas.openxmlformats.org/officeDocument/2006/relationships" xmlns:p="http://schemas.openxmlformats.org/presentationml/2006/main">
  <p:tag name="NUM" val="3"/>
</p:tagLst>
</file>

<file path=ppt/tags/tag510.xml><?xml version="1.0" encoding="utf-8"?>
<p:tagLst xmlns:a="http://schemas.openxmlformats.org/drawingml/2006/main" xmlns:r="http://schemas.openxmlformats.org/officeDocument/2006/relationships" xmlns:p="http://schemas.openxmlformats.org/presentationml/2006/main">
  <p:tag name="NUM" val="10"/>
</p:tagLst>
</file>

<file path=ppt/tags/tag511.xml><?xml version="1.0" encoding="utf-8"?>
<p:tagLst xmlns:a="http://schemas.openxmlformats.org/drawingml/2006/main" xmlns:r="http://schemas.openxmlformats.org/officeDocument/2006/relationships" xmlns:p="http://schemas.openxmlformats.org/presentationml/2006/main">
  <p:tag name="NUM" val="1"/>
</p:tagLst>
</file>

<file path=ppt/tags/tag512.xml><?xml version="1.0" encoding="utf-8"?>
<p:tagLst xmlns:a="http://schemas.openxmlformats.org/drawingml/2006/main" xmlns:r="http://schemas.openxmlformats.org/officeDocument/2006/relationships" xmlns:p="http://schemas.openxmlformats.org/presentationml/2006/main">
  <p:tag name="NUM" val="2"/>
</p:tagLst>
</file>

<file path=ppt/tags/tag513.xml><?xml version="1.0" encoding="utf-8"?>
<p:tagLst xmlns:a="http://schemas.openxmlformats.org/drawingml/2006/main" xmlns:r="http://schemas.openxmlformats.org/officeDocument/2006/relationships" xmlns:p="http://schemas.openxmlformats.org/presentationml/2006/main">
  <p:tag name="NUM" val="3"/>
</p:tagLst>
</file>

<file path=ppt/tags/tag514.xml><?xml version="1.0" encoding="utf-8"?>
<p:tagLst xmlns:a="http://schemas.openxmlformats.org/drawingml/2006/main" xmlns:r="http://schemas.openxmlformats.org/officeDocument/2006/relationships" xmlns:p="http://schemas.openxmlformats.org/presentationml/2006/main">
  <p:tag name="NUM" val="4"/>
</p:tagLst>
</file>

<file path=ppt/tags/tag515.xml><?xml version="1.0" encoding="utf-8"?>
<p:tagLst xmlns:a="http://schemas.openxmlformats.org/drawingml/2006/main" xmlns:r="http://schemas.openxmlformats.org/officeDocument/2006/relationships" xmlns:p="http://schemas.openxmlformats.org/presentationml/2006/main">
  <p:tag name="NUM" val="5"/>
</p:tagLst>
</file>

<file path=ppt/tags/tag516.xml><?xml version="1.0" encoding="utf-8"?>
<p:tagLst xmlns:a="http://schemas.openxmlformats.org/drawingml/2006/main" xmlns:r="http://schemas.openxmlformats.org/officeDocument/2006/relationships" xmlns:p="http://schemas.openxmlformats.org/presentationml/2006/main">
  <p:tag name="NUM" val="6"/>
</p:tagLst>
</file>

<file path=ppt/tags/tag517.xml><?xml version="1.0" encoding="utf-8"?>
<p:tagLst xmlns:a="http://schemas.openxmlformats.org/drawingml/2006/main" xmlns:r="http://schemas.openxmlformats.org/officeDocument/2006/relationships" xmlns:p="http://schemas.openxmlformats.org/presentationml/2006/main">
  <p:tag name="NUM" val="7"/>
</p:tagLst>
</file>

<file path=ppt/tags/tag518.xml><?xml version="1.0" encoding="utf-8"?>
<p:tagLst xmlns:a="http://schemas.openxmlformats.org/drawingml/2006/main" xmlns:r="http://schemas.openxmlformats.org/officeDocument/2006/relationships" xmlns:p="http://schemas.openxmlformats.org/presentationml/2006/main">
  <p:tag name="NUM" val="8"/>
</p:tagLst>
</file>

<file path=ppt/tags/tag519.xml><?xml version="1.0" encoding="utf-8"?>
<p:tagLst xmlns:a="http://schemas.openxmlformats.org/drawingml/2006/main" xmlns:r="http://schemas.openxmlformats.org/officeDocument/2006/relationships" xmlns:p="http://schemas.openxmlformats.org/presentationml/2006/main">
  <p:tag name="NUM" val="9"/>
</p:tagLst>
</file>

<file path=ppt/tags/tag52.xml><?xml version="1.0" encoding="utf-8"?>
<p:tagLst xmlns:a="http://schemas.openxmlformats.org/drawingml/2006/main" xmlns:r="http://schemas.openxmlformats.org/officeDocument/2006/relationships" xmlns:p="http://schemas.openxmlformats.org/presentationml/2006/main">
  <p:tag name="NUM" val="4"/>
</p:tagLst>
</file>

<file path=ppt/tags/tag520.xml><?xml version="1.0" encoding="utf-8"?>
<p:tagLst xmlns:a="http://schemas.openxmlformats.org/drawingml/2006/main" xmlns:r="http://schemas.openxmlformats.org/officeDocument/2006/relationships" xmlns:p="http://schemas.openxmlformats.org/presentationml/2006/main">
  <p:tag name="NUM" val="10"/>
</p:tagLst>
</file>

<file path=ppt/tags/tag521.xml><?xml version="1.0" encoding="utf-8"?>
<p:tagLst xmlns:a="http://schemas.openxmlformats.org/drawingml/2006/main" xmlns:r="http://schemas.openxmlformats.org/officeDocument/2006/relationships" xmlns:p="http://schemas.openxmlformats.org/presentationml/2006/main">
  <p:tag name="NUM" val="11"/>
</p:tagLst>
</file>

<file path=ppt/tags/tag522.xml><?xml version="1.0" encoding="utf-8"?>
<p:tagLst xmlns:a="http://schemas.openxmlformats.org/drawingml/2006/main" xmlns:r="http://schemas.openxmlformats.org/officeDocument/2006/relationships" xmlns:p="http://schemas.openxmlformats.org/presentationml/2006/main">
  <p:tag name="NUM" val="12"/>
</p:tagLst>
</file>

<file path=ppt/tags/tag523.xml><?xml version="1.0" encoding="utf-8"?>
<p:tagLst xmlns:a="http://schemas.openxmlformats.org/drawingml/2006/main" xmlns:r="http://schemas.openxmlformats.org/officeDocument/2006/relationships" xmlns:p="http://schemas.openxmlformats.org/presentationml/2006/main">
  <p:tag name="NUM" val="13"/>
</p:tagLst>
</file>

<file path=ppt/tags/tag524.xml><?xml version="1.0" encoding="utf-8"?>
<p:tagLst xmlns:a="http://schemas.openxmlformats.org/drawingml/2006/main" xmlns:r="http://schemas.openxmlformats.org/officeDocument/2006/relationships" xmlns:p="http://schemas.openxmlformats.org/presentationml/2006/main">
  <p:tag name="NUM" val="14"/>
</p:tagLst>
</file>

<file path=ppt/tags/tag525.xml><?xml version="1.0" encoding="utf-8"?>
<p:tagLst xmlns:a="http://schemas.openxmlformats.org/drawingml/2006/main" xmlns:r="http://schemas.openxmlformats.org/officeDocument/2006/relationships" xmlns:p="http://schemas.openxmlformats.org/presentationml/2006/main">
  <p:tag name="NUM" val="15"/>
</p:tagLst>
</file>

<file path=ppt/tags/tag526.xml><?xml version="1.0" encoding="utf-8"?>
<p:tagLst xmlns:a="http://schemas.openxmlformats.org/drawingml/2006/main" xmlns:r="http://schemas.openxmlformats.org/officeDocument/2006/relationships" xmlns:p="http://schemas.openxmlformats.org/presentationml/2006/main">
  <p:tag name="NUM" val="16"/>
</p:tagLst>
</file>

<file path=ppt/tags/tag527.xml><?xml version="1.0" encoding="utf-8"?>
<p:tagLst xmlns:a="http://schemas.openxmlformats.org/drawingml/2006/main" xmlns:r="http://schemas.openxmlformats.org/officeDocument/2006/relationships" xmlns:p="http://schemas.openxmlformats.org/presentationml/2006/main">
  <p:tag name="NUM" val="17"/>
</p:tagLst>
</file>

<file path=ppt/tags/tag528.xml><?xml version="1.0" encoding="utf-8"?>
<p:tagLst xmlns:a="http://schemas.openxmlformats.org/drawingml/2006/main" xmlns:r="http://schemas.openxmlformats.org/officeDocument/2006/relationships" xmlns:p="http://schemas.openxmlformats.org/presentationml/2006/main">
  <p:tag name="NUM" val="18"/>
</p:tagLst>
</file>

<file path=ppt/tags/tag529.xml><?xml version="1.0" encoding="utf-8"?>
<p:tagLst xmlns:a="http://schemas.openxmlformats.org/drawingml/2006/main" xmlns:r="http://schemas.openxmlformats.org/officeDocument/2006/relationships" xmlns:p="http://schemas.openxmlformats.org/presentationml/2006/main">
  <p:tag name="NUM" val="19"/>
</p:tagLst>
</file>

<file path=ppt/tags/tag53.xml><?xml version="1.0" encoding="utf-8"?>
<p:tagLst xmlns:a="http://schemas.openxmlformats.org/drawingml/2006/main" xmlns:r="http://schemas.openxmlformats.org/officeDocument/2006/relationships" xmlns:p="http://schemas.openxmlformats.org/presentationml/2006/main">
  <p:tag name="NUM" val="5"/>
</p:tagLst>
</file>

<file path=ppt/tags/tag530.xml><?xml version="1.0" encoding="utf-8"?>
<p:tagLst xmlns:a="http://schemas.openxmlformats.org/drawingml/2006/main" xmlns:r="http://schemas.openxmlformats.org/officeDocument/2006/relationships" xmlns:p="http://schemas.openxmlformats.org/presentationml/2006/main">
  <p:tag name="NUM" val="1"/>
</p:tagLst>
</file>

<file path=ppt/tags/tag531.xml><?xml version="1.0" encoding="utf-8"?>
<p:tagLst xmlns:a="http://schemas.openxmlformats.org/drawingml/2006/main" xmlns:r="http://schemas.openxmlformats.org/officeDocument/2006/relationships" xmlns:p="http://schemas.openxmlformats.org/presentationml/2006/main">
  <p:tag name="NUM" val="2"/>
</p:tagLst>
</file>

<file path=ppt/tags/tag532.xml><?xml version="1.0" encoding="utf-8"?>
<p:tagLst xmlns:a="http://schemas.openxmlformats.org/drawingml/2006/main" xmlns:r="http://schemas.openxmlformats.org/officeDocument/2006/relationships" xmlns:p="http://schemas.openxmlformats.org/presentationml/2006/main">
  <p:tag name="NUM" val="3"/>
</p:tagLst>
</file>

<file path=ppt/tags/tag533.xml><?xml version="1.0" encoding="utf-8"?>
<p:tagLst xmlns:a="http://schemas.openxmlformats.org/drawingml/2006/main" xmlns:r="http://schemas.openxmlformats.org/officeDocument/2006/relationships" xmlns:p="http://schemas.openxmlformats.org/presentationml/2006/main">
  <p:tag name="NUM" val="4"/>
</p:tagLst>
</file>

<file path=ppt/tags/tag534.xml><?xml version="1.0" encoding="utf-8"?>
<p:tagLst xmlns:a="http://schemas.openxmlformats.org/drawingml/2006/main" xmlns:r="http://schemas.openxmlformats.org/officeDocument/2006/relationships" xmlns:p="http://schemas.openxmlformats.org/presentationml/2006/main">
  <p:tag name="NUM" val="5"/>
</p:tagLst>
</file>

<file path=ppt/tags/tag535.xml><?xml version="1.0" encoding="utf-8"?>
<p:tagLst xmlns:a="http://schemas.openxmlformats.org/drawingml/2006/main" xmlns:r="http://schemas.openxmlformats.org/officeDocument/2006/relationships" xmlns:p="http://schemas.openxmlformats.org/presentationml/2006/main">
  <p:tag name="NUM" val="6"/>
</p:tagLst>
</file>

<file path=ppt/tags/tag536.xml><?xml version="1.0" encoding="utf-8"?>
<p:tagLst xmlns:a="http://schemas.openxmlformats.org/drawingml/2006/main" xmlns:r="http://schemas.openxmlformats.org/officeDocument/2006/relationships" xmlns:p="http://schemas.openxmlformats.org/presentationml/2006/main">
  <p:tag name="NUM" val="7"/>
</p:tagLst>
</file>

<file path=ppt/tags/tag537.xml><?xml version="1.0" encoding="utf-8"?>
<p:tagLst xmlns:a="http://schemas.openxmlformats.org/drawingml/2006/main" xmlns:r="http://schemas.openxmlformats.org/officeDocument/2006/relationships" xmlns:p="http://schemas.openxmlformats.org/presentationml/2006/main">
  <p:tag name="NUM" val="8"/>
</p:tagLst>
</file>

<file path=ppt/tags/tag538.xml><?xml version="1.0" encoding="utf-8"?>
<p:tagLst xmlns:a="http://schemas.openxmlformats.org/drawingml/2006/main" xmlns:r="http://schemas.openxmlformats.org/officeDocument/2006/relationships" xmlns:p="http://schemas.openxmlformats.org/presentationml/2006/main">
  <p:tag name="NUM" val="1"/>
</p:tagLst>
</file>

<file path=ppt/tags/tag539.xml><?xml version="1.0" encoding="utf-8"?>
<p:tagLst xmlns:a="http://schemas.openxmlformats.org/drawingml/2006/main" xmlns:r="http://schemas.openxmlformats.org/officeDocument/2006/relationships" xmlns:p="http://schemas.openxmlformats.org/presentationml/2006/main">
  <p:tag name="NUM" val="2"/>
</p:tagLst>
</file>

<file path=ppt/tags/tag54.xml><?xml version="1.0" encoding="utf-8"?>
<p:tagLst xmlns:a="http://schemas.openxmlformats.org/drawingml/2006/main" xmlns:r="http://schemas.openxmlformats.org/officeDocument/2006/relationships" xmlns:p="http://schemas.openxmlformats.org/presentationml/2006/main">
  <p:tag name="NUM" val="6"/>
</p:tagLst>
</file>

<file path=ppt/tags/tag540.xml><?xml version="1.0" encoding="utf-8"?>
<p:tagLst xmlns:a="http://schemas.openxmlformats.org/drawingml/2006/main" xmlns:r="http://schemas.openxmlformats.org/officeDocument/2006/relationships" xmlns:p="http://schemas.openxmlformats.org/presentationml/2006/main">
  <p:tag name="NUM" val="3"/>
</p:tagLst>
</file>

<file path=ppt/tags/tag541.xml><?xml version="1.0" encoding="utf-8"?>
<p:tagLst xmlns:a="http://schemas.openxmlformats.org/drawingml/2006/main" xmlns:r="http://schemas.openxmlformats.org/officeDocument/2006/relationships" xmlns:p="http://schemas.openxmlformats.org/presentationml/2006/main">
  <p:tag name="NUM" val="4"/>
</p:tagLst>
</file>

<file path=ppt/tags/tag542.xml><?xml version="1.0" encoding="utf-8"?>
<p:tagLst xmlns:a="http://schemas.openxmlformats.org/drawingml/2006/main" xmlns:r="http://schemas.openxmlformats.org/officeDocument/2006/relationships" xmlns:p="http://schemas.openxmlformats.org/presentationml/2006/main">
  <p:tag name="NUM" val="5"/>
</p:tagLst>
</file>

<file path=ppt/tags/tag543.xml><?xml version="1.0" encoding="utf-8"?>
<p:tagLst xmlns:a="http://schemas.openxmlformats.org/drawingml/2006/main" xmlns:r="http://schemas.openxmlformats.org/officeDocument/2006/relationships" xmlns:p="http://schemas.openxmlformats.org/presentationml/2006/main">
  <p:tag name="NUM" val="6"/>
</p:tagLst>
</file>

<file path=ppt/tags/tag544.xml><?xml version="1.0" encoding="utf-8"?>
<p:tagLst xmlns:a="http://schemas.openxmlformats.org/drawingml/2006/main" xmlns:r="http://schemas.openxmlformats.org/officeDocument/2006/relationships" xmlns:p="http://schemas.openxmlformats.org/presentationml/2006/main">
  <p:tag name="NUM" val="7"/>
</p:tagLst>
</file>

<file path=ppt/tags/tag545.xml><?xml version="1.0" encoding="utf-8"?>
<p:tagLst xmlns:a="http://schemas.openxmlformats.org/drawingml/2006/main" xmlns:r="http://schemas.openxmlformats.org/officeDocument/2006/relationships" xmlns:p="http://schemas.openxmlformats.org/presentationml/2006/main">
  <p:tag name="NUM" val="8"/>
</p:tagLst>
</file>

<file path=ppt/tags/tag546.xml><?xml version="1.0" encoding="utf-8"?>
<p:tagLst xmlns:a="http://schemas.openxmlformats.org/drawingml/2006/main" xmlns:r="http://schemas.openxmlformats.org/officeDocument/2006/relationships" xmlns:p="http://schemas.openxmlformats.org/presentationml/2006/main">
  <p:tag name="NUM" val="9"/>
</p:tagLst>
</file>

<file path=ppt/tags/tag547.xml><?xml version="1.0" encoding="utf-8"?>
<p:tagLst xmlns:a="http://schemas.openxmlformats.org/drawingml/2006/main" xmlns:r="http://schemas.openxmlformats.org/officeDocument/2006/relationships" xmlns:p="http://schemas.openxmlformats.org/presentationml/2006/main">
  <p:tag name="NUM" val="10"/>
</p:tagLst>
</file>

<file path=ppt/tags/tag548.xml><?xml version="1.0" encoding="utf-8"?>
<p:tagLst xmlns:a="http://schemas.openxmlformats.org/drawingml/2006/main" xmlns:r="http://schemas.openxmlformats.org/officeDocument/2006/relationships" xmlns:p="http://schemas.openxmlformats.org/presentationml/2006/main">
  <p:tag name="NUM" val="11"/>
</p:tagLst>
</file>

<file path=ppt/tags/tag549.xml><?xml version="1.0" encoding="utf-8"?>
<p:tagLst xmlns:a="http://schemas.openxmlformats.org/drawingml/2006/main" xmlns:r="http://schemas.openxmlformats.org/officeDocument/2006/relationships" xmlns:p="http://schemas.openxmlformats.org/presentationml/2006/main">
  <p:tag name="NUM" val="12"/>
</p:tagLst>
</file>

<file path=ppt/tags/tag55.xml><?xml version="1.0" encoding="utf-8"?>
<p:tagLst xmlns:a="http://schemas.openxmlformats.org/drawingml/2006/main" xmlns:r="http://schemas.openxmlformats.org/officeDocument/2006/relationships" xmlns:p="http://schemas.openxmlformats.org/presentationml/2006/main">
  <p:tag name="NUM" val="7"/>
</p:tagLst>
</file>

<file path=ppt/tags/tag550.xml><?xml version="1.0" encoding="utf-8"?>
<p:tagLst xmlns:a="http://schemas.openxmlformats.org/drawingml/2006/main" xmlns:r="http://schemas.openxmlformats.org/officeDocument/2006/relationships" xmlns:p="http://schemas.openxmlformats.org/presentationml/2006/main">
  <p:tag name="NUM" val="13"/>
</p:tagLst>
</file>

<file path=ppt/tags/tag551.xml><?xml version="1.0" encoding="utf-8"?>
<p:tagLst xmlns:a="http://schemas.openxmlformats.org/drawingml/2006/main" xmlns:r="http://schemas.openxmlformats.org/officeDocument/2006/relationships" xmlns:p="http://schemas.openxmlformats.org/presentationml/2006/main">
  <p:tag name="NUM" val="14"/>
</p:tagLst>
</file>

<file path=ppt/tags/tag552.xml><?xml version="1.0" encoding="utf-8"?>
<p:tagLst xmlns:a="http://schemas.openxmlformats.org/drawingml/2006/main" xmlns:r="http://schemas.openxmlformats.org/officeDocument/2006/relationships" xmlns:p="http://schemas.openxmlformats.org/presentationml/2006/main">
  <p:tag name="NUM" val="1"/>
</p:tagLst>
</file>

<file path=ppt/tags/tag553.xml><?xml version="1.0" encoding="utf-8"?>
<p:tagLst xmlns:a="http://schemas.openxmlformats.org/drawingml/2006/main" xmlns:r="http://schemas.openxmlformats.org/officeDocument/2006/relationships" xmlns:p="http://schemas.openxmlformats.org/presentationml/2006/main">
  <p:tag name="NUM" val="2"/>
</p:tagLst>
</file>

<file path=ppt/tags/tag554.xml><?xml version="1.0" encoding="utf-8"?>
<p:tagLst xmlns:a="http://schemas.openxmlformats.org/drawingml/2006/main" xmlns:r="http://schemas.openxmlformats.org/officeDocument/2006/relationships" xmlns:p="http://schemas.openxmlformats.org/presentationml/2006/main">
  <p:tag name="NUM" val="3"/>
</p:tagLst>
</file>

<file path=ppt/tags/tag555.xml><?xml version="1.0" encoding="utf-8"?>
<p:tagLst xmlns:a="http://schemas.openxmlformats.org/drawingml/2006/main" xmlns:r="http://schemas.openxmlformats.org/officeDocument/2006/relationships" xmlns:p="http://schemas.openxmlformats.org/presentationml/2006/main">
  <p:tag name="NUM" val="4"/>
</p:tagLst>
</file>

<file path=ppt/tags/tag556.xml><?xml version="1.0" encoding="utf-8"?>
<p:tagLst xmlns:a="http://schemas.openxmlformats.org/drawingml/2006/main" xmlns:r="http://schemas.openxmlformats.org/officeDocument/2006/relationships" xmlns:p="http://schemas.openxmlformats.org/presentationml/2006/main">
  <p:tag name="NUM" val="5"/>
</p:tagLst>
</file>

<file path=ppt/tags/tag557.xml><?xml version="1.0" encoding="utf-8"?>
<p:tagLst xmlns:a="http://schemas.openxmlformats.org/drawingml/2006/main" xmlns:r="http://schemas.openxmlformats.org/officeDocument/2006/relationships" xmlns:p="http://schemas.openxmlformats.org/presentationml/2006/main">
  <p:tag name="NUM" val="6"/>
</p:tagLst>
</file>

<file path=ppt/tags/tag558.xml><?xml version="1.0" encoding="utf-8"?>
<p:tagLst xmlns:a="http://schemas.openxmlformats.org/drawingml/2006/main" xmlns:r="http://schemas.openxmlformats.org/officeDocument/2006/relationships" xmlns:p="http://schemas.openxmlformats.org/presentationml/2006/main">
  <p:tag name="NUM" val="7"/>
</p:tagLst>
</file>

<file path=ppt/tags/tag559.xml><?xml version="1.0" encoding="utf-8"?>
<p:tagLst xmlns:a="http://schemas.openxmlformats.org/drawingml/2006/main" xmlns:r="http://schemas.openxmlformats.org/officeDocument/2006/relationships" xmlns:p="http://schemas.openxmlformats.org/presentationml/2006/main">
  <p:tag name="NUM" val="8"/>
</p:tagLst>
</file>

<file path=ppt/tags/tag56.xml><?xml version="1.0" encoding="utf-8"?>
<p:tagLst xmlns:a="http://schemas.openxmlformats.org/drawingml/2006/main" xmlns:r="http://schemas.openxmlformats.org/officeDocument/2006/relationships" xmlns:p="http://schemas.openxmlformats.org/presentationml/2006/main">
  <p:tag name="NUM" val="8"/>
</p:tagLst>
</file>

<file path=ppt/tags/tag560.xml><?xml version="1.0" encoding="utf-8"?>
<p:tagLst xmlns:a="http://schemas.openxmlformats.org/drawingml/2006/main" xmlns:r="http://schemas.openxmlformats.org/officeDocument/2006/relationships" xmlns:p="http://schemas.openxmlformats.org/presentationml/2006/main">
  <p:tag name="NUM" val="9"/>
</p:tagLst>
</file>

<file path=ppt/tags/tag561.xml><?xml version="1.0" encoding="utf-8"?>
<p:tagLst xmlns:a="http://schemas.openxmlformats.org/drawingml/2006/main" xmlns:r="http://schemas.openxmlformats.org/officeDocument/2006/relationships" xmlns:p="http://schemas.openxmlformats.org/presentationml/2006/main">
  <p:tag name="NUM" val="1"/>
</p:tagLst>
</file>

<file path=ppt/tags/tag562.xml><?xml version="1.0" encoding="utf-8"?>
<p:tagLst xmlns:a="http://schemas.openxmlformats.org/drawingml/2006/main" xmlns:r="http://schemas.openxmlformats.org/officeDocument/2006/relationships" xmlns:p="http://schemas.openxmlformats.org/presentationml/2006/main">
  <p:tag name="NUM" val="2"/>
</p:tagLst>
</file>

<file path=ppt/tags/tag563.xml><?xml version="1.0" encoding="utf-8"?>
<p:tagLst xmlns:a="http://schemas.openxmlformats.org/drawingml/2006/main" xmlns:r="http://schemas.openxmlformats.org/officeDocument/2006/relationships" xmlns:p="http://schemas.openxmlformats.org/presentationml/2006/main">
  <p:tag name="NUM" val="3"/>
</p:tagLst>
</file>

<file path=ppt/tags/tag564.xml><?xml version="1.0" encoding="utf-8"?>
<p:tagLst xmlns:a="http://schemas.openxmlformats.org/drawingml/2006/main" xmlns:r="http://schemas.openxmlformats.org/officeDocument/2006/relationships" xmlns:p="http://schemas.openxmlformats.org/presentationml/2006/main">
  <p:tag name="NUM" val="4"/>
</p:tagLst>
</file>

<file path=ppt/tags/tag565.xml><?xml version="1.0" encoding="utf-8"?>
<p:tagLst xmlns:a="http://schemas.openxmlformats.org/drawingml/2006/main" xmlns:r="http://schemas.openxmlformats.org/officeDocument/2006/relationships" xmlns:p="http://schemas.openxmlformats.org/presentationml/2006/main">
  <p:tag name="NUM" val="5"/>
</p:tagLst>
</file>

<file path=ppt/tags/tag566.xml><?xml version="1.0" encoding="utf-8"?>
<p:tagLst xmlns:a="http://schemas.openxmlformats.org/drawingml/2006/main" xmlns:r="http://schemas.openxmlformats.org/officeDocument/2006/relationships" xmlns:p="http://schemas.openxmlformats.org/presentationml/2006/main">
  <p:tag name="NUM" val="6"/>
</p:tagLst>
</file>

<file path=ppt/tags/tag567.xml><?xml version="1.0" encoding="utf-8"?>
<p:tagLst xmlns:a="http://schemas.openxmlformats.org/drawingml/2006/main" xmlns:r="http://schemas.openxmlformats.org/officeDocument/2006/relationships" xmlns:p="http://schemas.openxmlformats.org/presentationml/2006/main">
  <p:tag name="NUM" val="7"/>
</p:tagLst>
</file>

<file path=ppt/tags/tag568.xml><?xml version="1.0" encoding="utf-8"?>
<p:tagLst xmlns:a="http://schemas.openxmlformats.org/drawingml/2006/main" xmlns:r="http://schemas.openxmlformats.org/officeDocument/2006/relationships" xmlns:p="http://schemas.openxmlformats.org/presentationml/2006/main">
  <p:tag name="NUM" val="8"/>
</p:tagLst>
</file>

<file path=ppt/tags/tag569.xml><?xml version="1.0" encoding="utf-8"?>
<p:tagLst xmlns:a="http://schemas.openxmlformats.org/drawingml/2006/main" xmlns:r="http://schemas.openxmlformats.org/officeDocument/2006/relationships" xmlns:p="http://schemas.openxmlformats.org/presentationml/2006/main">
  <p:tag name="NUM" val="9"/>
</p:tagLst>
</file>

<file path=ppt/tags/tag57.xml><?xml version="1.0" encoding="utf-8"?>
<p:tagLst xmlns:a="http://schemas.openxmlformats.org/drawingml/2006/main" xmlns:r="http://schemas.openxmlformats.org/officeDocument/2006/relationships" xmlns:p="http://schemas.openxmlformats.org/presentationml/2006/main">
  <p:tag name="NUM" val="9"/>
</p:tagLst>
</file>

<file path=ppt/tags/tag570.xml><?xml version="1.0" encoding="utf-8"?>
<p:tagLst xmlns:a="http://schemas.openxmlformats.org/drawingml/2006/main" xmlns:r="http://schemas.openxmlformats.org/officeDocument/2006/relationships" xmlns:p="http://schemas.openxmlformats.org/presentationml/2006/main">
  <p:tag name="NUM" val="10"/>
</p:tagLst>
</file>

<file path=ppt/tags/tag571.xml><?xml version="1.0" encoding="utf-8"?>
<p:tagLst xmlns:a="http://schemas.openxmlformats.org/drawingml/2006/main" xmlns:r="http://schemas.openxmlformats.org/officeDocument/2006/relationships" xmlns:p="http://schemas.openxmlformats.org/presentationml/2006/main">
  <p:tag name="NUM" val="11"/>
</p:tagLst>
</file>

<file path=ppt/tags/tag572.xml><?xml version="1.0" encoding="utf-8"?>
<p:tagLst xmlns:a="http://schemas.openxmlformats.org/drawingml/2006/main" xmlns:r="http://schemas.openxmlformats.org/officeDocument/2006/relationships" xmlns:p="http://schemas.openxmlformats.org/presentationml/2006/main">
  <p:tag name="NUM" val="12"/>
</p:tagLst>
</file>

<file path=ppt/tags/tag573.xml><?xml version="1.0" encoding="utf-8"?>
<p:tagLst xmlns:a="http://schemas.openxmlformats.org/drawingml/2006/main" xmlns:r="http://schemas.openxmlformats.org/officeDocument/2006/relationships" xmlns:p="http://schemas.openxmlformats.org/presentationml/2006/main">
  <p:tag name="NUM" val="13"/>
</p:tagLst>
</file>

<file path=ppt/tags/tag574.xml><?xml version="1.0" encoding="utf-8"?>
<p:tagLst xmlns:a="http://schemas.openxmlformats.org/drawingml/2006/main" xmlns:r="http://schemas.openxmlformats.org/officeDocument/2006/relationships" xmlns:p="http://schemas.openxmlformats.org/presentationml/2006/main">
  <p:tag name="NUM" val="14"/>
</p:tagLst>
</file>

<file path=ppt/tags/tag575.xml><?xml version="1.0" encoding="utf-8"?>
<p:tagLst xmlns:a="http://schemas.openxmlformats.org/drawingml/2006/main" xmlns:r="http://schemas.openxmlformats.org/officeDocument/2006/relationships" xmlns:p="http://schemas.openxmlformats.org/presentationml/2006/main">
  <p:tag name="NUM" val="1"/>
</p:tagLst>
</file>

<file path=ppt/tags/tag576.xml><?xml version="1.0" encoding="utf-8"?>
<p:tagLst xmlns:a="http://schemas.openxmlformats.org/drawingml/2006/main" xmlns:r="http://schemas.openxmlformats.org/officeDocument/2006/relationships" xmlns:p="http://schemas.openxmlformats.org/presentationml/2006/main">
  <p:tag name="NUM" val="2"/>
</p:tagLst>
</file>

<file path=ppt/tags/tag577.xml><?xml version="1.0" encoding="utf-8"?>
<p:tagLst xmlns:a="http://schemas.openxmlformats.org/drawingml/2006/main" xmlns:r="http://schemas.openxmlformats.org/officeDocument/2006/relationships" xmlns:p="http://schemas.openxmlformats.org/presentationml/2006/main">
  <p:tag name="NUM" val="3"/>
</p:tagLst>
</file>

<file path=ppt/tags/tag578.xml><?xml version="1.0" encoding="utf-8"?>
<p:tagLst xmlns:a="http://schemas.openxmlformats.org/drawingml/2006/main" xmlns:r="http://schemas.openxmlformats.org/officeDocument/2006/relationships" xmlns:p="http://schemas.openxmlformats.org/presentationml/2006/main">
  <p:tag name="NUM" val="4"/>
</p:tagLst>
</file>

<file path=ppt/tags/tag579.xml><?xml version="1.0" encoding="utf-8"?>
<p:tagLst xmlns:a="http://schemas.openxmlformats.org/drawingml/2006/main" xmlns:r="http://schemas.openxmlformats.org/officeDocument/2006/relationships" xmlns:p="http://schemas.openxmlformats.org/presentationml/2006/main">
  <p:tag name="NUM" val="5"/>
</p:tagLst>
</file>

<file path=ppt/tags/tag58.xml><?xml version="1.0" encoding="utf-8"?>
<p:tagLst xmlns:a="http://schemas.openxmlformats.org/drawingml/2006/main" xmlns:r="http://schemas.openxmlformats.org/officeDocument/2006/relationships" xmlns:p="http://schemas.openxmlformats.org/presentationml/2006/main">
  <p:tag name="NUM" val="10"/>
</p:tagLst>
</file>

<file path=ppt/tags/tag580.xml><?xml version="1.0" encoding="utf-8"?>
<p:tagLst xmlns:a="http://schemas.openxmlformats.org/drawingml/2006/main" xmlns:r="http://schemas.openxmlformats.org/officeDocument/2006/relationships" xmlns:p="http://schemas.openxmlformats.org/presentationml/2006/main">
  <p:tag name="NUM" val="6"/>
</p:tagLst>
</file>

<file path=ppt/tags/tag581.xml><?xml version="1.0" encoding="utf-8"?>
<p:tagLst xmlns:a="http://schemas.openxmlformats.org/drawingml/2006/main" xmlns:r="http://schemas.openxmlformats.org/officeDocument/2006/relationships" xmlns:p="http://schemas.openxmlformats.org/presentationml/2006/main">
  <p:tag name="NUM" val="7"/>
</p:tagLst>
</file>

<file path=ppt/tags/tag582.xml><?xml version="1.0" encoding="utf-8"?>
<p:tagLst xmlns:a="http://schemas.openxmlformats.org/drawingml/2006/main" xmlns:r="http://schemas.openxmlformats.org/officeDocument/2006/relationships" xmlns:p="http://schemas.openxmlformats.org/presentationml/2006/main">
  <p:tag name="NUM" val="8"/>
</p:tagLst>
</file>

<file path=ppt/tags/tag583.xml><?xml version="1.0" encoding="utf-8"?>
<p:tagLst xmlns:a="http://schemas.openxmlformats.org/drawingml/2006/main" xmlns:r="http://schemas.openxmlformats.org/officeDocument/2006/relationships" xmlns:p="http://schemas.openxmlformats.org/presentationml/2006/main">
  <p:tag name="NUM" val="9"/>
</p:tagLst>
</file>

<file path=ppt/tags/tag584.xml><?xml version="1.0" encoding="utf-8"?>
<p:tagLst xmlns:a="http://schemas.openxmlformats.org/drawingml/2006/main" xmlns:r="http://schemas.openxmlformats.org/officeDocument/2006/relationships" xmlns:p="http://schemas.openxmlformats.org/presentationml/2006/main">
  <p:tag name="NUM" val="1"/>
</p:tagLst>
</file>

<file path=ppt/tags/tag585.xml><?xml version="1.0" encoding="utf-8"?>
<p:tagLst xmlns:a="http://schemas.openxmlformats.org/drawingml/2006/main" xmlns:r="http://schemas.openxmlformats.org/officeDocument/2006/relationships" xmlns:p="http://schemas.openxmlformats.org/presentationml/2006/main">
  <p:tag name="NUM" val="2"/>
</p:tagLst>
</file>

<file path=ppt/tags/tag586.xml><?xml version="1.0" encoding="utf-8"?>
<p:tagLst xmlns:a="http://schemas.openxmlformats.org/drawingml/2006/main" xmlns:r="http://schemas.openxmlformats.org/officeDocument/2006/relationships" xmlns:p="http://schemas.openxmlformats.org/presentationml/2006/main">
  <p:tag name="NUM" val="3"/>
</p:tagLst>
</file>

<file path=ppt/tags/tag587.xml><?xml version="1.0" encoding="utf-8"?>
<p:tagLst xmlns:a="http://schemas.openxmlformats.org/drawingml/2006/main" xmlns:r="http://schemas.openxmlformats.org/officeDocument/2006/relationships" xmlns:p="http://schemas.openxmlformats.org/presentationml/2006/main">
  <p:tag name="NUM" val="4"/>
</p:tagLst>
</file>

<file path=ppt/tags/tag588.xml><?xml version="1.0" encoding="utf-8"?>
<p:tagLst xmlns:a="http://schemas.openxmlformats.org/drawingml/2006/main" xmlns:r="http://schemas.openxmlformats.org/officeDocument/2006/relationships" xmlns:p="http://schemas.openxmlformats.org/presentationml/2006/main">
  <p:tag name="NUM" val="5"/>
</p:tagLst>
</file>

<file path=ppt/tags/tag589.xml><?xml version="1.0" encoding="utf-8"?>
<p:tagLst xmlns:a="http://schemas.openxmlformats.org/drawingml/2006/main" xmlns:r="http://schemas.openxmlformats.org/officeDocument/2006/relationships" xmlns:p="http://schemas.openxmlformats.org/presentationml/2006/main">
  <p:tag name="NUM" val="6"/>
</p:tagLst>
</file>

<file path=ppt/tags/tag59.xml><?xml version="1.0" encoding="utf-8"?>
<p:tagLst xmlns:a="http://schemas.openxmlformats.org/drawingml/2006/main" xmlns:r="http://schemas.openxmlformats.org/officeDocument/2006/relationships" xmlns:p="http://schemas.openxmlformats.org/presentationml/2006/main">
  <p:tag name="NUM" val="11"/>
</p:tagLst>
</file>

<file path=ppt/tags/tag590.xml><?xml version="1.0" encoding="utf-8"?>
<p:tagLst xmlns:a="http://schemas.openxmlformats.org/drawingml/2006/main" xmlns:r="http://schemas.openxmlformats.org/officeDocument/2006/relationships" xmlns:p="http://schemas.openxmlformats.org/presentationml/2006/main">
  <p:tag name="NUM" val="7"/>
</p:tagLst>
</file>

<file path=ppt/tags/tag591.xml><?xml version="1.0" encoding="utf-8"?>
<p:tagLst xmlns:a="http://schemas.openxmlformats.org/drawingml/2006/main" xmlns:r="http://schemas.openxmlformats.org/officeDocument/2006/relationships" xmlns:p="http://schemas.openxmlformats.org/presentationml/2006/main">
  <p:tag name="NUM" val="8"/>
</p:tagLst>
</file>

<file path=ppt/tags/tag592.xml><?xml version="1.0" encoding="utf-8"?>
<p:tagLst xmlns:a="http://schemas.openxmlformats.org/drawingml/2006/main" xmlns:r="http://schemas.openxmlformats.org/officeDocument/2006/relationships" xmlns:p="http://schemas.openxmlformats.org/presentationml/2006/main">
  <p:tag name="NUM" val="9"/>
</p:tagLst>
</file>

<file path=ppt/tags/tag593.xml><?xml version="1.0" encoding="utf-8"?>
<p:tagLst xmlns:a="http://schemas.openxmlformats.org/drawingml/2006/main" xmlns:r="http://schemas.openxmlformats.org/officeDocument/2006/relationships" xmlns:p="http://schemas.openxmlformats.org/presentationml/2006/main">
  <p:tag name="NUM" val="10"/>
</p:tagLst>
</file>

<file path=ppt/tags/tag594.xml><?xml version="1.0" encoding="utf-8"?>
<p:tagLst xmlns:a="http://schemas.openxmlformats.org/drawingml/2006/main" xmlns:r="http://schemas.openxmlformats.org/officeDocument/2006/relationships" xmlns:p="http://schemas.openxmlformats.org/presentationml/2006/main">
  <p:tag name="NUM" val="11"/>
</p:tagLst>
</file>

<file path=ppt/tags/tag595.xml><?xml version="1.0" encoding="utf-8"?>
<p:tagLst xmlns:a="http://schemas.openxmlformats.org/drawingml/2006/main" xmlns:r="http://schemas.openxmlformats.org/officeDocument/2006/relationships" xmlns:p="http://schemas.openxmlformats.org/presentationml/2006/main">
  <p:tag name="NUM" val="12"/>
</p:tagLst>
</file>

<file path=ppt/tags/tag596.xml><?xml version="1.0" encoding="utf-8"?>
<p:tagLst xmlns:a="http://schemas.openxmlformats.org/drawingml/2006/main" xmlns:r="http://schemas.openxmlformats.org/officeDocument/2006/relationships" xmlns:p="http://schemas.openxmlformats.org/presentationml/2006/main">
  <p:tag name="NUM" val="13"/>
</p:tagLst>
</file>

<file path=ppt/tags/tag597.xml><?xml version="1.0" encoding="utf-8"?>
<p:tagLst xmlns:a="http://schemas.openxmlformats.org/drawingml/2006/main" xmlns:r="http://schemas.openxmlformats.org/officeDocument/2006/relationships" xmlns:p="http://schemas.openxmlformats.org/presentationml/2006/main">
  <p:tag name="NUM" val="14"/>
</p:tagLst>
</file>

<file path=ppt/tags/tag598.xml><?xml version="1.0" encoding="utf-8"?>
<p:tagLst xmlns:a="http://schemas.openxmlformats.org/drawingml/2006/main" xmlns:r="http://schemas.openxmlformats.org/officeDocument/2006/relationships" xmlns:p="http://schemas.openxmlformats.org/presentationml/2006/main">
  <p:tag name="NUM" val="15"/>
</p:tagLst>
</file>

<file path=ppt/tags/tag599.xml><?xml version="1.0" encoding="utf-8"?>
<p:tagLst xmlns:a="http://schemas.openxmlformats.org/drawingml/2006/main" xmlns:r="http://schemas.openxmlformats.org/officeDocument/2006/relationships" xmlns:p="http://schemas.openxmlformats.org/presentationml/2006/main">
  <p:tag name="NUM" val="1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12"/>
</p:tagLst>
</file>

<file path=ppt/tags/tag600.xml><?xml version="1.0" encoding="utf-8"?>
<p:tagLst xmlns:a="http://schemas.openxmlformats.org/drawingml/2006/main" xmlns:r="http://schemas.openxmlformats.org/officeDocument/2006/relationships" xmlns:p="http://schemas.openxmlformats.org/presentationml/2006/main">
  <p:tag name="NUM" val="17"/>
</p:tagLst>
</file>

<file path=ppt/tags/tag601.xml><?xml version="1.0" encoding="utf-8"?>
<p:tagLst xmlns:a="http://schemas.openxmlformats.org/drawingml/2006/main" xmlns:r="http://schemas.openxmlformats.org/officeDocument/2006/relationships" xmlns:p="http://schemas.openxmlformats.org/presentationml/2006/main">
  <p:tag name="NUM" val="18"/>
</p:tagLst>
</file>

<file path=ppt/tags/tag602.xml><?xml version="1.0" encoding="utf-8"?>
<p:tagLst xmlns:a="http://schemas.openxmlformats.org/drawingml/2006/main" xmlns:r="http://schemas.openxmlformats.org/officeDocument/2006/relationships" xmlns:p="http://schemas.openxmlformats.org/presentationml/2006/main">
  <p:tag name="NUM" val="19"/>
</p:tagLst>
</file>

<file path=ppt/tags/tag603.xml><?xml version="1.0" encoding="utf-8"?>
<p:tagLst xmlns:a="http://schemas.openxmlformats.org/drawingml/2006/main" xmlns:r="http://schemas.openxmlformats.org/officeDocument/2006/relationships" xmlns:p="http://schemas.openxmlformats.org/presentationml/2006/main">
  <p:tag name="NUM" val="20"/>
</p:tagLst>
</file>

<file path=ppt/tags/tag604.xml><?xml version="1.0" encoding="utf-8"?>
<p:tagLst xmlns:a="http://schemas.openxmlformats.org/drawingml/2006/main" xmlns:r="http://schemas.openxmlformats.org/officeDocument/2006/relationships" xmlns:p="http://schemas.openxmlformats.org/presentationml/2006/main">
  <p:tag name="NUM" val="1"/>
</p:tagLst>
</file>

<file path=ppt/tags/tag605.xml><?xml version="1.0" encoding="utf-8"?>
<p:tagLst xmlns:a="http://schemas.openxmlformats.org/drawingml/2006/main" xmlns:r="http://schemas.openxmlformats.org/officeDocument/2006/relationships" xmlns:p="http://schemas.openxmlformats.org/presentationml/2006/main">
  <p:tag name="NUM" val="2"/>
</p:tagLst>
</file>

<file path=ppt/tags/tag606.xml><?xml version="1.0" encoding="utf-8"?>
<p:tagLst xmlns:a="http://schemas.openxmlformats.org/drawingml/2006/main" xmlns:r="http://schemas.openxmlformats.org/officeDocument/2006/relationships" xmlns:p="http://schemas.openxmlformats.org/presentationml/2006/main">
  <p:tag name="NUM" val="3"/>
</p:tagLst>
</file>

<file path=ppt/tags/tag607.xml><?xml version="1.0" encoding="utf-8"?>
<p:tagLst xmlns:a="http://schemas.openxmlformats.org/drawingml/2006/main" xmlns:r="http://schemas.openxmlformats.org/officeDocument/2006/relationships" xmlns:p="http://schemas.openxmlformats.org/presentationml/2006/main">
  <p:tag name="NUM" val="4"/>
</p:tagLst>
</file>

<file path=ppt/tags/tag608.xml><?xml version="1.0" encoding="utf-8"?>
<p:tagLst xmlns:a="http://schemas.openxmlformats.org/drawingml/2006/main" xmlns:r="http://schemas.openxmlformats.org/officeDocument/2006/relationships" xmlns:p="http://schemas.openxmlformats.org/presentationml/2006/main">
  <p:tag name="NUM" val="5"/>
</p:tagLst>
</file>

<file path=ppt/tags/tag609.xml><?xml version="1.0" encoding="utf-8"?>
<p:tagLst xmlns:a="http://schemas.openxmlformats.org/drawingml/2006/main" xmlns:r="http://schemas.openxmlformats.org/officeDocument/2006/relationships" xmlns:p="http://schemas.openxmlformats.org/presentationml/2006/main">
  <p:tag name="NUM" val="6"/>
</p:tagLst>
</file>

<file path=ppt/tags/tag61.xml><?xml version="1.0" encoding="utf-8"?>
<p:tagLst xmlns:a="http://schemas.openxmlformats.org/drawingml/2006/main" xmlns:r="http://schemas.openxmlformats.org/officeDocument/2006/relationships" xmlns:p="http://schemas.openxmlformats.org/presentationml/2006/main">
  <p:tag name="NUM" val="13"/>
</p:tagLst>
</file>

<file path=ppt/tags/tag610.xml><?xml version="1.0" encoding="utf-8"?>
<p:tagLst xmlns:a="http://schemas.openxmlformats.org/drawingml/2006/main" xmlns:r="http://schemas.openxmlformats.org/officeDocument/2006/relationships" xmlns:p="http://schemas.openxmlformats.org/presentationml/2006/main">
  <p:tag name="NUM" val="7"/>
</p:tagLst>
</file>

<file path=ppt/tags/tag611.xml><?xml version="1.0" encoding="utf-8"?>
<p:tagLst xmlns:a="http://schemas.openxmlformats.org/drawingml/2006/main" xmlns:r="http://schemas.openxmlformats.org/officeDocument/2006/relationships" xmlns:p="http://schemas.openxmlformats.org/presentationml/2006/main">
  <p:tag name="NUM" val="8"/>
</p:tagLst>
</file>

<file path=ppt/tags/tag612.xml><?xml version="1.0" encoding="utf-8"?>
<p:tagLst xmlns:a="http://schemas.openxmlformats.org/drawingml/2006/main" xmlns:r="http://schemas.openxmlformats.org/officeDocument/2006/relationships" xmlns:p="http://schemas.openxmlformats.org/presentationml/2006/main">
  <p:tag name="NUM" val="9"/>
</p:tagLst>
</file>

<file path=ppt/tags/tag613.xml><?xml version="1.0" encoding="utf-8"?>
<p:tagLst xmlns:a="http://schemas.openxmlformats.org/drawingml/2006/main" xmlns:r="http://schemas.openxmlformats.org/officeDocument/2006/relationships" xmlns:p="http://schemas.openxmlformats.org/presentationml/2006/main">
  <p:tag name="NUM" val="1"/>
</p:tagLst>
</file>

<file path=ppt/tags/tag614.xml><?xml version="1.0" encoding="utf-8"?>
<p:tagLst xmlns:a="http://schemas.openxmlformats.org/drawingml/2006/main" xmlns:r="http://schemas.openxmlformats.org/officeDocument/2006/relationships" xmlns:p="http://schemas.openxmlformats.org/presentationml/2006/main">
  <p:tag name="NUM" val="2"/>
</p:tagLst>
</file>

<file path=ppt/tags/tag615.xml><?xml version="1.0" encoding="utf-8"?>
<p:tagLst xmlns:a="http://schemas.openxmlformats.org/drawingml/2006/main" xmlns:r="http://schemas.openxmlformats.org/officeDocument/2006/relationships" xmlns:p="http://schemas.openxmlformats.org/presentationml/2006/main">
  <p:tag name="NUM" val="3"/>
</p:tagLst>
</file>

<file path=ppt/tags/tag616.xml><?xml version="1.0" encoding="utf-8"?>
<p:tagLst xmlns:a="http://schemas.openxmlformats.org/drawingml/2006/main" xmlns:r="http://schemas.openxmlformats.org/officeDocument/2006/relationships" xmlns:p="http://schemas.openxmlformats.org/presentationml/2006/main">
  <p:tag name="NUM" val="4"/>
</p:tagLst>
</file>

<file path=ppt/tags/tag617.xml><?xml version="1.0" encoding="utf-8"?>
<p:tagLst xmlns:a="http://schemas.openxmlformats.org/drawingml/2006/main" xmlns:r="http://schemas.openxmlformats.org/officeDocument/2006/relationships" xmlns:p="http://schemas.openxmlformats.org/presentationml/2006/main">
  <p:tag name="NUM" val="5"/>
</p:tagLst>
</file>

<file path=ppt/tags/tag618.xml><?xml version="1.0" encoding="utf-8"?>
<p:tagLst xmlns:a="http://schemas.openxmlformats.org/drawingml/2006/main" xmlns:r="http://schemas.openxmlformats.org/officeDocument/2006/relationships" xmlns:p="http://schemas.openxmlformats.org/presentationml/2006/main">
  <p:tag name="NUM" val="6"/>
</p:tagLst>
</file>

<file path=ppt/tags/tag619.xml><?xml version="1.0" encoding="utf-8"?>
<p:tagLst xmlns:a="http://schemas.openxmlformats.org/drawingml/2006/main" xmlns:r="http://schemas.openxmlformats.org/officeDocument/2006/relationships" xmlns:p="http://schemas.openxmlformats.org/presentationml/2006/main">
  <p:tag name="NUM" val="7"/>
</p:tagLst>
</file>

<file path=ppt/tags/tag62.xml><?xml version="1.0" encoding="utf-8"?>
<p:tagLst xmlns:a="http://schemas.openxmlformats.org/drawingml/2006/main" xmlns:r="http://schemas.openxmlformats.org/officeDocument/2006/relationships" xmlns:p="http://schemas.openxmlformats.org/presentationml/2006/main">
  <p:tag name="NUM" val="14"/>
</p:tagLst>
</file>

<file path=ppt/tags/tag620.xml><?xml version="1.0" encoding="utf-8"?>
<p:tagLst xmlns:a="http://schemas.openxmlformats.org/drawingml/2006/main" xmlns:r="http://schemas.openxmlformats.org/officeDocument/2006/relationships" xmlns:p="http://schemas.openxmlformats.org/presentationml/2006/main">
  <p:tag name="NUM" val="8"/>
</p:tagLst>
</file>

<file path=ppt/tags/tag621.xml><?xml version="1.0" encoding="utf-8"?>
<p:tagLst xmlns:a="http://schemas.openxmlformats.org/drawingml/2006/main" xmlns:r="http://schemas.openxmlformats.org/officeDocument/2006/relationships" xmlns:p="http://schemas.openxmlformats.org/presentationml/2006/main">
  <p:tag name="NUM" val="9"/>
</p:tagLst>
</file>

<file path=ppt/tags/tag622.xml><?xml version="1.0" encoding="utf-8"?>
<p:tagLst xmlns:a="http://schemas.openxmlformats.org/drawingml/2006/main" xmlns:r="http://schemas.openxmlformats.org/officeDocument/2006/relationships" xmlns:p="http://schemas.openxmlformats.org/presentationml/2006/main">
  <p:tag name="NUM" val="10"/>
</p:tagLst>
</file>

<file path=ppt/tags/tag623.xml><?xml version="1.0" encoding="utf-8"?>
<p:tagLst xmlns:a="http://schemas.openxmlformats.org/drawingml/2006/main" xmlns:r="http://schemas.openxmlformats.org/officeDocument/2006/relationships" xmlns:p="http://schemas.openxmlformats.org/presentationml/2006/main">
  <p:tag name="NUM" val="11"/>
</p:tagLst>
</file>

<file path=ppt/tags/tag624.xml><?xml version="1.0" encoding="utf-8"?>
<p:tagLst xmlns:a="http://schemas.openxmlformats.org/drawingml/2006/main" xmlns:r="http://schemas.openxmlformats.org/officeDocument/2006/relationships" xmlns:p="http://schemas.openxmlformats.org/presentationml/2006/main">
  <p:tag name="NUM" val="12"/>
</p:tagLst>
</file>

<file path=ppt/tags/tag625.xml><?xml version="1.0" encoding="utf-8"?>
<p:tagLst xmlns:a="http://schemas.openxmlformats.org/drawingml/2006/main" xmlns:r="http://schemas.openxmlformats.org/officeDocument/2006/relationships" xmlns:p="http://schemas.openxmlformats.org/presentationml/2006/main">
  <p:tag name="NUM" val="13"/>
</p:tagLst>
</file>

<file path=ppt/tags/tag626.xml><?xml version="1.0" encoding="utf-8"?>
<p:tagLst xmlns:a="http://schemas.openxmlformats.org/drawingml/2006/main" xmlns:r="http://schemas.openxmlformats.org/officeDocument/2006/relationships" xmlns:p="http://schemas.openxmlformats.org/presentationml/2006/main">
  <p:tag name="NUM" val="14"/>
</p:tagLst>
</file>

<file path=ppt/tags/tag627.xml><?xml version="1.0" encoding="utf-8"?>
<p:tagLst xmlns:a="http://schemas.openxmlformats.org/drawingml/2006/main" xmlns:r="http://schemas.openxmlformats.org/officeDocument/2006/relationships" xmlns:p="http://schemas.openxmlformats.org/presentationml/2006/main">
  <p:tag name="NUM" val="1"/>
</p:tagLst>
</file>

<file path=ppt/tags/tag628.xml><?xml version="1.0" encoding="utf-8"?>
<p:tagLst xmlns:a="http://schemas.openxmlformats.org/drawingml/2006/main" xmlns:r="http://schemas.openxmlformats.org/officeDocument/2006/relationships" xmlns:p="http://schemas.openxmlformats.org/presentationml/2006/main">
  <p:tag name="NUM" val="2"/>
</p:tagLst>
</file>

<file path=ppt/tags/tag629.xml><?xml version="1.0" encoding="utf-8"?>
<p:tagLst xmlns:a="http://schemas.openxmlformats.org/drawingml/2006/main" xmlns:r="http://schemas.openxmlformats.org/officeDocument/2006/relationships" xmlns:p="http://schemas.openxmlformats.org/presentationml/2006/main">
  <p:tag name="NUM" val="3"/>
</p:tagLst>
</file>

<file path=ppt/tags/tag63.xml><?xml version="1.0" encoding="utf-8"?>
<p:tagLst xmlns:a="http://schemas.openxmlformats.org/drawingml/2006/main" xmlns:r="http://schemas.openxmlformats.org/officeDocument/2006/relationships" xmlns:p="http://schemas.openxmlformats.org/presentationml/2006/main">
  <p:tag name="NUM" val="15"/>
</p:tagLst>
</file>

<file path=ppt/tags/tag630.xml><?xml version="1.0" encoding="utf-8"?>
<p:tagLst xmlns:a="http://schemas.openxmlformats.org/drawingml/2006/main" xmlns:r="http://schemas.openxmlformats.org/officeDocument/2006/relationships" xmlns:p="http://schemas.openxmlformats.org/presentationml/2006/main">
  <p:tag name="NUM" val="4"/>
</p:tagLst>
</file>

<file path=ppt/tags/tag631.xml><?xml version="1.0" encoding="utf-8"?>
<p:tagLst xmlns:a="http://schemas.openxmlformats.org/drawingml/2006/main" xmlns:r="http://schemas.openxmlformats.org/officeDocument/2006/relationships" xmlns:p="http://schemas.openxmlformats.org/presentationml/2006/main">
  <p:tag name="NUM" val="5"/>
</p:tagLst>
</file>

<file path=ppt/tags/tag632.xml><?xml version="1.0" encoding="utf-8"?>
<p:tagLst xmlns:a="http://schemas.openxmlformats.org/drawingml/2006/main" xmlns:r="http://schemas.openxmlformats.org/officeDocument/2006/relationships" xmlns:p="http://schemas.openxmlformats.org/presentationml/2006/main">
  <p:tag name="NUM" val="6"/>
</p:tagLst>
</file>

<file path=ppt/tags/tag633.xml><?xml version="1.0" encoding="utf-8"?>
<p:tagLst xmlns:a="http://schemas.openxmlformats.org/drawingml/2006/main" xmlns:r="http://schemas.openxmlformats.org/officeDocument/2006/relationships" xmlns:p="http://schemas.openxmlformats.org/presentationml/2006/main">
  <p:tag name="NUM" val="7"/>
</p:tagLst>
</file>

<file path=ppt/tags/tag634.xml><?xml version="1.0" encoding="utf-8"?>
<p:tagLst xmlns:a="http://schemas.openxmlformats.org/drawingml/2006/main" xmlns:r="http://schemas.openxmlformats.org/officeDocument/2006/relationships" xmlns:p="http://schemas.openxmlformats.org/presentationml/2006/main">
  <p:tag name="NUM" val="8"/>
</p:tagLst>
</file>

<file path=ppt/tags/tag635.xml><?xml version="1.0" encoding="utf-8"?>
<p:tagLst xmlns:a="http://schemas.openxmlformats.org/drawingml/2006/main" xmlns:r="http://schemas.openxmlformats.org/officeDocument/2006/relationships" xmlns:p="http://schemas.openxmlformats.org/presentationml/2006/main">
  <p:tag name="NUM" val="9"/>
</p:tagLst>
</file>

<file path=ppt/tags/tag636.xml><?xml version="1.0" encoding="utf-8"?>
<p:tagLst xmlns:a="http://schemas.openxmlformats.org/drawingml/2006/main" xmlns:r="http://schemas.openxmlformats.org/officeDocument/2006/relationships" xmlns:p="http://schemas.openxmlformats.org/presentationml/2006/main">
  <p:tag name="NUM" val="1"/>
</p:tagLst>
</file>

<file path=ppt/tags/tag637.xml><?xml version="1.0" encoding="utf-8"?>
<p:tagLst xmlns:a="http://schemas.openxmlformats.org/drawingml/2006/main" xmlns:r="http://schemas.openxmlformats.org/officeDocument/2006/relationships" xmlns:p="http://schemas.openxmlformats.org/presentationml/2006/main">
  <p:tag name="NUM" val="2"/>
</p:tagLst>
</file>

<file path=ppt/tags/tag638.xml><?xml version="1.0" encoding="utf-8"?>
<p:tagLst xmlns:a="http://schemas.openxmlformats.org/drawingml/2006/main" xmlns:r="http://schemas.openxmlformats.org/officeDocument/2006/relationships" xmlns:p="http://schemas.openxmlformats.org/presentationml/2006/main">
  <p:tag name="NUM" val="3"/>
</p:tagLst>
</file>

<file path=ppt/tags/tag639.xml><?xml version="1.0" encoding="utf-8"?>
<p:tagLst xmlns:a="http://schemas.openxmlformats.org/drawingml/2006/main" xmlns:r="http://schemas.openxmlformats.org/officeDocument/2006/relationships" xmlns:p="http://schemas.openxmlformats.org/presentationml/2006/main">
  <p:tag name="NUM" val="4"/>
</p:tagLst>
</file>

<file path=ppt/tags/tag64.xml><?xml version="1.0" encoding="utf-8"?>
<p:tagLst xmlns:a="http://schemas.openxmlformats.org/drawingml/2006/main" xmlns:r="http://schemas.openxmlformats.org/officeDocument/2006/relationships" xmlns:p="http://schemas.openxmlformats.org/presentationml/2006/main">
  <p:tag name="NUM" val="16"/>
</p:tagLst>
</file>

<file path=ppt/tags/tag640.xml><?xml version="1.0" encoding="utf-8"?>
<p:tagLst xmlns:a="http://schemas.openxmlformats.org/drawingml/2006/main" xmlns:r="http://schemas.openxmlformats.org/officeDocument/2006/relationships" xmlns:p="http://schemas.openxmlformats.org/presentationml/2006/main">
  <p:tag name="NUM" val="5"/>
</p:tagLst>
</file>

<file path=ppt/tags/tag641.xml><?xml version="1.0" encoding="utf-8"?>
<p:tagLst xmlns:a="http://schemas.openxmlformats.org/drawingml/2006/main" xmlns:r="http://schemas.openxmlformats.org/officeDocument/2006/relationships" xmlns:p="http://schemas.openxmlformats.org/presentationml/2006/main">
  <p:tag name="NUM" val="6"/>
</p:tagLst>
</file>

<file path=ppt/tags/tag642.xml><?xml version="1.0" encoding="utf-8"?>
<p:tagLst xmlns:a="http://schemas.openxmlformats.org/drawingml/2006/main" xmlns:r="http://schemas.openxmlformats.org/officeDocument/2006/relationships" xmlns:p="http://schemas.openxmlformats.org/presentationml/2006/main">
  <p:tag name="NUM" val="7"/>
</p:tagLst>
</file>

<file path=ppt/tags/tag643.xml><?xml version="1.0" encoding="utf-8"?>
<p:tagLst xmlns:a="http://schemas.openxmlformats.org/drawingml/2006/main" xmlns:r="http://schemas.openxmlformats.org/officeDocument/2006/relationships" xmlns:p="http://schemas.openxmlformats.org/presentationml/2006/main">
  <p:tag name="NUM" val="8"/>
</p:tagLst>
</file>

<file path=ppt/tags/tag644.xml><?xml version="1.0" encoding="utf-8"?>
<p:tagLst xmlns:a="http://schemas.openxmlformats.org/drawingml/2006/main" xmlns:r="http://schemas.openxmlformats.org/officeDocument/2006/relationships" xmlns:p="http://schemas.openxmlformats.org/presentationml/2006/main">
  <p:tag name="NUM" val="9"/>
</p:tagLst>
</file>

<file path=ppt/tags/tag645.xml><?xml version="1.0" encoding="utf-8"?>
<p:tagLst xmlns:a="http://schemas.openxmlformats.org/drawingml/2006/main" xmlns:r="http://schemas.openxmlformats.org/officeDocument/2006/relationships" xmlns:p="http://schemas.openxmlformats.org/presentationml/2006/main">
  <p:tag name="NUM" val="10"/>
</p:tagLst>
</file>

<file path=ppt/tags/tag646.xml><?xml version="1.0" encoding="utf-8"?>
<p:tagLst xmlns:a="http://schemas.openxmlformats.org/drawingml/2006/main" xmlns:r="http://schemas.openxmlformats.org/officeDocument/2006/relationships" xmlns:p="http://schemas.openxmlformats.org/presentationml/2006/main">
  <p:tag name="NUM" val="11"/>
</p:tagLst>
</file>

<file path=ppt/tags/tag647.xml><?xml version="1.0" encoding="utf-8"?>
<p:tagLst xmlns:a="http://schemas.openxmlformats.org/drawingml/2006/main" xmlns:r="http://schemas.openxmlformats.org/officeDocument/2006/relationships" xmlns:p="http://schemas.openxmlformats.org/presentationml/2006/main">
  <p:tag name="NUM" val="12"/>
</p:tagLst>
</file>

<file path=ppt/tags/tag648.xml><?xml version="1.0" encoding="utf-8"?>
<p:tagLst xmlns:a="http://schemas.openxmlformats.org/drawingml/2006/main" xmlns:r="http://schemas.openxmlformats.org/officeDocument/2006/relationships" xmlns:p="http://schemas.openxmlformats.org/presentationml/2006/main">
  <p:tag name="NUM" val="13"/>
</p:tagLst>
</file>

<file path=ppt/tags/tag649.xml><?xml version="1.0" encoding="utf-8"?>
<p:tagLst xmlns:a="http://schemas.openxmlformats.org/drawingml/2006/main" xmlns:r="http://schemas.openxmlformats.org/officeDocument/2006/relationships" xmlns:p="http://schemas.openxmlformats.org/presentationml/2006/main">
  <p:tag name="NUM" val="14"/>
</p:tagLst>
</file>

<file path=ppt/tags/tag65.xml><?xml version="1.0" encoding="utf-8"?>
<p:tagLst xmlns:a="http://schemas.openxmlformats.org/drawingml/2006/main" xmlns:r="http://schemas.openxmlformats.org/officeDocument/2006/relationships" xmlns:p="http://schemas.openxmlformats.org/presentationml/2006/main">
  <p:tag name="NUM" val="17"/>
</p:tagLst>
</file>

<file path=ppt/tags/tag650.xml><?xml version="1.0" encoding="utf-8"?>
<p:tagLst xmlns:a="http://schemas.openxmlformats.org/drawingml/2006/main" xmlns:r="http://schemas.openxmlformats.org/officeDocument/2006/relationships" xmlns:p="http://schemas.openxmlformats.org/presentationml/2006/main">
  <p:tag name="NUM" val="1"/>
</p:tagLst>
</file>

<file path=ppt/tags/tag651.xml><?xml version="1.0" encoding="utf-8"?>
<p:tagLst xmlns:a="http://schemas.openxmlformats.org/drawingml/2006/main" xmlns:r="http://schemas.openxmlformats.org/officeDocument/2006/relationships" xmlns:p="http://schemas.openxmlformats.org/presentationml/2006/main">
  <p:tag name="NUM" val="2"/>
</p:tagLst>
</file>

<file path=ppt/tags/tag66.xml><?xml version="1.0" encoding="utf-8"?>
<p:tagLst xmlns:a="http://schemas.openxmlformats.org/drawingml/2006/main" xmlns:r="http://schemas.openxmlformats.org/officeDocument/2006/relationships" xmlns:p="http://schemas.openxmlformats.org/presentationml/2006/main">
  <p:tag name="NUM" val="18"/>
</p:tagLst>
</file>

<file path=ppt/tags/tag67.xml><?xml version="1.0" encoding="utf-8"?>
<p:tagLst xmlns:a="http://schemas.openxmlformats.org/drawingml/2006/main" xmlns:r="http://schemas.openxmlformats.org/officeDocument/2006/relationships" xmlns:p="http://schemas.openxmlformats.org/presentationml/2006/main">
  <p:tag name="NUM" val="19"/>
</p:tagLst>
</file>

<file path=ppt/tags/tag68.xml><?xml version="1.0" encoding="utf-8"?>
<p:tagLst xmlns:a="http://schemas.openxmlformats.org/drawingml/2006/main" xmlns:r="http://schemas.openxmlformats.org/officeDocument/2006/relationships" xmlns:p="http://schemas.openxmlformats.org/presentationml/2006/main">
  <p:tag name="NUM" val="20"/>
</p:tagLst>
</file>

<file path=ppt/tags/tag69.xml><?xml version="1.0" encoding="utf-8"?>
<p:tagLst xmlns:a="http://schemas.openxmlformats.org/drawingml/2006/main" xmlns:r="http://schemas.openxmlformats.org/officeDocument/2006/relationships" xmlns:p="http://schemas.openxmlformats.org/presentationml/2006/main">
  <p:tag name="NUM" val="21"/>
</p:tagLst>
</file>

<file path=ppt/tags/tag7.xml><?xml version="1.0" encoding="utf-8"?>
<p:tagLst xmlns:a="http://schemas.openxmlformats.org/drawingml/2006/main" xmlns:r="http://schemas.openxmlformats.org/officeDocument/2006/relationships" xmlns:p="http://schemas.openxmlformats.org/presentationml/2006/main">
  <p:tag name="NUM" val="1"/>
</p:tagLst>
</file>

<file path=ppt/tags/tag70.xml><?xml version="1.0" encoding="utf-8"?>
<p:tagLst xmlns:a="http://schemas.openxmlformats.org/drawingml/2006/main" xmlns:r="http://schemas.openxmlformats.org/officeDocument/2006/relationships" xmlns:p="http://schemas.openxmlformats.org/presentationml/2006/main">
  <p:tag name="NUM" val="22"/>
</p:tagLst>
</file>

<file path=ppt/tags/tag71.xml><?xml version="1.0" encoding="utf-8"?>
<p:tagLst xmlns:a="http://schemas.openxmlformats.org/drawingml/2006/main" xmlns:r="http://schemas.openxmlformats.org/officeDocument/2006/relationships" xmlns:p="http://schemas.openxmlformats.org/presentationml/2006/main">
  <p:tag name="NUM" val="23"/>
</p:tagLst>
</file>

<file path=ppt/tags/tag72.xml><?xml version="1.0" encoding="utf-8"?>
<p:tagLst xmlns:a="http://schemas.openxmlformats.org/drawingml/2006/main" xmlns:r="http://schemas.openxmlformats.org/officeDocument/2006/relationships" xmlns:p="http://schemas.openxmlformats.org/presentationml/2006/main">
  <p:tag name="NUM" val="24"/>
</p:tagLst>
</file>

<file path=ppt/tags/tag73.xml><?xml version="1.0" encoding="utf-8"?>
<p:tagLst xmlns:a="http://schemas.openxmlformats.org/drawingml/2006/main" xmlns:r="http://schemas.openxmlformats.org/officeDocument/2006/relationships" xmlns:p="http://schemas.openxmlformats.org/presentationml/2006/main">
  <p:tag name="NUM" val="25"/>
</p:tagLst>
</file>

<file path=ppt/tags/tag74.xml><?xml version="1.0" encoding="utf-8"?>
<p:tagLst xmlns:a="http://schemas.openxmlformats.org/drawingml/2006/main" xmlns:r="http://schemas.openxmlformats.org/officeDocument/2006/relationships" xmlns:p="http://schemas.openxmlformats.org/presentationml/2006/main">
  <p:tag name="NUM" val="26"/>
</p:tagLst>
</file>

<file path=ppt/tags/tag75.xml><?xml version="1.0" encoding="utf-8"?>
<p:tagLst xmlns:a="http://schemas.openxmlformats.org/drawingml/2006/main" xmlns:r="http://schemas.openxmlformats.org/officeDocument/2006/relationships" xmlns:p="http://schemas.openxmlformats.org/presentationml/2006/main">
  <p:tag name="NUM" val="27"/>
</p:tagLst>
</file>

<file path=ppt/tags/tag76.xml><?xml version="1.0" encoding="utf-8"?>
<p:tagLst xmlns:a="http://schemas.openxmlformats.org/drawingml/2006/main" xmlns:r="http://schemas.openxmlformats.org/officeDocument/2006/relationships" xmlns:p="http://schemas.openxmlformats.org/presentationml/2006/main">
  <p:tag name="NUM" val="28"/>
</p:tagLst>
</file>

<file path=ppt/tags/tag77.xml><?xml version="1.0" encoding="utf-8"?>
<p:tagLst xmlns:a="http://schemas.openxmlformats.org/drawingml/2006/main" xmlns:r="http://schemas.openxmlformats.org/officeDocument/2006/relationships" xmlns:p="http://schemas.openxmlformats.org/presentationml/2006/main">
  <p:tag name="NUM" val="29"/>
</p:tagLst>
</file>

<file path=ppt/tags/tag78.xml><?xml version="1.0" encoding="utf-8"?>
<p:tagLst xmlns:a="http://schemas.openxmlformats.org/drawingml/2006/main" xmlns:r="http://schemas.openxmlformats.org/officeDocument/2006/relationships" xmlns:p="http://schemas.openxmlformats.org/presentationml/2006/main">
  <p:tag name="NUM" val="30"/>
</p:tagLst>
</file>

<file path=ppt/tags/tag79.xml><?xml version="1.0" encoding="utf-8"?>
<p:tagLst xmlns:a="http://schemas.openxmlformats.org/drawingml/2006/main" xmlns:r="http://schemas.openxmlformats.org/officeDocument/2006/relationships" xmlns:p="http://schemas.openxmlformats.org/presentationml/2006/main">
  <p:tag name="NUM" val="31"/>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80.xml><?xml version="1.0" encoding="utf-8"?>
<p:tagLst xmlns:a="http://schemas.openxmlformats.org/drawingml/2006/main" xmlns:r="http://schemas.openxmlformats.org/officeDocument/2006/relationships" xmlns:p="http://schemas.openxmlformats.org/presentationml/2006/main">
  <p:tag name="NUM" val="32"/>
</p:tagLst>
</file>

<file path=ppt/tags/tag81.xml><?xml version="1.0" encoding="utf-8"?>
<p:tagLst xmlns:a="http://schemas.openxmlformats.org/drawingml/2006/main" xmlns:r="http://schemas.openxmlformats.org/officeDocument/2006/relationships" xmlns:p="http://schemas.openxmlformats.org/presentationml/2006/main">
  <p:tag name="NUM" val="33"/>
</p:tagLst>
</file>

<file path=ppt/tags/tag82.xml><?xml version="1.0" encoding="utf-8"?>
<p:tagLst xmlns:a="http://schemas.openxmlformats.org/drawingml/2006/main" xmlns:r="http://schemas.openxmlformats.org/officeDocument/2006/relationships" xmlns:p="http://schemas.openxmlformats.org/presentationml/2006/main">
  <p:tag name="NUM" val="34"/>
</p:tagLst>
</file>

<file path=ppt/tags/tag83.xml><?xml version="1.0" encoding="utf-8"?>
<p:tagLst xmlns:a="http://schemas.openxmlformats.org/drawingml/2006/main" xmlns:r="http://schemas.openxmlformats.org/officeDocument/2006/relationships" xmlns:p="http://schemas.openxmlformats.org/presentationml/2006/main">
  <p:tag name="NUM" val="35"/>
</p:tagLst>
</file>

<file path=ppt/tags/tag84.xml><?xml version="1.0" encoding="utf-8"?>
<p:tagLst xmlns:a="http://schemas.openxmlformats.org/drawingml/2006/main" xmlns:r="http://schemas.openxmlformats.org/officeDocument/2006/relationships" xmlns:p="http://schemas.openxmlformats.org/presentationml/2006/main">
  <p:tag name="NUM" val="36"/>
</p:tagLst>
</file>

<file path=ppt/tags/tag85.xml><?xml version="1.0" encoding="utf-8"?>
<p:tagLst xmlns:a="http://schemas.openxmlformats.org/drawingml/2006/main" xmlns:r="http://schemas.openxmlformats.org/officeDocument/2006/relationships" xmlns:p="http://schemas.openxmlformats.org/presentationml/2006/main">
  <p:tag name="NUM" val="37"/>
</p:tagLst>
</file>

<file path=ppt/tags/tag86.xml><?xml version="1.0" encoding="utf-8"?>
<p:tagLst xmlns:a="http://schemas.openxmlformats.org/drawingml/2006/main" xmlns:r="http://schemas.openxmlformats.org/officeDocument/2006/relationships" xmlns:p="http://schemas.openxmlformats.org/presentationml/2006/main">
  <p:tag name="NUM" val="38"/>
</p:tagLst>
</file>

<file path=ppt/tags/tag87.xml><?xml version="1.0" encoding="utf-8"?>
<p:tagLst xmlns:a="http://schemas.openxmlformats.org/drawingml/2006/main" xmlns:r="http://schemas.openxmlformats.org/officeDocument/2006/relationships" xmlns:p="http://schemas.openxmlformats.org/presentationml/2006/main">
  <p:tag name="NUM" val="1"/>
</p:tagLst>
</file>

<file path=ppt/tags/tag88.xml><?xml version="1.0" encoding="utf-8"?>
<p:tagLst xmlns:a="http://schemas.openxmlformats.org/drawingml/2006/main" xmlns:r="http://schemas.openxmlformats.org/officeDocument/2006/relationships" xmlns:p="http://schemas.openxmlformats.org/presentationml/2006/main">
  <p:tag name="NUM" val="2"/>
</p:tagLst>
</file>

<file path=ppt/tags/tag89.xml><?xml version="1.0" encoding="utf-8"?>
<p:tagLst xmlns:a="http://schemas.openxmlformats.org/drawingml/2006/main" xmlns:r="http://schemas.openxmlformats.org/officeDocument/2006/relationships" xmlns:p="http://schemas.openxmlformats.org/presentationml/2006/main">
  <p:tag name="NUM" val="3"/>
</p:tagLst>
</file>

<file path=ppt/tags/tag9.xml><?xml version="1.0" encoding="utf-8"?>
<p:tagLst xmlns:a="http://schemas.openxmlformats.org/drawingml/2006/main" xmlns:r="http://schemas.openxmlformats.org/officeDocument/2006/relationships" xmlns:p="http://schemas.openxmlformats.org/presentationml/2006/main">
  <p:tag name="NUM" val="1"/>
</p:tagLst>
</file>

<file path=ppt/tags/tag90.xml><?xml version="1.0" encoding="utf-8"?>
<p:tagLst xmlns:a="http://schemas.openxmlformats.org/drawingml/2006/main" xmlns:r="http://schemas.openxmlformats.org/officeDocument/2006/relationships" xmlns:p="http://schemas.openxmlformats.org/presentationml/2006/main">
  <p:tag name="NUM" val="4"/>
</p:tagLst>
</file>

<file path=ppt/tags/tag91.xml><?xml version="1.0" encoding="utf-8"?>
<p:tagLst xmlns:a="http://schemas.openxmlformats.org/drawingml/2006/main" xmlns:r="http://schemas.openxmlformats.org/officeDocument/2006/relationships" xmlns:p="http://schemas.openxmlformats.org/presentationml/2006/main">
  <p:tag name="NUM" val="5"/>
</p:tagLst>
</file>

<file path=ppt/tags/tag92.xml><?xml version="1.0" encoding="utf-8"?>
<p:tagLst xmlns:a="http://schemas.openxmlformats.org/drawingml/2006/main" xmlns:r="http://schemas.openxmlformats.org/officeDocument/2006/relationships" xmlns:p="http://schemas.openxmlformats.org/presentationml/2006/main">
  <p:tag name="NUM" val="6"/>
</p:tagLst>
</file>

<file path=ppt/tags/tag93.xml><?xml version="1.0" encoding="utf-8"?>
<p:tagLst xmlns:a="http://schemas.openxmlformats.org/drawingml/2006/main" xmlns:r="http://schemas.openxmlformats.org/officeDocument/2006/relationships" xmlns:p="http://schemas.openxmlformats.org/presentationml/2006/main">
  <p:tag name="NUM" val="7"/>
</p:tagLst>
</file>

<file path=ppt/tags/tag94.xml><?xml version="1.0" encoding="utf-8"?>
<p:tagLst xmlns:a="http://schemas.openxmlformats.org/drawingml/2006/main" xmlns:r="http://schemas.openxmlformats.org/officeDocument/2006/relationships" xmlns:p="http://schemas.openxmlformats.org/presentationml/2006/main">
  <p:tag name="NUM" val="8"/>
</p:tagLst>
</file>

<file path=ppt/tags/tag95.xml><?xml version="1.0" encoding="utf-8"?>
<p:tagLst xmlns:a="http://schemas.openxmlformats.org/drawingml/2006/main" xmlns:r="http://schemas.openxmlformats.org/officeDocument/2006/relationships" xmlns:p="http://schemas.openxmlformats.org/presentationml/2006/main">
  <p:tag name="NUM" val="9"/>
</p:tagLst>
</file>

<file path=ppt/tags/tag96.xml><?xml version="1.0" encoding="utf-8"?>
<p:tagLst xmlns:a="http://schemas.openxmlformats.org/drawingml/2006/main" xmlns:r="http://schemas.openxmlformats.org/officeDocument/2006/relationships" xmlns:p="http://schemas.openxmlformats.org/presentationml/2006/main">
  <p:tag name="NUM" val="10"/>
</p:tagLst>
</file>

<file path=ppt/tags/tag97.xml><?xml version="1.0" encoding="utf-8"?>
<p:tagLst xmlns:a="http://schemas.openxmlformats.org/drawingml/2006/main" xmlns:r="http://schemas.openxmlformats.org/officeDocument/2006/relationships" xmlns:p="http://schemas.openxmlformats.org/presentationml/2006/main">
  <p:tag name="NUM" val="11"/>
</p:tagLst>
</file>

<file path=ppt/tags/tag98.xml><?xml version="1.0" encoding="utf-8"?>
<p:tagLst xmlns:a="http://schemas.openxmlformats.org/drawingml/2006/main" xmlns:r="http://schemas.openxmlformats.org/officeDocument/2006/relationships" xmlns:p="http://schemas.openxmlformats.org/presentationml/2006/main">
  <p:tag name="NUM" val="12"/>
</p:tagLst>
</file>

<file path=ppt/tags/tag99.xml><?xml version="1.0" encoding="utf-8"?>
<p:tagLst xmlns:a="http://schemas.openxmlformats.org/drawingml/2006/main" xmlns:r="http://schemas.openxmlformats.org/officeDocument/2006/relationships" xmlns:p="http://schemas.openxmlformats.org/presentationml/2006/main">
  <p:tag name="NUM" val="13"/>
</p:tagLst>
</file>

<file path=ppt/theme/theme1.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0.xml><?xml version="1.0" encoding="utf-8"?>
<a:theme xmlns:a="http://schemas.openxmlformats.org/drawingml/2006/main" name="4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Y light projection">
  <a:themeElements>
    <a:clrScheme name="Custom 1">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dark print">
  <a:themeElements>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Theme1">
  <a:themeElements>
    <a:clrScheme name="Custom 1">
      <a:dk1>
        <a:srgbClr val="000000"/>
      </a:dk1>
      <a:lt1>
        <a:srgbClr val="808080"/>
      </a:lt1>
      <a:dk2>
        <a:srgbClr val="FFFFFF"/>
      </a:dk2>
      <a:lt2>
        <a:srgbClr val="808080"/>
      </a:lt2>
      <a:accent1>
        <a:srgbClr val="808080"/>
      </a:accent1>
      <a:accent2>
        <a:srgbClr val="FFE600"/>
      </a:accent2>
      <a:accent3>
        <a:srgbClr val="005DAA"/>
      </a:accent3>
      <a:accent4>
        <a:srgbClr val="F0F0F0"/>
      </a:accent4>
      <a:accent5>
        <a:srgbClr val="00A3AE"/>
      </a:accent5>
      <a:accent6>
        <a:srgbClr val="C0C0C0"/>
      </a:accent6>
      <a:hlink>
        <a:srgbClr val="336699"/>
      </a:hlink>
      <a:folHlink>
        <a:srgbClr val="91278F"/>
      </a:folHlink>
    </a:clrScheme>
    <a:fontScheme name="Custom 1">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1" id="{6CAEA69C-4400-4F21-9B70-66626656F01C}" vid="{6B6F25F2-F9BD-4DB2-BA8B-AC63751523C5}"/>
    </a:ext>
  </a:extLst>
</a:theme>
</file>

<file path=ppt/theme/theme6.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7.xml><?xml version="1.0" encoding="utf-8"?>
<a:theme xmlns:a="http://schemas.openxmlformats.org/drawingml/2006/main" name="THEME">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1">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8.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Override1.xml><?xml version="1.0" encoding="utf-8"?>
<a:themeOverride xmlns:a="http://schemas.openxmlformats.org/drawingml/2006/main">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EY widescreen presentation 2015 v1</Template>
  <TotalTime>0</TotalTime>
  <Words>4385</Words>
  <Application>Microsoft Office PowerPoint</Application>
  <PresentationFormat>Custom</PresentationFormat>
  <Paragraphs>686</Paragraphs>
  <Slides>55</Slides>
  <Notes>15</Notes>
  <HiddenSlides>0</HiddenSlides>
  <MMClips>0</MMClips>
  <ScaleCrop>false</ScaleCrop>
  <HeadingPairs>
    <vt:vector size="8" baseType="variant">
      <vt:variant>
        <vt:lpstr>Fonts Used</vt:lpstr>
      </vt:variant>
      <vt:variant>
        <vt:i4>15</vt:i4>
      </vt:variant>
      <vt:variant>
        <vt:lpstr>Theme</vt:lpstr>
      </vt:variant>
      <vt:variant>
        <vt:i4>10</vt:i4>
      </vt:variant>
      <vt:variant>
        <vt:lpstr>Embedded OLE Servers</vt:lpstr>
      </vt:variant>
      <vt:variant>
        <vt:i4>1</vt:i4>
      </vt:variant>
      <vt:variant>
        <vt:lpstr>Slide Titles</vt:lpstr>
      </vt:variant>
      <vt:variant>
        <vt:i4>55</vt:i4>
      </vt:variant>
    </vt:vector>
  </HeadingPairs>
  <TitlesOfParts>
    <vt:vector size="81" baseType="lpstr">
      <vt:lpstr>MS PGothic</vt:lpstr>
      <vt:lpstr>MS PGothic</vt:lpstr>
      <vt:lpstr>Arial</vt:lpstr>
      <vt:lpstr>Calibri</vt:lpstr>
      <vt:lpstr>EYInterstate</vt:lpstr>
      <vt:lpstr>EYInterstate Light</vt:lpstr>
      <vt:lpstr>EYInterstate Regular</vt:lpstr>
      <vt:lpstr>Futura Std Book</vt:lpstr>
      <vt:lpstr>Lucida Grande</vt:lpstr>
      <vt:lpstr>Open Sans</vt:lpstr>
      <vt:lpstr>Open Sans Light</vt:lpstr>
      <vt:lpstr>Times New Roman</vt:lpstr>
      <vt:lpstr>Verdana</vt:lpstr>
      <vt:lpstr>WhitneyHTF-Bold</vt:lpstr>
      <vt:lpstr>Wingdings</vt:lpstr>
      <vt:lpstr>EY widescreen presentation 2015 v1</vt:lpstr>
      <vt:lpstr>EY light projection</vt:lpstr>
      <vt:lpstr>EY dark print</vt:lpstr>
      <vt:lpstr>EY dark projection</vt:lpstr>
      <vt:lpstr>Theme1</vt:lpstr>
      <vt:lpstr>1_EY widescreen presentation 2015 v1</vt:lpstr>
      <vt:lpstr>THEME</vt:lpstr>
      <vt:lpstr>2_Office Theme</vt:lpstr>
      <vt:lpstr>2_EY widescreen presentation 2015 v1</vt:lpstr>
      <vt:lpstr>4_EY widescreen presentation 2015 v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keywords/>
  <cp:lastModifiedBy/>
  <cp:revision>3</cp:revision>
  <dcterms:created xsi:type="dcterms:W3CDTF">2016-03-10T12:04:24Z</dcterms:created>
  <dcterms:modified xsi:type="dcterms:W3CDTF">2018-10-26T19:40:34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8323282b-4150-4ef5-94bb-68b4364c2620</vt:lpwstr>
  </property>
  <property fmtid="{D5CDD505-2E9C-101B-9397-08002B2CF9AE}" pid="3" name="TBSSCTCLASSIFICATION">
    <vt:lpwstr>UNCLASSIFIED</vt:lpwstr>
  </property>
  <property fmtid="{D5CDD505-2E9C-101B-9397-08002B2CF9AE}" pid="4" name="SECCLASS">
    <vt:lpwstr>CLASSU</vt:lpwstr>
  </property>
  <property fmtid="{D5CDD505-2E9C-101B-9397-08002B2CF9AE}" pid="5" name="TBSSCTVISUALMARKINGNO">
    <vt:lpwstr>NO</vt:lpwstr>
  </property>
</Properties>
</file>